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8.xml" ContentType="application/vnd.openxmlformats-officedocument.theme+xml"/>
  <Override PartName="/ppt/tags/tag17.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9.xml" ContentType="application/vnd.openxmlformats-officedocument.presentationml.notesSlide+xml"/>
  <Override PartName="/ppt/charts/chart1.xml" ContentType="application/vnd.openxmlformats-officedocument.drawingml.chart+xml"/>
  <Override PartName="/ppt/notesSlides/notesSlide3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04" r:id="rId5"/>
    <p:sldMasterId id="2147483715" r:id="rId6"/>
    <p:sldMasterId id="2147483730" r:id="rId7"/>
    <p:sldMasterId id="2147483744" r:id="rId8"/>
    <p:sldMasterId id="2147483762" r:id="rId9"/>
    <p:sldMasterId id="2147483795" r:id="rId10"/>
    <p:sldMasterId id="2147483856" r:id="rId11"/>
    <p:sldMasterId id="2147483872" r:id="rId12"/>
    <p:sldMasterId id="2147483888" r:id="rId13"/>
    <p:sldMasterId id="2147483899" r:id="rId14"/>
    <p:sldMasterId id="2147483914" r:id="rId15"/>
  </p:sldMasterIdLst>
  <p:notesMasterIdLst>
    <p:notesMasterId r:id="rId65"/>
  </p:notesMasterIdLst>
  <p:handoutMasterIdLst>
    <p:handoutMasterId r:id="rId66"/>
  </p:handoutMasterIdLst>
  <p:sldIdLst>
    <p:sldId id="8158" r:id="rId16"/>
    <p:sldId id="8233" r:id="rId17"/>
    <p:sldId id="449" r:id="rId18"/>
    <p:sldId id="1516" r:id="rId19"/>
    <p:sldId id="8149" r:id="rId20"/>
    <p:sldId id="10321" r:id="rId21"/>
    <p:sldId id="8215" r:id="rId22"/>
    <p:sldId id="447" r:id="rId23"/>
    <p:sldId id="556" r:id="rId24"/>
    <p:sldId id="8209" r:id="rId25"/>
    <p:sldId id="8216" r:id="rId26"/>
    <p:sldId id="8217" r:id="rId27"/>
    <p:sldId id="8218" r:id="rId28"/>
    <p:sldId id="8219" r:id="rId29"/>
    <p:sldId id="8220" r:id="rId30"/>
    <p:sldId id="8210" r:id="rId31"/>
    <p:sldId id="1077" r:id="rId32"/>
    <p:sldId id="8221" r:id="rId33"/>
    <p:sldId id="8231" r:id="rId34"/>
    <p:sldId id="8211" r:id="rId35"/>
    <p:sldId id="8207" r:id="rId36"/>
    <p:sldId id="8160" r:id="rId37"/>
    <p:sldId id="8161" r:id="rId38"/>
    <p:sldId id="8212" r:id="rId39"/>
    <p:sldId id="448" r:id="rId40"/>
    <p:sldId id="8208" r:id="rId41"/>
    <p:sldId id="8227" r:id="rId42"/>
    <p:sldId id="8224" r:id="rId43"/>
    <p:sldId id="8223" r:id="rId44"/>
    <p:sldId id="8226" r:id="rId45"/>
    <p:sldId id="8225" r:id="rId46"/>
    <p:sldId id="8206" r:id="rId47"/>
    <p:sldId id="828" r:id="rId48"/>
    <p:sldId id="831" r:id="rId49"/>
    <p:sldId id="8228" r:id="rId50"/>
    <p:sldId id="1515" r:id="rId51"/>
    <p:sldId id="10310" r:id="rId52"/>
    <p:sldId id="2906" r:id="rId53"/>
    <p:sldId id="10312" r:id="rId54"/>
    <p:sldId id="10325" r:id="rId55"/>
    <p:sldId id="3002" r:id="rId56"/>
    <p:sldId id="8377" r:id="rId57"/>
    <p:sldId id="10316" r:id="rId58"/>
    <p:sldId id="10317" r:id="rId59"/>
    <p:sldId id="10319" r:id="rId60"/>
    <p:sldId id="8407" r:id="rId61"/>
    <p:sldId id="7849" r:id="rId62"/>
    <p:sldId id="4385" r:id="rId63"/>
    <p:sldId id="10320" r:id="rId64"/>
  </p:sldIdLst>
  <p:sldSz cx="12190413" cy="6859588"/>
  <p:notesSz cx="9931400" cy="6794500"/>
  <p:defaultTex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9081675-6BA8-4E5C-9B6A-3855AD3C77A6}">
          <p14:sldIdLst>
            <p14:sldId id="8158"/>
            <p14:sldId id="8233"/>
          </p14:sldIdLst>
        </p14:section>
        <p14:section name="Untitled Section" id="{5C4D40B4-2FAB-470F-836E-BF05F340A466}">
          <p14:sldIdLst>
            <p14:sldId id="449"/>
            <p14:sldId id="1516"/>
            <p14:sldId id="8149"/>
            <p14:sldId id="10321"/>
            <p14:sldId id="8215"/>
            <p14:sldId id="447"/>
            <p14:sldId id="556"/>
            <p14:sldId id="8209"/>
            <p14:sldId id="8216"/>
            <p14:sldId id="8217"/>
            <p14:sldId id="8218"/>
            <p14:sldId id="8219"/>
            <p14:sldId id="8220"/>
            <p14:sldId id="8210"/>
            <p14:sldId id="1077"/>
            <p14:sldId id="8221"/>
            <p14:sldId id="8231"/>
            <p14:sldId id="8211"/>
            <p14:sldId id="8207"/>
            <p14:sldId id="8160"/>
            <p14:sldId id="8161"/>
            <p14:sldId id="8212"/>
            <p14:sldId id="448"/>
            <p14:sldId id="8208"/>
            <p14:sldId id="8227"/>
            <p14:sldId id="8224"/>
            <p14:sldId id="8223"/>
            <p14:sldId id="8226"/>
            <p14:sldId id="8225"/>
            <p14:sldId id="8206"/>
            <p14:sldId id="828"/>
            <p14:sldId id="831"/>
            <p14:sldId id="8228"/>
            <p14:sldId id="1515"/>
            <p14:sldId id="10310"/>
            <p14:sldId id="2906"/>
            <p14:sldId id="10312"/>
            <p14:sldId id="10325"/>
            <p14:sldId id="3002"/>
            <p14:sldId id="8377"/>
            <p14:sldId id="10316"/>
            <p14:sldId id="10317"/>
            <p14:sldId id="10319"/>
            <p14:sldId id="8407"/>
            <p14:sldId id="7849"/>
            <p14:sldId id="4385"/>
            <p14:sldId id="1032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40" userDrawn="1">
          <p15:clr>
            <a:srgbClr val="A4A3A4"/>
          </p15:clr>
        </p15:guide>
        <p15:guide id="2" pos="315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ergana Nedelcheva" initials="GN" lastIdx="2" clrIdx="0">
    <p:extLst>
      <p:ext uri="{19B8F6BF-5375-455C-9EA6-DF929625EA0E}">
        <p15:presenceInfo xmlns:p15="http://schemas.microsoft.com/office/powerpoint/2012/main" userId="S-1-5-21-2215643982-2004304490-3753650631-4315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6"/>
    <a:srgbClr val="E5E5E5"/>
    <a:srgbClr val="B2B2B2"/>
    <a:srgbClr val="965AA0"/>
    <a:srgbClr val="B2B2B4"/>
    <a:srgbClr val="B1B2B3"/>
    <a:srgbClr val="B1B1B3"/>
    <a:srgbClr val="CBADD0"/>
    <a:srgbClr val="707070"/>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CD1B80-A896-477D-B259-28D6677FAEA3}" v="12" dt="2021-06-30T07:39:56.47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556" autoAdjust="0"/>
    <p:restoredTop sz="96807" autoAdjust="0"/>
  </p:normalViewPr>
  <p:slideViewPr>
    <p:cSldViewPr snapToGrid="0">
      <p:cViewPr varScale="1">
        <p:scale>
          <a:sx n="109" d="100"/>
          <a:sy n="109" d="100"/>
        </p:scale>
        <p:origin x="126" y="48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140"/>
        <p:guide pos="315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46.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6.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commentAuthors" Target="commentAuthors.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notesMaster" Target="notesMasters/notesMaster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 Type="http://schemas.openxmlformats.org/officeDocument/2006/relationships/slideMaster" Target="slideMasters/slideMaster4.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rgana Nedelcheva (Гергана Неделчева)" userId="e31ad6fd-bf9f-442a-b971-5ecb9bdf6358" providerId="ADAL" clId="{611C5E28-6C51-4699-A9A7-633CD45BA351}"/>
    <pc:docChg chg="undo custSel modSld">
      <pc:chgData name="Gergana Nedelcheva (Гергана Неделчева)" userId="e31ad6fd-bf9f-442a-b971-5ecb9bdf6358" providerId="ADAL" clId="{611C5E28-6C51-4699-A9A7-633CD45BA351}" dt="2021-05-10T14:24:22.249" v="149"/>
      <pc:docMkLst>
        <pc:docMk/>
      </pc:docMkLst>
      <pc:sldChg chg="modSp mod">
        <pc:chgData name="Gergana Nedelcheva (Гергана Неделчева)" userId="e31ad6fd-bf9f-442a-b971-5ecb9bdf6358" providerId="ADAL" clId="{611C5E28-6C51-4699-A9A7-633CD45BA351}" dt="2021-05-10T14:14:11.380" v="134" actId="20577"/>
        <pc:sldMkLst>
          <pc:docMk/>
          <pc:sldMk cId="2619448876" sldId="3002"/>
        </pc:sldMkLst>
        <pc:spChg chg="mod">
          <ac:chgData name="Gergana Nedelcheva (Гергана Неделчева)" userId="e31ad6fd-bf9f-442a-b971-5ecb9bdf6358" providerId="ADAL" clId="{611C5E28-6C51-4699-A9A7-633CD45BA351}" dt="2021-05-10T14:14:11.380" v="134" actId="20577"/>
          <ac:spMkLst>
            <pc:docMk/>
            <pc:sldMk cId="2619448876" sldId="3002"/>
            <ac:spMk id="3" creationId="{C91F025B-E7A5-4D0D-A65A-5C4AB14870B5}"/>
          </ac:spMkLst>
        </pc:spChg>
      </pc:sldChg>
      <pc:sldChg chg="modNotesTx">
        <pc:chgData name="Gergana Nedelcheva (Гергана Неделчева)" userId="e31ad6fd-bf9f-442a-b971-5ecb9bdf6358" providerId="ADAL" clId="{611C5E28-6C51-4699-A9A7-633CD45BA351}" dt="2021-05-10T14:04:07.054" v="1" actId="20577"/>
        <pc:sldMkLst>
          <pc:docMk/>
          <pc:sldMk cId="3052499953" sldId="8206"/>
        </pc:sldMkLst>
      </pc:sldChg>
      <pc:sldChg chg="modSp mod">
        <pc:chgData name="Gergana Nedelcheva (Гергана Неделчева)" userId="e31ad6fd-bf9f-442a-b971-5ecb9bdf6358" providerId="ADAL" clId="{611C5E28-6C51-4699-A9A7-633CD45BA351}" dt="2021-05-10T14:02:35.296" v="0" actId="1076"/>
        <pc:sldMkLst>
          <pc:docMk/>
          <pc:sldMk cId="1058723593" sldId="8231"/>
        </pc:sldMkLst>
        <pc:picChg chg="mod">
          <ac:chgData name="Gergana Nedelcheva (Гергана Неделчева)" userId="e31ad6fd-bf9f-442a-b971-5ecb9bdf6358" providerId="ADAL" clId="{611C5E28-6C51-4699-A9A7-633CD45BA351}" dt="2021-05-10T14:02:35.296" v="0" actId="1076"/>
          <ac:picMkLst>
            <pc:docMk/>
            <pc:sldMk cId="1058723593" sldId="8231"/>
            <ac:picMk id="7" creationId="{8FFB022F-4373-431A-BCC7-68633E54CCE4}"/>
          </ac:picMkLst>
        </pc:picChg>
      </pc:sldChg>
      <pc:sldChg chg="modSp mod">
        <pc:chgData name="Gergana Nedelcheva (Гергана Неделчева)" userId="e31ad6fd-bf9f-442a-b971-5ecb9bdf6358" providerId="ADAL" clId="{611C5E28-6C51-4699-A9A7-633CD45BA351}" dt="2021-05-10T14:16:18.431" v="144" actId="20577"/>
        <pc:sldMkLst>
          <pc:docMk/>
          <pc:sldMk cId="2784461428" sldId="10316"/>
        </pc:sldMkLst>
        <pc:spChg chg="mod">
          <ac:chgData name="Gergana Nedelcheva (Гергана Неделчева)" userId="e31ad6fd-bf9f-442a-b971-5ecb9bdf6358" providerId="ADAL" clId="{611C5E28-6C51-4699-A9A7-633CD45BA351}" dt="2021-05-10T14:16:18.431" v="144" actId="20577"/>
          <ac:spMkLst>
            <pc:docMk/>
            <pc:sldMk cId="2784461428" sldId="10316"/>
            <ac:spMk id="25" creationId="{502710C3-58DB-435F-985F-5B7249BA270A}"/>
          </ac:spMkLst>
        </pc:spChg>
      </pc:sldChg>
      <pc:sldChg chg="addSp delSp modSp mod">
        <pc:chgData name="Gergana Nedelcheva (Гергана Неделчева)" userId="e31ad6fd-bf9f-442a-b971-5ecb9bdf6358" providerId="ADAL" clId="{611C5E28-6C51-4699-A9A7-633CD45BA351}" dt="2021-05-10T14:24:22.249" v="149"/>
        <pc:sldMkLst>
          <pc:docMk/>
          <pc:sldMk cId="797627215" sldId="10324"/>
        </pc:sldMkLst>
        <pc:graphicFrameChg chg="add del modGraphic">
          <ac:chgData name="Gergana Nedelcheva (Гергана Неделчева)" userId="e31ad6fd-bf9f-442a-b971-5ecb9bdf6358" providerId="ADAL" clId="{611C5E28-6C51-4699-A9A7-633CD45BA351}" dt="2021-05-10T14:05:16.972" v="3" actId="21"/>
          <ac:graphicFrameMkLst>
            <pc:docMk/>
            <pc:sldMk cId="797627215" sldId="10324"/>
            <ac:graphicFrameMk id="7" creationId="{F816F806-6158-4B4D-87FB-593A223F5D9D}"/>
          </ac:graphicFrameMkLst>
        </pc:graphicFrameChg>
        <pc:picChg chg="del">
          <ac:chgData name="Gergana Nedelcheva (Гергана Неделчева)" userId="e31ad6fd-bf9f-442a-b971-5ecb9bdf6358" providerId="ADAL" clId="{611C5E28-6C51-4699-A9A7-633CD45BA351}" dt="2021-05-10T14:22:01.018" v="146" actId="21"/>
          <ac:picMkLst>
            <pc:docMk/>
            <pc:sldMk cId="797627215" sldId="10324"/>
            <ac:picMk id="2" creationId="{926E6238-9F35-4323-B3C7-DEA900616FB5}"/>
          </ac:picMkLst>
        </pc:picChg>
        <pc:picChg chg="del mod">
          <ac:chgData name="Gergana Nedelcheva (Гергана Неделчева)" userId="e31ad6fd-bf9f-442a-b971-5ecb9bdf6358" providerId="ADAL" clId="{611C5E28-6C51-4699-A9A7-633CD45BA351}" dt="2021-05-10T14:22:06.630" v="148" actId="21"/>
          <ac:picMkLst>
            <pc:docMk/>
            <pc:sldMk cId="797627215" sldId="10324"/>
            <ac:picMk id="5" creationId="{DE99E03E-E9D1-4458-A890-CB2185545711}"/>
          </ac:picMkLst>
        </pc:picChg>
        <pc:picChg chg="add mod">
          <ac:chgData name="Gergana Nedelcheva (Гергана Неделчева)" userId="e31ad6fd-bf9f-442a-b971-5ecb9bdf6358" providerId="ADAL" clId="{611C5E28-6C51-4699-A9A7-633CD45BA351}" dt="2021-05-10T14:24:22.249" v="149"/>
          <ac:picMkLst>
            <pc:docMk/>
            <pc:sldMk cId="797627215" sldId="10324"/>
            <ac:picMk id="7" creationId="{FD615929-E9FF-4BD0-9BAF-736B689EE20E}"/>
          </ac:picMkLst>
        </pc:picChg>
      </pc:sldChg>
    </pc:docChg>
  </pc:docChgLst>
  <pc:docChgLst>
    <pc:chgData name="Gergana Nedelcheva (Гергана Неделчева)" userId="e31ad6fd-bf9f-442a-b971-5ecb9bdf6358" providerId="ADAL" clId="{01CD1B80-A896-477D-B259-28D6677FAEA3}"/>
    <pc:docChg chg="custSel addSld delSld modSld sldOrd modSection">
      <pc:chgData name="Gergana Nedelcheva (Гергана Неделчева)" userId="e31ad6fd-bf9f-442a-b971-5ecb9bdf6358" providerId="ADAL" clId="{01CD1B80-A896-477D-B259-28D6677FAEA3}" dt="2021-06-30T07:40:57.646" v="36" actId="2696"/>
      <pc:docMkLst>
        <pc:docMk/>
      </pc:docMkLst>
      <pc:sldChg chg="add del">
        <pc:chgData name="Gergana Nedelcheva (Гергана Неделчева)" userId="e31ad6fd-bf9f-442a-b971-5ecb9bdf6358" providerId="ADAL" clId="{01CD1B80-A896-477D-B259-28D6677FAEA3}" dt="2021-06-22T10:44:31.124" v="4" actId="2696"/>
        <pc:sldMkLst>
          <pc:docMk/>
          <pc:sldMk cId="1952247503" sldId="4600"/>
        </pc:sldMkLst>
      </pc:sldChg>
      <pc:sldChg chg="add modNotes">
        <pc:chgData name="Gergana Nedelcheva (Гергана Неделчева)" userId="e31ad6fd-bf9f-442a-b971-5ecb9bdf6358" providerId="ADAL" clId="{01CD1B80-A896-477D-B259-28D6677FAEA3}" dt="2021-06-22T10:48:40.638" v="8"/>
        <pc:sldMkLst>
          <pc:docMk/>
          <pc:sldMk cId="57423006" sldId="8407"/>
        </pc:sldMkLst>
      </pc:sldChg>
      <pc:sldChg chg="ord">
        <pc:chgData name="Gergana Nedelcheva (Гергана Неделчева)" userId="e31ad6fd-bf9f-442a-b971-5ecb9bdf6358" providerId="ADAL" clId="{01CD1B80-A896-477D-B259-28D6677FAEA3}" dt="2021-06-15T06:41:16.061" v="1"/>
        <pc:sldMkLst>
          <pc:docMk/>
          <pc:sldMk cId="1499800470" sldId="10310"/>
        </pc:sldMkLst>
      </pc:sldChg>
      <pc:sldChg chg="addSp delSp modSp del mod">
        <pc:chgData name="Gergana Nedelcheva (Гергана Неделчева)" userId="e31ad6fd-bf9f-442a-b971-5ecb9bdf6358" providerId="ADAL" clId="{01CD1B80-A896-477D-B259-28D6677FAEA3}" dt="2021-06-30T07:40:57.646" v="36" actId="2696"/>
        <pc:sldMkLst>
          <pc:docMk/>
          <pc:sldMk cId="797627215" sldId="10324"/>
        </pc:sldMkLst>
        <pc:picChg chg="add del mod">
          <ac:chgData name="Gergana Nedelcheva (Гергана Неделчева)" userId="e31ad6fd-bf9f-442a-b971-5ecb9bdf6358" providerId="ADAL" clId="{01CD1B80-A896-477D-B259-28D6677FAEA3}" dt="2021-06-22T10:48:59.298" v="12" actId="21"/>
          <ac:picMkLst>
            <pc:docMk/>
            <pc:sldMk cId="797627215" sldId="10324"/>
            <ac:picMk id="4" creationId="{965BFA2C-F70C-495D-A9F9-25C67632151A}"/>
          </ac:picMkLst>
        </pc:picChg>
        <pc:picChg chg="del mod">
          <ac:chgData name="Gergana Nedelcheva (Гергана Неделчева)" userId="e31ad6fd-bf9f-442a-b971-5ecb9bdf6358" providerId="ADAL" clId="{01CD1B80-A896-477D-B259-28D6677FAEA3}" dt="2021-06-22T10:50:10.018" v="24" actId="21"/>
          <ac:picMkLst>
            <pc:docMk/>
            <pc:sldMk cId="797627215" sldId="10324"/>
            <ac:picMk id="7" creationId="{FD615929-E9FF-4BD0-9BAF-736B689EE20E}"/>
          </ac:picMkLst>
        </pc:picChg>
        <pc:picChg chg="add del mod">
          <ac:chgData name="Gergana Nedelcheva (Гергана Неделчева)" userId="e31ad6fd-bf9f-442a-b971-5ecb9bdf6358" providerId="ADAL" clId="{01CD1B80-A896-477D-B259-28D6677FAEA3}" dt="2021-06-30T07:40:27.527" v="32" actId="21"/>
          <ac:picMkLst>
            <pc:docMk/>
            <pc:sldMk cId="797627215" sldId="10324"/>
            <ac:picMk id="8" creationId="{8165EEAF-167A-46D5-8F5B-91E666B0AD4C}"/>
          </ac:picMkLst>
        </pc:picChg>
      </pc:sldChg>
      <pc:sldChg chg="addSp delSp modSp add mod">
        <pc:chgData name="Gergana Nedelcheva (Гергана Неделчева)" userId="e31ad6fd-bf9f-442a-b971-5ecb9bdf6358" providerId="ADAL" clId="{01CD1B80-A896-477D-B259-28D6677FAEA3}" dt="2021-06-30T07:40:43.861" v="35" actId="1076"/>
        <pc:sldMkLst>
          <pc:docMk/>
          <pc:sldMk cId="580312494" sldId="10325"/>
        </pc:sldMkLst>
        <pc:picChg chg="add mod">
          <ac:chgData name="Gergana Nedelcheva (Гергана Неделчева)" userId="e31ad6fd-bf9f-442a-b971-5ecb9bdf6358" providerId="ADAL" clId="{01CD1B80-A896-477D-B259-28D6677FAEA3}" dt="2021-06-30T07:40:43.861" v="35" actId="1076"/>
          <ac:picMkLst>
            <pc:docMk/>
            <pc:sldMk cId="580312494" sldId="10325"/>
            <ac:picMk id="4" creationId="{48228A65-7480-4EFE-B4CF-787FC1875B50}"/>
          </ac:picMkLst>
        </pc:picChg>
        <pc:picChg chg="del">
          <ac:chgData name="Gergana Nedelcheva (Гергана Неделчева)" userId="e31ad6fd-bf9f-442a-b971-5ecb9bdf6358" providerId="ADAL" clId="{01CD1B80-A896-477D-B259-28D6677FAEA3}" dt="2021-06-30T07:40:39.248" v="33" actId="21"/>
          <ac:picMkLst>
            <pc:docMk/>
            <pc:sldMk cId="580312494" sldId="10325"/>
            <ac:picMk id="8" creationId="{8165EEAF-167A-46D5-8F5B-91E666B0AD4C}"/>
          </ac:picMkLst>
        </pc:picChg>
      </pc:sldChg>
      <pc:sldChg chg="modSp add del mod">
        <pc:chgData name="Gergana Nedelcheva (Гергана Неделчева)" userId="e31ad6fd-bf9f-442a-b971-5ecb9bdf6358" providerId="ADAL" clId="{01CD1B80-A896-477D-B259-28D6677FAEA3}" dt="2021-06-22T10:49:04.016" v="13" actId="2696"/>
        <pc:sldMkLst>
          <pc:docMk/>
          <pc:sldMk cId="2576699504" sldId="10325"/>
        </pc:sldMkLst>
        <pc:picChg chg="mod">
          <ac:chgData name="Gergana Nedelcheva (Гергана Неделчева)" userId="e31ad6fd-bf9f-442a-b971-5ecb9bdf6358" providerId="ADAL" clId="{01CD1B80-A896-477D-B259-28D6677FAEA3}" dt="2021-06-22T10:48:44.804" v="9" actId="1076"/>
          <ac:picMkLst>
            <pc:docMk/>
            <pc:sldMk cId="2576699504" sldId="10325"/>
            <ac:picMk id="4" creationId="{965BFA2C-F70C-495D-A9F9-25C67632151A}"/>
          </ac:picMkLst>
        </pc:picChg>
      </pc:sldChg>
      <pc:sldChg chg="modSp add del mod">
        <pc:chgData name="Gergana Nedelcheva (Гергана Неделчева)" userId="e31ad6fd-bf9f-442a-b971-5ecb9bdf6358" providerId="ADAL" clId="{01CD1B80-A896-477D-B259-28D6677FAEA3}" dt="2021-06-22T10:49:19.590" v="16" actId="2696"/>
        <pc:sldMkLst>
          <pc:docMk/>
          <pc:sldMk cId="3278361005" sldId="10325"/>
        </pc:sldMkLst>
        <pc:picChg chg="mod">
          <ac:chgData name="Gergana Nedelcheva (Гергана Неделчева)" userId="e31ad6fd-bf9f-442a-b971-5ecb9bdf6358" providerId="ADAL" clId="{01CD1B80-A896-477D-B259-28D6677FAEA3}" dt="2021-06-22T10:49:13.677" v="15" actId="1076"/>
          <ac:picMkLst>
            <pc:docMk/>
            <pc:sldMk cId="3278361005" sldId="10325"/>
            <ac:picMk id="4" creationId="{965BFA2C-F70C-495D-A9F9-25C67632151A}"/>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232876712328766E-2"/>
          <c:y val="7.1232876712328766E-2"/>
          <c:w val="0.8575342465753425"/>
          <c:h val="0.8575342465753425"/>
        </c:manualLayout>
      </c:layout>
      <c:pieChart>
        <c:varyColors val="0"/>
        <c:ser>
          <c:idx val="0"/>
          <c:order val="0"/>
          <c:dPt>
            <c:idx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0-7D92-494F-8404-1F4C3A0330A8}"/>
              </c:ext>
            </c:extLst>
          </c:dPt>
          <c:dPt>
            <c:idx val="1"/>
            <c:bubble3D val="0"/>
            <c:spPr>
              <a:solidFill>
                <a:schemeClr val="tx1"/>
              </a:solidFill>
              <a:ln w="9525" algn="ctr">
                <a:solidFill>
                  <a:srgbClr val="FFFFFF"/>
                </a:solidFill>
                <a:prstDash val="solid"/>
              </a:ln>
            </c:spPr>
            <c:extLst>
              <c:ext xmlns:c16="http://schemas.microsoft.com/office/drawing/2014/chart" uri="{C3380CC4-5D6E-409C-BE32-E72D297353CC}">
                <c16:uniqueId val="{00000001-7D92-494F-8404-1F4C3A0330A8}"/>
              </c:ext>
            </c:extLst>
          </c:dPt>
          <c:dPt>
            <c:idx val="2"/>
            <c:bubble3D val="0"/>
            <c:spPr>
              <a:solidFill>
                <a:schemeClr val="bg2"/>
              </a:solidFill>
              <a:ln w="9525" algn="ctr">
                <a:solidFill>
                  <a:srgbClr val="FFFFFF"/>
                </a:solidFill>
                <a:prstDash val="solid"/>
              </a:ln>
            </c:spPr>
            <c:extLst>
              <c:ext xmlns:c16="http://schemas.microsoft.com/office/drawing/2014/chart" uri="{C3380CC4-5D6E-409C-BE32-E72D297353CC}">
                <c16:uniqueId val="{00000002-7D92-494F-8404-1F4C3A0330A8}"/>
              </c:ext>
            </c:extLst>
          </c:dPt>
          <c:val>
            <c:numRef>
              <c:f>Sheet1!$A$1:$A$3</c:f>
              <c:numCache>
                <c:formatCode>General</c:formatCode>
                <c:ptCount val="3"/>
                <c:pt idx="0">
                  <c:v>23</c:v>
                </c:pt>
                <c:pt idx="1">
                  <c:v>4</c:v>
                </c:pt>
                <c:pt idx="2">
                  <c:v>73</c:v>
                </c:pt>
              </c:numCache>
            </c:numRef>
          </c:val>
          <c:extLst>
            <c:ext xmlns:c16="http://schemas.microsoft.com/office/drawing/2014/chart" uri="{C3380CC4-5D6E-409C-BE32-E72D297353CC}">
              <c16:uniqueId val="{00000003-7D92-494F-8404-1F4C3A0330A8}"/>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1" dt="2021-02-10T09:27:30.870" idx="2">
    <p:pos x="10" y="10"/>
    <p:text>The review process looked at three elements of business models: 1. international direct selling capabilities qualifying; 2. company franchise sales, where they had granted other retailers the right to run the franchise; 3. marketplace sales and sourcing alliances/private label products.</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2" y="1"/>
            <a:ext cx="4303606" cy="339725"/>
          </a:xfrm>
          <a:prstGeom prst="rect">
            <a:avLst/>
          </a:prstGeom>
        </p:spPr>
        <p:txBody>
          <a:bodyPr vert="horz" lIns="91433" tIns="45717" rIns="91433" bIns="45717" rtlCol="0"/>
          <a:lstStyle>
            <a:lvl1pPr algn="l">
              <a:defRPr sz="1200"/>
            </a:lvl1pPr>
          </a:lstStyle>
          <a:p>
            <a:endParaRPr lang="de-DE">
              <a:latin typeface="Arial" panose="020B0604020202020204" pitchFamily="34" charset="0"/>
              <a:cs typeface="Arial" panose="020B0604020202020204" pitchFamily="34" charset="0"/>
            </a:endParaRPr>
          </a:p>
        </p:txBody>
      </p:sp>
      <p:sp>
        <p:nvSpPr>
          <p:cNvPr id="3" name="Datumsplatzhalter 2"/>
          <p:cNvSpPr>
            <a:spLocks noGrp="1"/>
          </p:cNvSpPr>
          <p:nvPr>
            <p:ph type="dt" sz="quarter" idx="1"/>
          </p:nvPr>
        </p:nvSpPr>
        <p:spPr bwMode="gray">
          <a:xfrm>
            <a:off x="5625498" y="1"/>
            <a:ext cx="4303606" cy="339725"/>
          </a:xfrm>
          <a:prstGeom prst="rect">
            <a:avLst/>
          </a:prstGeom>
        </p:spPr>
        <p:txBody>
          <a:bodyPr vert="horz" lIns="91433" tIns="45717" rIns="91433" bIns="45717" rtlCol="0"/>
          <a:lstStyle>
            <a:lvl1pPr algn="r">
              <a:defRPr sz="1200"/>
            </a:lvl1pPr>
          </a:lstStyle>
          <a:p>
            <a:fld id="{EB2A8FE2-7D44-4F9F-9EBB-87B058C26DA3}" type="datetimeFigureOut">
              <a:rPr lang="de-DE" smtClean="0">
                <a:latin typeface="Arial" panose="020B0604020202020204" pitchFamily="34" charset="0"/>
                <a:cs typeface="Arial" panose="020B0604020202020204" pitchFamily="34" charset="0"/>
              </a:rPr>
              <a:t>Solution Center</a:t>
            </a:fld>
            <a:endParaRPr lang="de-DE">
              <a:latin typeface="Arial" panose="020B0604020202020204" pitchFamily="34" charset="0"/>
              <a:cs typeface="Arial" panose="020B0604020202020204" pitchFamily="34" charset="0"/>
            </a:endParaRPr>
          </a:p>
        </p:txBody>
      </p:sp>
      <p:sp>
        <p:nvSpPr>
          <p:cNvPr id="4" name="Fußzeilenplatzhalter 3"/>
          <p:cNvSpPr>
            <a:spLocks noGrp="1"/>
          </p:cNvSpPr>
          <p:nvPr>
            <p:ph type="ftr" sz="quarter" idx="2"/>
          </p:nvPr>
        </p:nvSpPr>
        <p:spPr bwMode="gray">
          <a:xfrm>
            <a:off x="2" y="6453596"/>
            <a:ext cx="4303606" cy="339725"/>
          </a:xfrm>
          <a:prstGeom prst="rect">
            <a:avLst/>
          </a:prstGeom>
        </p:spPr>
        <p:txBody>
          <a:bodyPr vert="horz" lIns="91433" tIns="45717" rIns="91433" bIns="45717" rtlCol="0" anchor="b"/>
          <a:lstStyle>
            <a:lvl1pPr algn="l">
              <a:defRPr sz="1200"/>
            </a:lvl1pPr>
          </a:lstStyle>
          <a:p>
            <a:endParaRPr lang="de-DE">
              <a:latin typeface="Arial" panose="020B0604020202020204" pitchFamily="34" charset="0"/>
              <a:cs typeface="Arial" panose="020B0604020202020204" pitchFamily="34" charset="0"/>
            </a:endParaRPr>
          </a:p>
        </p:txBody>
      </p:sp>
      <p:sp>
        <p:nvSpPr>
          <p:cNvPr id="5" name="Foliennummernplatzhalter 4"/>
          <p:cNvSpPr>
            <a:spLocks noGrp="1"/>
          </p:cNvSpPr>
          <p:nvPr>
            <p:ph type="sldNum" sz="quarter" idx="3"/>
          </p:nvPr>
        </p:nvSpPr>
        <p:spPr bwMode="gray">
          <a:xfrm>
            <a:off x="5625498" y="6453596"/>
            <a:ext cx="4303606" cy="339725"/>
          </a:xfrm>
          <a:prstGeom prst="rect">
            <a:avLst/>
          </a:prstGeom>
        </p:spPr>
        <p:txBody>
          <a:bodyPr vert="horz" lIns="91433" tIns="45717" rIns="91433" bIns="45717" rtlCol="0" anchor="b"/>
          <a:lstStyle>
            <a:lvl1pPr algn="r">
              <a:defRPr sz="1200"/>
            </a:lvl1pPr>
          </a:lstStyle>
          <a:p>
            <a:fld id="{9AB73254-3C94-4E34-A1E4-9C7A9BBFBC47}" type="slidenum">
              <a:rPr lang="de-DE" smtClean="0">
                <a:latin typeface="Arial" panose="020B0604020202020204" pitchFamily="34" charset="0"/>
                <a:cs typeface="Arial" panose="020B0604020202020204" pitchFamily="34" charset="0"/>
              </a:rPr>
              <a:t>‹#›</a:t>
            </a:fld>
            <a:endParaRPr lang="de-DE">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469642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31800" y="431800"/>
            <a:ext cx="5109518" cy="2875447"/>
          </a:xfrm>
          <a:prstGeom prst="rect">
            <a:avLst/>
          </a:prstGeom>
          <a:noFill/>
          <a:ln w="12700">
            <a:solidFill>
              <a:schemeClr val="accent6"/>
            </a:solidFill>
          </a:ln>
        </p:spPr>
        <p:txBody>
          <a:bodyPr vert="horz" lIns="91433" tIns="45717" rIns="91433" bIns="45717" rtlCol="0" anchor="ctr"/>
          <a:lstStyle/>
          <a:p>
            <a:r>
              <a:rPr lang="de-DE"/>
              <a:t>mmm</a:t>
            </a:r>
          </a:p>
        </p:txBody>
      </p:sp>
      <p:sp>
        <p:nvSpPr>
          <p:cNvPr id="5" name="Notizenplatzhalter 4"/>
          <p:cNvSpPr>
            <a:spLocks noGrp="1"/>
          </p:cNvSpPr>
          <p:nvPr>
            <p:ph type="body" sz="quarter" idx="3"/>
          </p:nvPr>
        </p:nvSpPr>
        <p:spPr bwMode="gray">
          <a:xfrm>
            <a:off x="5973318" y="431800"/>
            <a:ext cx="3526082" cy="5929313"/>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r Verbinder 25"/>
          <p:cNvCxnSpPr/>
          <p:nvPr/>
        </p:nvCxnSpPr>
        <p:spPr>
          <a:xfrm>
            <a:off x="432000" y="3840321"/>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a:off x="432000" y="6361113"/>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p:nvCxnSpPr>
        <p:spPr>
          <a:xfrm>
            <a:off x="432000" y="4200434"/>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a:off x="432000" y="4560547"/>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Gerader Verbinder 44"/>
          <p:cNvCxnSpPr/>
          <p:nvPr/>
        </p:nvCxnSpPr>
        <p:spPr>
          <a:xfrm>
            <a:off x="432000" y="4920660"/>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a:off x="432000" y="5280773"/>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Gerader Verbinder 46"/>
          <p:cNvCxnSpPr/>
          <p:nvPr/>
        </p:nvCxnSpPr>
        <p:spPr>
          <a:xfrm>
            <a:off x="432000" y="5640886"/>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p:nvCxnSpPr>
        <p:spPr>
          <a:xfrm>
            <a:off x="432000" y="6000999"/>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06993"/>
      </p:ext>
    </p:extLst>
  </p:cSld>
  <p:clrMap bg1="lt1" tx1="dk1" bg2="lt2" tx2="dk2" accent1="accent1" accent2="accent2" accent3="accent3" accent4="accent4" accent5="accent5" accent6="accent6" hlink="hlink" folHlink="folHlink"/>
  <p:notesStyle>
    <a:lvl1pPr marL="0" indent="0" algn="l" defTabSz="1088502" rtl="0" eaLnBrk="1" latinLnBrk="0" hangingPunct="1">
      <a:lnSpc>
        <a:spcPct val="130000"/>
      </a:lnSpc>
      <a:defRPr sz="1100" kern="1200">
        <a:solidFill>
          <a:schemeClr val="tx1"/>
        </a:solidFill>
        <a:latin typeface="+mn-lt"/>
        <a:ea typeface="+mn-ea"/>
        <a:cs typeface="+mn-cs"/>
      </a:defRPr>
    </a:lvl1pPr>
    <a:lvl2pPr marL="108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2pPr>
    <a:lvl3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3pPr>
    <a:lvl4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4pPr>
    <a:lvl5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5pPr>
    <a:lvl6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6pPr>
    <a:lvl7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7pPr>
    <a:lvl8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8pPr>
    <a:lvl9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9pPr>
  </p:notesStyle>
  <p:extLst>
    <p:ext uri="{620B2872-D7B9-4A21-9093-7833F8D536E1}">
      <p15:sldGuideLst xmlns:p15="http://schemas.microsoft.com/office/powerpoint/2012/main">
        <p15:guide id="1" pos="272" userDrawn="1">
          <p15:clr>
            <a:srgbClr val="F26B43"/>
          </p15:clr>
        </p15:guide>
        <p15:guide id="2" pos="5982" userDrawn="1">
          <p15:clr>
            <a:srgbClr val="F26B43"/>
          </p15:clr>
        </p15:guide>
        <p15:guide id="3" orient="horz" pos="272" userDrawn="1">
          <p15:clr>
            <a:srgbClr val="F26B43"/>
          </p15:clr>
        </p15:guide>
        <p15:guide id="4" orient="horz" pos="400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11E8C59A-B445-400D-9FBC-209E7742AD74}"/>
              </a:ext>
            </a:extLst>
          </p:cNvPr>
          <p:cNvSpPr>
            <a:spLocks noGrp="1"/>
          </p:cNvSpPr>
          <p:nvPr>
            <p:ph type="body" idx="1"/>
          </p:nvPr>
        </p:nvSpPr>
        <p:spPr/>
        <p:txBody>
          <a:bodyPr/>
          <a:lstStyle/>
          <a:p>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54960B8-AC67-479A-A2D5-801105C5EF17}" type="slidenum">
              <a:rPr lang="de-DE" smtClean="0"/>
              <a:pPr/>
              <a:t>15</a:t>
            </a:fld>
            <a:endParaRPr lang="de-DE"/>
          </a:p>
        </p:txBody>
      </p:sp>
    </p:spTree>
    <p:extLst>
      <p:ext uri="{BB962C8B-B14F-4D97-AF65-F5344CB8AC3E}">
        <p14:creationId xmlns:p14="http://schemas.microsoft.com/office/powerpoint/2010/main" val="8907152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1941648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54960B8-AC67-479A-A2D5-801105C5EF17}" type="slidenum">
              <a:rPr lang="de-DE" smtClean="0"/>
              <a:pPr/>
              <a:t>18</a:t>
            </a:fld>
            <a:endParaRPr lang="de-DE"/>
          </a:p>
        </p:txBody>
      </p:sp>
    </p:spTree>
    <p:extLst>
      <p:ext uri="{BB962C8B-B14F-4D97-AF65-F5344CB8AC3E}">
        <p14:creationId xmlns:p14="http://schemas.microsoft.com/office/powerpoint/2010/main" val="29990389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3935605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en-US" sz="800" b="0" i="0" baseline="0">
                <a:solidFill>
                  <a:schemeClr val="tx1"/>
                </a:solidFill>
                <a:latin typeface="+mn-lt"/>
                <a:ea typeface="+mn-ea"/>
                <a:cs typeface="+mn-cs"/>
              </a:rPr>
              <a:t>GC, alongside Lidl, KL and SDL/SZD, is also part of Schwarz Group</a:t>
            </a:r>
          </a:p>
          <a:p>
            <a:pPr marL="171450" indent="-171450">
              <a:buFont typeface="Arial" panose="020B0604020202020204" pitchFamily="34" charset="0"/>
              <a:buChar char="•"/>
            </a:pPr>
            <a:r>
              <a:rPr lang="en-US" sz="800" b="0" i="0">
                <a:solidFill>
                  <a:schemeClr val="tx1"/>
                </a:solidFill>
                <a:latin typeface="+mn-lt"/>
                <a:ea typeface="+mn-ea"/>
                <a:cs typeface="+mn-cs"/>
              </a:rPr>
              <a:t>We are a global disposal company and a driver of innovation in the areas of recyclables and energy management, environmental innovation and logistics solutions.</a:t>
            </a:r>
          </a:p>
          <a:p>
            <a:pPr marL="171450" indent="-171450">
              <a:buFont typeface="Arial" panose="020B0604020202020204" pitchFamily="34" charset="0"/>
              <a:buChar char="•"/>
            </a:pPr>
            <a:r>
              <a:rPr lang="en-US" sz="800" b="0" i="0" baseline="0">
                <a:solidFill>
                  <a:schemeClr val="tx1"/>
                </a:solidFill>
                <a:latin typeface="+mn-lt"/>
                <a:ea typeface="+mn-ea"/>
                <a:cs typeface="+mn-cs"/>
              </a:rPr>
              <a:t>The following represents figures, data and facts as of March 2020.</a:t>
            </a:r>
          </a:p>
        </p:txBody>
      </p:sp>
      <p:sp>
        <p:nvSpPr>
          <p:cNvPr id="4" name="Foliennummernplatzhalter 3"/>
          <p:cNvSpPr>
            <a:spLocks noGrp="1"/>
          </p:cNvSpPr>
          <p:nvPr>
            <p:ph type="sldNum" sz="quarter" idx="10"/>
          </p:nvPr>
        </p:nvSpPr>
        <p:spPr/>
        <p:txBody>
          <a:bodyPr/>
          <a:lstStyle/>
          <a:p>
            <a:pPr marL="0" marR="0" lvl="0" indent="0" algn="r" defTabSz="914264"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4" rtl="0" eaLnBrk="1" fontAlgn="auto" latinLnBrk="0" hangingPunct="1">
                <a:lnSpc>
                  <a:spcPct val="100000"/>
                </a:lnSpc>
                <a:spcBef>
                  <a:spcPts val="0"/>
                </a:spcBef>
                <a:spcAft>
                  <a:spcPts val="0"/>
                </a:spcAft>
                <a:buClrTx/>
                <a:buSzTx/>
                <a:buFontTx/>
                <a:buNone/>
                <a:tabLst/>
                <a:defRPr/>
              </a:pPr>
              <a:t>21</a:t>
            </a:fld>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33162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pPr marL="171450" marR="0" lvl="0" indent="-171450" algn="l" defTabSz="6095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Company active around the world in 3 business divisions</a:t>
            </a:r>
          </a:p>
          <a:p>
            <a:pPr marL="171450" marR="0" lvl="0" indent="-171450" algn="l" defTabSz="6095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Focuses on disposal and recycling</a:t>
            </a:r>
          </a:p>
          <a:p>
            <a:pPr marL="171450" marR="0" lvl="0" indent="-171450" algn="l" defTabSz="6095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Energy management and environmental innovation</a:t>
            </a:r>
          </a:p>
          <a:p>
            <a:pPr marL="171450" marR="0" lvl="0" indent="-171450" algn="l" defTabSz="6095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Logistics solutions, operates pallet pool</a:t>
            </a:r>
          </a:p>
          <a:p>
            <a:pPr marL="171450" marR="0" lvl="0" indent="-171450" algn="l" defTabSz="6095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0"/>
          </a:p>
          <a:p>
            <a:pPr marL="171450" marR="0" lvl="0" indent="-171450" algn="l" defTabSz="6095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0"/>
          </a:p>
        </p:txBody>
      </p:sp>
      <p:sp>
        <p:nvSpPr>
          <p:cNvPr id="4" name="Foliennummernplatzhalter 3"/>
          <p:cNvSpPr>
            <a:spLocks noGrp="1"/>
          </p:cNvSpPr>
          <p:nvPr>
            <p:ph type="sldNum" sz="quarter" idx="10"/>
          </p:nvPr>
        </p:nvSpPr>
        <p:spPr/>
        <p:txBody>
          <a:bodyPr/>
          <a:lstStyle/>
          <a:p>
            <a:pPr marL="0" marR="0" lvl="0" indent="0" algn="r" defTabSz="914264"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4" rtl="0" eaLnBrk="1" fontAlgn="auto" latinLnBrk="0" hangingPunct="1">
                <a:lnSpc>
                  <a:spcPct val="100000"/>
                </a:lnSpc>
                <a:spcBef>
                  <a:spcPts val="0"/>
                </a:spcBef>
                <a:spcAft>
                  <a:spcPts val="0"/>
                </a:spcAft>
                <a:buClrTx/>
                <a:buSzTx/>
                <a:buFontTx/>
                <a:buNone/>
                <a:tabLst/>
                <a:defRPr/>
              </a:pPr>
              <a:t>22</a:t>
            </a:fld>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3333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en-US"/>
              <a:t>With the above, we made 750 M. EUR in sales in 2019</a:t>
            </a:r>
          </a:p>
          <a:p>
            <a:pPr marL="171450" indent="-171450">
              <a:buFont typeface="Arial" panose="020B0604020202020204" pitchFamily="34" charset="0"/>
              <a:buChar char="•"/>
            </a:pPr>
            <a:r>
              <a:rPr lang="en-US"/>
              <a:t>We are active worldwide. On the one hand, strategically in every country where Lidl and Kaufland are also active (shown here in blue), as we operate their recyclables management;</a:t>
            </a:r>
          </a:p>
          <a:p>
            <a:pPr marL="171450" indent="-171450">
              <a:buFont typeface="Arial" panose="020B0604020202020204" pitchFamily="34" charset="0"/>
              <a:buChar char="•"/>
            </a:pPr>
            <a:r>
              <a:rPr lang="en-US"/>
              <a:t>On the other hand, on the operational level with facilities: in other words, disposal operations, sorting, or producing recycled products</a:t>
            </a:r>
          </a:p>
          <a:p>
            <a:pPr marL="171450" indent="-171450">
              <a:buFont typeface="Arial" panose="020B0604020202020204" pitchFamily="34" charset="0"/>
              <a:buChar char="•"/>
            </a:pPr>
            <a:r>
              <a:rPr lang="en-US"/>
              <a:t>In the USA as well, we started business operations in California with the acquisition by RMG in 2018.</a:t>
            </a:r>
          </a:p>
          <a:p>
            <a:pPr marL="171450" indent="-171450">
              <a:buFont typeface="Arial" panose="020B0604020202020204" pitchFamily="34" charset="0"/>
              <a:buChar char="•"/>
            </a:pPr>
            <a:r>
              <a:rPr lang="en-US"/>
              <a:t>Our office in Asia represents us in an important market for recyclables</a:t>
            </a:r>
          </a:p>
        </p:txBody>
      </p:sp>
      <p:sp>
        <p:nvSpPr>
          <p:cNvPr id="4" name="Foliennummernplatzhalter 3"/>
          <p:cNvSpPr>
            <a:spLocks noGrp="1"/>
          </p:cNvSpPr>
          <p:nvPr>
            <p:ph type="sldNum" sz="quarter" idx="10"/>
          </p:nvPr>
        </p:nvSpPr>
        <p:spPr/>
        <p:txBody>
          <a:bodyPr/>
          <a:lstStyle/>
          <a:p>
            <a:pPr marL="0" marR="0" lvl="0" indent="0" algn="r" defTabSz="914264"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4" rtl="0" eaLnBrk="1" fontAlgn="auto" latinLnBrk="0" hangingPunct="1">
                <a:lnSpc>
                  <a:spcPct val="100000"/>
                </a:lnSpc>
                <a:spcBef>
                  <a:spcPts val="0"/>
                </a:spcBef>
                <a:spcAft>
                  <a:spcPts val="0"/>
                </a:spcAft>
                <a:buClrTx/>
                <a:buSzTx/>
                <a:buFontTx/>
                <a:buNone/>
                <a:tabLst/>
                <a:defRPr/>
              </a:pPr>
              <a:t>23</a:t>
            </a:fld>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29639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8935082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2A695BAB-8D59-4A9B-8292-749257C7A1CF}"/>
              </a:ext>
            </a:extLst>
          </p:cNvPr>
          <p:cNvSpPr>
            <a:spLocks noGrp="1"/>
          </p:cNvSpPr>
          <p:nvPr>
            <p:ph type="body" idx="1"/>
          </p:nvPr>
        </p:nvSpPr>
        <p:spPr/>
        <p:txBody>
          <a:bodyPr/>
          <a:lstStyle/>
          <a:p>
            <a:r>
              <a:rPr lang="en-US"/>
              <a:t>SDL: Administrative functions; we will take a closer look at SZD again</a:t>
            </a:r>
          </a:p>
          <a:p>
            <a:endParaRPr lang="de-DE"/>
          </a:p>
          <a:p>
            <a:r>
              <a:rPr lang="en-US"/>
              <a:t>We have already taken a look at production, now we'd like to present the other elements of SZD:</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1088502" rtl="0" eaLnBrk="1" fontAlgn="auto" latinLnBrk="0" hangingPunct="1">
              <a:lnSpc>
                <a:spcPct val="100000"/>
              </a:lnSpc>
              <a:spcBef>
                <a:spcPts val="0"/>
              </a:spcBef>
              <a:spcAft>
                <a:spcPts val="0"/>
              </a:spcAft>
              <a:buClrTx/>
              <a:buSzTx/>
              <a:buFontTx/>
              <a:buNone/>
              <a:tabLst/>
              <a:defRPr/>
            </a:pPr>
            <a:fld id="{854960B8-AC67-479A-A2D5-801105C5EF17}"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1088502"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01371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8987461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24113" y="320675"/>
            <a:ext cx="3798887" cy="2136775"/>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7139041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24113" y="320675"/>
            <a:ext cx="3798887" cy="2136775"/>
          </a:xfrm>
        </p:spPr>
      </p:sp>
      <p:sp>
        <p:nvSpPr>
          <p:cNvPr id="3" name="Notizenplatzhalter 2"/>
          <p:cNvSpPr>
            <a:spLocks noGrp="1"/>
          </p:cNvSpPr>
          <p:nvPr>
            <p:ph type="body" idx="1"/>
          </p:nvPr>
        </p:nvSpPr>
        <p:spPr/>
        <p:txBody>
          <a:bodyPr/>
          <a:lstStyle/>
          <a:p>
            <a:r>
              <a:rPr lang="en-US"/>
              <a:t>Vehicle fleet: Traditional fleet services such as vehicle procurement, determination of company car regulations, OWI service, fuel card management, service hotline and on-site service from central location, organization of vehicle logistics, from BMW to meeting points to company car drivers, etc.</a:t>
            </a:r>
          </a:p>
          <a:p>
            <a:endParaRPr lang="de-DE"/>
          </a:p>
          <a:p>
            <a:r>
              <a:rPr lang="en-US"/>
              <a:t>Alternative mobility concepts: everything concerning mobility except for company cars, ready4green (bike, bus, rail, ride-sharing app, etc.), in-country support, etc.</a:t>
            </a:r>
          </a:p>
          <a:p>
            <a:endParaRPr lang="de-DE"/>
          </a:p>
          <a:p>
            <a:r>
              <a:rPr lang="en-US"/>
              <a:t>Organizational: see key points + travel (introduction of an online booking engine and Group-wide standardization of travel management)</a:t>
            </a:r>
          </a:p>
          <a:p>
            <a:endParaRPr lang="de-DE"/>
          </a:p>
          <a:p>
            <a:r>
              <a:rPr lang="en-US"/>
              <a:t>Transport service: 15 drivers</a:t>
            </a:r>
          </a:p>
          <a:p>
            <a:endParaRPr lang="de-DE"/>
          </a:p>
          <a:p>
            <a:r>
              <a:rPr lang="en-US"/>
              <a:t>Top service: as the name implies ;-)</a:t>
            </a:r>
          </a:p>
          <a:p>
            <a:endParaRPr lang="de-DE"/>
          </a:p>
        </p:txBody>
      </p:sp>
    </p:spTree>
    <p:extLst>
      <p:ext uri="{BB962C8B-B14F-4D97-AF65-F5344CB8AC3E}">
        <p14:creationId xmlns:p14="http://schemas.microsoft.com/office/powerpoint/2010/main" val="42449532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24113" y="320675"/>
            <a:ext cx="3798887" cy="2136775"/>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1794591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24113" y="320675"/>
            <a:ext cx="3798887" cy="2136775"/>
          </a:xfrm>
        </p:spPr>
      </p:sp>
      <p:sp>
        <p:nvSpPr>
          <p:cNvPr id="3" name="Notizenplatzhalter 2"/>
          <p:cNvSpPr>
            <a:spLocks noGrp="1"/>
          </p:cNvSpPr>
          <p:nvPr>
            <p:ph type="body" idx="1"/>
          </p:nvPr>
        </p:nvSpPr>
        <p:spPr/>
        <p:txBody>
          <a:bodyPr/>
          <a:lstStyle/>
          <a:p>
            <a:pPr>
              <a:lnSpc>
                <a:spcPct val="100000"/>
              </a:lnSpc>
            </a:pPr>
            <a:endParaRPr lang="de-DE" b="1" dirty="0"/>
          </a:p>
          <a:p>
            <a:pPr>
              <a:lnSpc>
                <a:spcPct val="100000"/>
              </a:lnSpc>
            </a:pPr>
            <a:r>
              <a:rPr lang="en-US" b="1" dirty="0"/>
              <a:t>Construction:</a:t>
            </a:r>
          </a:p>
          <a:p>
            <a:pPr marL="0" lvl="0" indent="0" defTabSz="914400">
              <a:lnSpc>
                <a:spcPct val="100000"/>
              </a:lnSpc>
              <a:buClr>
                <a:schemeClr val="accent1"/>
              </a:buClr>
              <a:buFont typeface="Wingdings" panose="05000000000000000000" pitchFamily="2" charset="2"/>
              <a:buNone/>
              <a:defRPr/>
            </a:pPr>
            <a:r>
              <a:rPr lang="en-US" dirty="0"/>
              <a:t>- Construction service providers in various projects for Lidl, Kaufland, SDL/SZD</a:t>
            </a:r>
          </a:p>
          <a:p>
            <a:pPr marL="0" lvl="0" indent="0" defTabSz="914400">
              <a:lnSpc>
                <a:spcPct val="100000"/>
              </a:lnSpc>
              <a:buClr>
                <a:schemeClr val="accent1"/>
              </a:buClr>
              <a:buFont typeface="Wingdings" panose="05000000000000000000" pitchFamily="2" charset="2"/>
              <a:buNone/>
              <a:defRPr/>
            </a:pPr>
            <a:r>
              <a:rPr lang="en-US" dirty="0"/>
              <a:t>- Responsible for planning and constructing management and auxiliary buildings in the HN/NSU region</a:t>
            </a:r>
          </a:p>
          <a:p>
            <a:pPr marL="0" lvl="0" indent="0" defTabSz="914400">
              <a:lnSpc>
                <a:spcPct val="100000"/>
              </a:lnSpc>
              <a:buClr>
                <a:schemeClr val="accent1"/>
              </a:buClr>
              <a:buFont typeface="Wingdings" panose="05000000000000000000" pitchFamily="2" charset="2"/>
              <a:buNone/>
              <a:defRPr/>
            </a:pPr>
            <a:r>
              <a:rPr lang="en-US" dirty="0"/>
              <a:t>- Currently: New construction of Bad </a:t>
            </a:r>
            <a:r>
              <a:rPr lang="en-US" dirty="0" err="1"/>
              <a:t>Wimpfen</a:t>
            </a:r>
            <a:r>
              <a:rPr lang="en-US" dirty="0"/>
              <a:t> Lidl service, modernization of </a:t>
            </a:r>
            <a:r>
              <a:rPr lang="en-US" dirty="0" err="1"/>
              <a:t>Olgastr</a:t>
            </a:r>
            <a:r>
              <a:rPr lang="en-US" dirty="0"/>
              <a:t>. Kaufland, </a:t>
            </a:r>
            <a:r>
              <a:rPr lang="en-US" dirty="0" err="1"/>
              <a:t>Wilhelmstr</a:t>
            </a:r>
            <a:r>
              <a:rPr lang="en-US" dirty="0"/>
              <a:t>. student housing 27 in HN, etc.</a:t>
            </a:r>
          </a:p>
          <a:p>
            <a:pPr>
              <a:lnSpc>
                <a:spcPct val="100000"/>
              </a:lnSpc>
            </a:pPr>
            <a:endParaRPr lang="de-DE" b="1" dirty="0"/>
          </a:p>
          <a:p>
            <a:pPr>
              <a:lnSpc>
                <a:spcPct val="100000"/>
              </a:lnSpc>
            </a:pPr>
            <a:r>
              <a:rPr lang="en-US" b="1" dirty="0"/>
              <a:t>Facility Management:</a:t>
            </a:r>
          </a:p>
          <a:p>
            <a:pPr marL="0" lvl="0" indent="0" defTabSz="914400">
              <a:lnSpc>
                <a:spcPct val="100000"/>
              </a:lnSpc>
              <a:buClr>
                <a:schemeClr val="accent1"/>
              </a:buClr>
              <a:buFont typeface="Wingdings" panose="05000000000000000000" pitchFamily="2" charset="2"/>
              <a:buNone/>
              <a:defRPr/>
            </a:pPr>
            <a:r>
              <a:rPr lang="en-US" dirty="0"/>
              <a:t>- Operation and management of real estate</a:t>
            </a:r>
          </a:p>
          <a:p>
            <a:pPr marL="0" lvl="0" indent="0" defTabSz="914400">
              <a:lnSpc>
                <a:spcPct val="100000"/>
              </a:lnSpc>
              <a:buClr>
                <a:schemeClr val="accent1"/>
              </a:buClr>
              <a:buFont typeface="Wingdings" panose="05000000000000000000" pitchFamily="2" charset="2"/>
              <a:buNone/>
              <a:defRPr/>
            </a:pPr>
            <a:r>
              <a:rPr lang="en-US" dirty="0"/>
              <a:t>- Building blocks: Safety and fire prevention, vending supplies, maintenance, postal service, receiving services, cleaning services, service provision for office equipment</a:t>
            </a:r>
          </a:p>
          <a:p>
            <a:pPr marL="0" lvl="0" indent="0" defTabSz="914400">
              <a:lnSpc>
                <a:spcPct val="100000"/>
              </a:lnSpc>
              <a:buClr>
                <a:schemeClr val="accent1"/>
              </a:buClr>
              <a:buFont typeface="Wingdings" panose="05000000000000000000" pitchFamily="2" charset="2"/>
              <a:buNone/>
              <a:defRPr/>
            </a:pPr>
            <a:r>
              <a:rPr lang="en-US" dirty="0"/>
              <a:t>- Planning/measuring of required floor space</a:t>
            </a:r>
          </a:p>
          <a:p>
            <a:pPr marL="0" lvl="0" indent="0" defTabSz="914400">
              <a:lnSpc>
                <a:spcPct val="100000"/>
              </a:lnSpc>
              <a:buClr>
                <a:schemeClr val="accent1"/>
              </a:buClr>
              <a:buFont typeface="Wingdings" panose="05000000000000000000" pitchFamily="2" charset="2"/>
              <a:buNone/>
              <a:defRPr/>
            </a:pPr>
            <a:r>
              <a:rPr lang="en-US" dirty="0"/>
              <a:t>- Organization for relocations</a:t>
            </a:r>
          </a:p>
          <a:p>
            <a:endParaRPr lang="de-DE" dirty="0"/>
          </a:p>
        </p:txBody>
      </p:sp>
    </p:spTree>
    <p:extLst>
      <p:ext uri="{BB962C8B-B14F-4D97-AF65-F5344CB8AC3E}">
        <p14:creationId xmlns:p14="http://schemas.microsoft.com/office/powerpoint/2010/main" val="23706550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24113" y="320675"/>
            <a:ext cx="3798887" cy="2136775"/>
          </a:xfrm>
        </p:spPr>
      </p:sp>
      <p:sp>
        <p:nvSpPr>
          <p:cNvPr id="3" name="Notizenplatzhalter 2"/>
          <p:cNvSpPr>
            <a:spLocks noGrp="1"/>
          </p:cNvSpPr>
          <p:nvPr>
            <p:ph type="body" idx="1"/>
          </p:nvPr>
        </p:nvSpPr>
        <p:spPr/>
        <p:txBody>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lang="en-US" dirty="0"/>
              <a:t>Restaurants in-house, i.e. with own staff</a:t>
            </a:r>
          </a:p>
          <a:p>
            <a:endParaRPr lang="de-DE" dirty="0"/>
          </a:p>
        </p:txBody>
      </p:sp>
    </p:spTree>
    <p:extLst>
      <p:ext uri="{BB962C8B-B14F-4D97-AF65-F5344CB8AC3E}">
        <p14:creationId xmlns:p14="http://schemas.microsoft.com/office/powerpoint/2010/main" val="3234140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292561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r>
              <a:rPr lang="de-DE" dirty="0"/>
              <a:t>01.07.2015: </a:t>
            </a:r>
            <a:r>
              <a:rPr lang="de-DE" dirty="0" err="1"/>
              <a:t>Foundation</a:t>
            </a:r>
            <a:r>
              <a:rPr lang="de-DE" dirty="0"/>
              <a:t> </a:t>
            </a:r>
            <a:r>
              <a:rPr lang="de-DE" dirty="0" err="1"/>
              <a:t>of</a:t>
            </a:r>
            <a:r>
              <a:rPr lang="de-DE" baseline="0" dirty="0"/>
              <a:t> SITIOS (=Schwarz IT Infrastructure &amp; </a:t>
            </a:r>
            <a:r>
              <a:rPr lang="de-DE" baseline="0" dirty="0" err="1"/>
              <a:t>Operations</a:t>
            </a:r>
            <a:r>
              <a:rPr lang="de-DE" baseline="0" dirty="0"/>
              <a:t> Service) -&gt; </a:t>
            </a:r>
            <a:r>
              <a:rPr lang="de-DE" baseline="0" dirty="0" err="1"/>
              <a:t>bundling</a:t>
            </a:r>
            <a:r>
              <a:rPr lang="de-DE" baseline="0" dirty="0"/>
              <a:t> </a:t>
            </a:r>
            <a:r>
              <a:rPr lang="de-DE" baseline="0" dirty="0" err="1"/>
              <a:t>of</a:t>
            </a:r>
            <a:r>
              <a:rPr lang="de-DE" baseline="0" dirty="0"/>
              <a:t> </a:t>
            </a:r>
            <a:r>
              <a:rPr lang="de-DE" baseline="0" dirty="0" err="1"/>
              <a:t>infrastructural</a:t>
            </a:r>
            <a:r>
              <a:rPr lang="de-DE" baseline="0" dirty="0"/>
              <a:t> </a:t>
            </a:r>
            <a:r>
              <a:rPr lang="de-DE" baseline="0" dirty="0" err="1"/>
              <a:t>issues</a:t>
            </a:r>
            <a:endParaRPr lang="de-DE" baseline="0" dirty="0"/>
          </a:p>
          <a:p>
            <a:r>
              <a:rPr lang="de-DE" baseline="0" dirty="0"/>
              <a:t>01.07.2016: </a:t>
            </a:r>
            <a:r>
              <a:rPr lang="de-DE" baseline="0" dirty="0" err="1"/>
              <a:t>Foundartion</a:t>
            </a:r>
            <a:r>
              <a:rPr lang="de-DE" baseline="0" dirty="0"/>
              <a:t> </a:t>
            </a:r>
            <a:r>
              <a:rPr lang="de-DE" baseline="0" dirty="0" err="1"/>
              <a:t>of</a:t>
            </a:r>
            <a:r>
              <a:rPr lang="de-DE" baseline="0" dirty="0"/>
              <a:t> SBIT (Schwarz Business IT) -&gt; </a:t>
            </a:r>
            <a:r>
              <a:rPr lang="de-DE" baseline="0" dirty="0" err="1"/>
              <a:t>bundling</a:t>
            </a:r>
            <a:r>
              <a:rPr lang="de-DE" baseline="0" dirty="0"/>
              <a:t> </a:t>
            </a:r>
            <a:r>
              <a:rPr lang="de-DE" baseline="0" dirty="0" err="1"/>
              <a:t>of</a:t>
            </a:r>
            <a:r>
              <a:rPr lang="de-DE" baseline="0" dirty="0"/>
              <a:t> </a:t>
            </a:r>
            <a:r>
              <a:rPr lang="de-DE" baseline="0" dirty="0" err="1"/>
              <a:t>business</a:t>
            </a:r>
            <a:r>
              <a:rPr lang="de-DE" baseline="0" dirty="0"/>
              <a:t> </a:t>
            </a:r>
            <a:r>
              <a:rPr lang="de-DE" baseline="0" dirty="0" err="1"/>
              <a:t>issues</a:t>
            </a:r>
            <a:r>
              <a:rPr lang="de-DE" baseline="0" dirty="0"/>
              <a:t> </a:t>
            </a:r>
            <a:r>
              <a:rPr lang="de-DE" baseline="0" dirty="0" err="1"/>
              <a:t>related</a:t>
            </a:r>
            <a:r>
              <a:rPr lang="de-DE" baseline="0" dirty="0"/>
              <a:t> </a:t>
            </a:r>
            <a:r>
              <a:rPr lang="de-DE" baseline="0" dirty="0" err="1"/>
              <a:t>to</a:t>
            </a:r>
            <a:r>
              <a:rPr lang="de-DE" baseline="0" dirty="0"/>
              <a:t> SDL/SZD</a:t>
            </a:r>
          </a:p>
          <a:p>
            <a:r>
              <a:rPr lang="de-DE" baseline="0" dirty="0"/>
              <a:t>01.10.2017: </a:t>
            </a:r>
            <a:r>
              <a:rPr lang="de-DE" baseline="0" dirty="0" err="1"/>
              <a:t>Foundation</a:t>
            </a:r>
            <a:r>
              <a:rPr lang="de-DE" baseline="0" dirty="0"/>
              <a:t> </a:t>
            </a:r>
            <a:r>
              <a:rPr lang="de-DE" baseline="0" dirty="0" err="1"/>
              <a:t>of</a:t>
            </a:r>
            <a:r>
              <a:rPr lang="de-DE" baseline="0" dirty="0"/>
              <a:t> Schwarz IT (Merger </a:t>
            </a:r>
            <a:r>
              <a:rPr lang="de-DE" baseline="0" dirty="0" err="1"/>
              <a:t>of</a:t>
            </a:r>
            <a:r>
              <a:rPr lang="de-DE" baseline="0" dirty="0"/>
              <a:t> SBIT &amp; SITIOS) </a:t>
            </a:r>
          </a:p>
          <a:p>
            <a:r>
              <a:rPr lang="de-DE" baseline="0" dirty="0"/>
              <a:t>01.09.2018: Bundling </a:t>
            </a:r>
            <a:r>
              <a:rPr lang="de-DE" baseline="0" dirty="0" err="1"/>
              <a:t>of</a:t>
            </a:r>
            <a:r>
              <a:rPr lang="de-DE" baseline="0" dirty="0"/>
              <a:t> IT-</a:t>
            </a:r>
            <a:r>
              <a:rPr lang="de-DE" baseline="0" dirty="0" err="1"/>
              <a:t>Governance</a:t>
            </a:r>
            <a:r>
              <a:rPr lang="de-DE" baseline="0" dirty="0"/>
              <a:t>-</a:t>
            </a:r>
            <a:r>
              <a:rPr lang="de-DE" baseline="0" dirty="0" err="1"/>
              <a:t>Issues</a:t>
            </a:r>
            <a:r>
              <a:rPr lang="de-DE" baseline="0" dirty="0"/>
              <a:t> (also Lidl/Kaufland) in SIT</a:t>
            </a:r>
          </a:p>
          <a:p>
            <a:r>
              <a:rPr lang="de-DE" baseline="0" dirty="0"/>
              <a:t>01.01.2019Schwarz IT GmbH &amp; Co. KG </a:t>
            </a:r>
            <a:r>
              <a:rPr lang="de-DE" baseline="0" dirty="0" err="1"/>
              <a:t>becomes</a:t>
            </a:r>
            <a:r>
              <a:rPr lang="de-DE" baseline="0" dirty="0"/>
              <a:t> Schwarz IT KG</a:t>
            </a:r>
          </a:p>
          <a:p>
            <a:r>
              <a:rPr lang="de-DE" baseline="0" dirty="0"/>
              <a:t>1.5.2020: </a:t>
            </a:r>
            <a:r>
              <a:rPr lang="de-DE" baseline="0" dirty="0" err="1"/>
              <a:t>One</a:t>
            </a:r>
            <a:r>
              <a:rPr lang="de-DE" baseline="0" dirty="0"/>
              <a:t> IT </a:t>
            </a:r>
            <a:r>
              <a:rPr lang="de-DE" baseline="0" dirty="0" err="1"/>
              <a:t>for</a:t>
            </a:r>
            <a:r>
              <a:rPr lang="de-DE" baseline="0" dirty="0"/>
              <a:t> Lidl, Kaufland, SDL/SZD</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854960B8-AC67-479A-A2D5-801105C5EF17}" type="slidenum">
              <a:rPr lang="de-DE" smtClean="0"/>
              <a:pPr/>
              <a:t>33</a:t>
            </a:fld>
            <a:endParaRPr lang="de-DE"/>
          </a:p>
        </p:txBody>
      </p:sp>
    </p:spTree>
    <p:extLst>
      <p:ext uri="{BB962C8B-B14F-4D97-AF65-F5344CB8AC3E}">
        <p14:creationId xmlns:p14="http://schemas.microsoft.com/office/powerpoint/2010/main" val="2146008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r>
              <a:rPr lang="de-DE" baseline="0" dirty="0"/>
              <a:t>01.01.2019Schwarz IT GmbH &amp; Co. KG </a:t>
            </a:r>
            <a:r>
              <a:rPr lang="de-DE" baseline="0" dirty="0" err="1"/>
              <a:t>becomes</a:t>
            </a:r>
            <a:r>
              <a:rPr lang="de-DE" baseline="0" dirty="0"/>
              <a:t> Schwarz IT KG</a:t>
            </a:r>
          </a:p>
          <a:p>
            <a:r>
              <a:rPr lang="de-DE" baseline="0" dirty="0"/>
              <a:t>1.5.2020: </a:t>
            </a:r>
            <a:r>
              <a:rPr lang="de-DE" baseline="0" dirty="0" err="1"/>
              <a:t>One</a:t>
            </a:r>
            <a:r>
              <a:rPr lang="de-DE" baseline="0" dirty="0"/>
              <a:t> IT </a:t>
            </a:r>
            <a:r>
              <a:rPr lang="de-DE" baseline="0" dirty="0" err="1"/>
              <a:t>for</a:t>
            </a:r>
            <a:r>
              <a:rPr lang="de-DE" baseline="0" dirty="0"/>
              <a:t> Lidl, Kaufland, SDL/SZD</a:t>
            </a:r>
          </a:p>
          <a:p>
            <a:pPr marL="171450" indent="-171450">
              <a:buFont typeface="Wingdings" panose="05000000000000000000" pitchFamily="2" charset="2"/>
              <a:buChar char="§"/>
            </a:pPr>
            <a:endParaRPr lang="de-DE"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854960B8-AC67-479A-A2D5-801105C5EF17}" type="slidenum">
              <a:rPr lang="de-DE" smtClean="0">
                <a:solidFill>
                  <a:prstClr val="black"/>
                </a:solidFill>
                <a:latin typeface="Calibri" panose="020F0502020204030204"/>
              </a:rPr>
              <a:pPr/>
              <a:t>34</a:t>
            </a:fld>
            <a:endParaRPr lang="de-DE">
              <a:solidFill>
                <a:prstClr val="black"/>
              </a:solidFill>
              <a:latin typeface="Calibri" panose="020F0502020204030204"/>
            </a:endParaRPr>
          </a:p>
        </p:txBody>
      </p:sp>
    </p:spTree>
    <p:extLst>
      <p:ext uri="{BB962C8B-B14F-4D97-AF65-F5344CB8AC3E}">
        <p14:creationId xmlns:p14="http://schemas.microsoft.com/office/powerpoint/2010/main" val="2595401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lang="en-US"/>
              <a:t>Already shown in the first employee event in BG</a:t>
            </a:r>
          </a:p>
          <a:p>
            <a:pPr marL="0" marR="0" lvl="0" indent="0" algn="l" defTabSz="1088502" rtl="0" eaLnBrk="1" fontAlgn="auto" latinLnBrk="0" hangingPunct="1">
              <a:lnSpc>
                <a:spcPct val="130000"/>
              </a:lnSpc>
              <a:spcBef>
                <a:spcPts val="0"/>
              </a:spcBef>
              <a:spcAft>
                <a:spcPts val="0"/>
              </a:spcAft>
              <a:buClrTx/>
              <a:buSzTx/>
              <a:buFontTx/>
              <a:buNone/>
              <a:tabLst/>
              <a:defRPr/>
            </a:pPr>
            <a:endParaRPr lang="de-DE"/>
          </a:p>
          <a:p>
            <a:pPr marL="0" marR="0" lvl="0" indent="0" algn="l" defTabSz="1088502" rtl="0" eaLnBrk="1" fontAlgn="auto" latinLnBrk="0" hangingPunct="1">
              <a:lnSpc>
                <a:spcPct val="130000"/>
              </a:lnSpc>
              <a:spcBef>
                <a:spcPts val="0"/>
              </a:spcBef>
              <a:spcAft>
                <a:spcPts val="0"/>
              </a:spcAft>
              <a:buClrTx/>
              <a:buSzTx/>
              <a:buFontTx/>
              <a:buNone/>
              <a:tabLst/>
              <a:defRPr/>
            </a:pPr>
            <a:endParaRPr lang="de-DE"/>
          </a:p>
          <a:p>
            <a:pPr marL="0" marR="0" lvl="0" indent="0" algn="l" defTabSz="1088502" rtl="0" eaLnBrk="1" fontAlgn="auto" latinLnBrk="0" hangingPunct="1">
              <a:lnSpc>
                <a:spcPct val="130000"/>
              </a:lnSpc>
              <a:spcBef>
                <a:spcPts val="0"/>
              </a:spcBef>
              <a:spcAft>
                <a:spcPts val="0"/>
              </a:spcAft>
              <a:buClrTx/>
              <a:buSzTx/>
              <a:buFontTx/>
              <a:buNone/>
              <a:tabLst/>
              <a:defRPr/>
            </a:pPr>
            <a:endParaRPr lang="de-DE"/>
          </a:p>
          <a:p>
            <a:pPr marL="0" marR="0" lvl="0" indent="0" algn="l" defTabSz="1088502" rtl="0" eaLnBrk="1" fontAlgn="auto" latinLnBrk="0" hangingPunct="1">
              <a:lnSpc>
                <a:spcPct val="130000"/>
              </a:lnSpc>
              <a:spcBef>
                <a:spcPts val="0"/>
              </a:spcBef>
              <a:spcAft>
                <a:spcPts val="0"/>
              </a:spcAft>
              <a:buClrTx/>
              <a:buSzTx/>
              <a:buFontTx/>
              <a:buNone/>
              <a:tabLst/>
              <a:defRPr/>
            </a:pPr>
            <a:r>
              <a:rPr lang="en-US"/>
              <a:t>We are the central IT service provider for the Schwarz Group. This means that we are responsible for the IT of the number four in global retail, with over 12,100 Lidl and Kaufland stores in more than 30 countries. We also provide IT support for the production facilities and our recycling company Greencycle with Prezero, who have over 30 sorting and recycling plants. In all, we take care of the IT for over 430,000 employees throughout the Group. That's who we are,</a:t>
            </a:r>
            <a:r>
              <a:rPr lang="en-US" sz="1100" b="0">
                <a:solidFill>
                  <a:schemeClr val="tx1"/>
                </a:solidFill>
                <a:latin typeface="+mn-lt"/>
                <a:ea typeface="+mn-ea"/>
                <a:cs typeface="+mn-cs"/>
              </a:rPr>
              <a:t> the employees of Schwarz IT and all the local IT units in the Schwarz Group. All together, we are ONE IT. </a:t>
            </a:r>
          </a:p>
          <a:p>
            <a:pPr rtl="0"/>
            <a:endParaRPr lang="de-DE"/>
          </a:p>
        </p:txBody>
      </p:sp>
    </p:spTree>
    <p:extLst>
      <p:ext uri="{BB962C8B-B14F-4D97-AF65-F5344CB8AC3E}">
        <p14:creationId xmlns:p14="http://schemas.microsoft.com/office/powerpoint/2010/main" val="31594677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927100"/>
            <a:ext cx="4400550" cy="24765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854960B8-AC67-479A-A2D5-801105C5EF17}" type="slidenum">
              <a:rPr lang="de-DE" smtClean="0"/>
              <a:pPr/>
              <a:t>36</a:t>
            </a:fld>
            <a:endParaRPr lang="de-DE"/>
          </a:p>
        </p:txBody>
      </p:sp>
    </p:spTree>
    <p:extLst>
      <p:ext uri="{BB962C8B-B14F-4D97-AF65-F5344CB8AC3E}">
        <p14:creationId xmlns:p14="http://schemas.microsoft.com/office/powerpoint/2010/main" val="3339399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54960B8-AC67-479A-A2D5-801105C5EF17}" type="slidenum">
              <a:rPr lang="de-DE" smtClean="0"/>
              <a:pPr/>
              <a:t>39</a:t>
            </a:fld>
            <a:endParaRPr lang="de-DE"/>
          </a:p>
        </p:txBody>
      </p:sp>
    </p:spTree>
    <p:extLst>
      <p:ext uri="{BB962C8B-B14F-4D97-AF65-F5344CB8AC3E}">
        <p14:creationId xmlns:p14="http://schemas.microsoft.com/office/powerpoint/2010/main" val="21162254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54960B8-AC67-479A-A2D5-801105C5EF17}" type="slidenum">
              <a:rPr lang="de-DE" smtClean="0"/>
              <a:pPr/>
              <a:t>41</a:t>
            </a:fld>
            <a:endParaRPr lang="de-DE"/>
          </a:p>
        </p:txBody>
      </p:sp>
    </p:spTree>
    <p:extLst>
      <p:ext uri="{BB962C8B-B14F-4D97-AF65-F5344CB8AC3E}">
        <p14:creationId xmlns:p14="http://schemas.microsoft.com/office/powerpoint/2010/main" val="25559512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431800"/>
            <a:ext cx="5110163" cy="2874963"/>
          </a:xfrm>
        </p:spPr>
      </p:sp>
      <p:sp>
        <p:nvSpPr>
          <p:cNvPr id="3" name="Notes Placeholder 2"/>
          <p:cNvSpPr>
            <a:spLocks noGrp="1"/>
          </p:cNvSpPr>
          <p:nvPr>
            <p:ph type="body" idx="1"/>
          </p:nvPr>
        </p:nvSpPr>
        <p:spPr/>
        <p:txBody>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lang="en-US" dirty="0"/>
              <a:t>We enable the business though IT solutions </a:t>
            </a:r>
            <a:endParaRPr lang="bg-BG" dirty="0"/>
          </a:p>
          <a:p>
            <a:endParaRPr lang="bg-BG" dirty="0"/>
          </a:p>
        </p:txBody>
      </p:sp>
      <p:sp>
        <p:nvSpPr>
          <p:cNvPr id="4" name="Slide Number Placeholder 3"/>
          <p:cNvSpPr>
            <a:spLocks noGrp="1"/>
          </p:cNvSpPr>
          <p:nvPr>
            <p:ph type="sldNum" sz="quarter" idx="5"/>
          </p:nvPr>
        </p:nvSpPr>
        <p:spPr/>
        <p:txBody>
          <a:bodyPr/>
          <a:lstStyle/>
          <a:p>
            <a:fld id="{854960B8-AC67-479A-A2D5-801105C5EF17}" type="slidenum">
              <a:rPr lang="de-DE" smtClean="0"/>
              <a:pPr/>
              <a:t>45</a:t>
            </a:fld>
            <a:endParaRPr lang="de-DE"/>
          </a:p>
        </p:txBody>
      </p:sp>
    </p:spTree>
    <p:extLst>
      <p:ext uri="{BB962C8B-B14F-4D97-AF65-F5344CB8AC3E}">
        <p14:creationId xmlns:p14="http://schemas.microsoft.com/office/powerpoint/2010/main" val="28824810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431800"/>
            <a:ext cx="5110163" cy="2874963"/>
          </a:xfrm>
        </p:spPr>
      </p:sp>
      <p:sp>
        <p:nvSpPr>
          <p:cNvPr id="3" name="Notes Placeholder 2"/>
          <p:cNvSpPr>
            <a:spLocks noGrp="1"/>
          </p:cNvSpPr>
          <p:nvPr>
            <p:ph type="body" idx="1"/>
          </p:nvPr>
        </p:nvSpPr>
        <p:spPr/>
        <p:txBody>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lang="en-US" dirty="0"/>
              <a:t>We enable the business though IT solutions </a:t>
            </a:r>
            <a:endParaRPr lang="bg-BG" dirty="0"/>
          </a:p>
          <a:p>
            <a:pPr marL="0" marR="0" lvl="0" indent="0" algn="l" defTabSz="1088502" rtl="0" eaLnBrk="1" fontAlgn="auto" latinLnBrk="0" hangingPunct="1">
              <a:lnSpc>
                <a:spcPct val="130000"/>
              </a:lnSpc>
              <a:spcBef>
                <a:spcPts val="0"/>
              </a:spcBef>
              <a:spcAft>
                <a:spcPts val="0"/>
              </a:spcAft>
              <a:buClrTx/>
              <a:buSzTx/>
              <a:buFontTx/>
              <a:buNone/>
              <a:tabLst/>
              <a:defRPr/>
            </a:pPr>
            <a:endParaRPr lang="bg-BG" dirty="0"/>
          </a:p>
          <a:p>
            <a:endParaRPr lang="bg-BG" dirty="0"/>
          </a:p>
        </p:txBody>
      </p:sp>
      <p:sp>
        <p:nvSpPr>
          <p:cNvPr id="4" name="Slide Number Placeholder 3"/>
          <p:cNvSpPr>
            <a:spLocks noGrp="1"/>
          </p:cNvSpPr>
          <p:nvPr>
            <p:ph type="sldNum" sz="quarter" idx="5"/>
          </p:nvPr>
        </p:nvSpPr>
        <p:spPr/>
        <p:txBody>
          <a:bodyPr/>
          <a:lstStyle/>
          <a:p>
            <a:fld id="{854960B8-AC67-479A-A2D5-801105C5EF17}" type="slidenum">
              <a:rPr lang="de-DE" smtClean="0"/>
              <a:pPr/>
              <a:t>46</a:t>
            </a:fld>
            <a:endParaRPr lang="de-DE"/>
          </a:p>
        </p:txBody>
      </p:sp>
    </p:spTree>
    <p:extLst>
      <p:ext uri="{BB962C8B-B14F-4D97-AF65-F5344CB8AC3E}">
        <p14:creationId xmlns:p14="http://schemas.microsoft.com/office/powerpoint/2010/main" val="4485678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54960B8-AC67-479A-A2D5-801105C5EF17}" type="slidenum">
              <a:rPr lang="de-DE" smtClean="0"/>
              <a:pPr/>
              <a:t>49</a:t>
            </a:fld>
            <a:endParaRPr lang="de-DE"/>
          </a:p>
        </p:txBody>
      </p:sp>
    </p:spTree>
    <p:extLst>
      <p:ext uri="{BB962C8B-B14F-4D97-AF65-F5344CB8AC3E}">
        <p14:creationId xmlns:p14="http://schemas.microsoft.com/office/powerpoint/2010/main" val="4118268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6726243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54960B8-AC67-479A-A2D5-801105C5EF17}" type="slidenum">
              <a:rPr lang="de-DE" smtClean="0"/>
              <a:pPr/>
              <a:t>11</a:t>
            </a:fld>
            <a:endParaRPr lang="de-DE"/>
          </a:p>
        </p:txBody>
      </p:sp>
    </p:spTree>
    <p:extLst>
      <p:ext uri="{BB962C8B-B14F-4D97-AF65-F5344CB8AC3E}">
        <p14:creationId xmlns:p14="http://schemas.microsoft.com/office/powerpoint/2010/main" val="2933532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54960B8-AC67-479A-A2D5-801105C5EF17}" type="slidenum">
              <a:rPr lang="de-DE" smtClean="0"/>
              <a:pPr/>
              <a:t>12</a:t>
            </a:fld>
            <a:endParaRPr lang="de-DE"/>
          </a:p>
        </p:txBody>
      </p:sp>
    </p:spTree>
    <p:extLst>
      <p:ext uri="{BB962C8B-B14F-4D97-AF65-F5344CB8AC3E}">
        <p14:creationId xmlns:p14="http://schemas.microsoft.com/office/powerpoint/2010/main" val="2995686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54960B8-AC67-479A-A2D5-801105C5EF17}" type="slidenum">
              <a:rPr lang="de-DE" smtClean="0"/>
              <a:pPr/>
              <a:t>13</a:t>
            </a:fld>
            <a:endParaRPr lang="de-DE"/>
          </a:p>
        </p:txBody>
      </p:sp>
    </p:spTree>
    <p:extLst>
      <p:ext uri="{BB962C8B-B14F-4D97-AF65-F5344CB8AC3E}">
        <p14:creationId xmlns:p14="http://schemas.microsoft.com/office/powerpoint/2010/main" val="10906141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54960B8-AC67-479A-A2D5-801105C5EF17}" type="slidenum">
              <a:rPr lang="de-DE" smtClean="0"/>
              <a:pPr/>
              <a:t>14</a:t>
            </a:fld>
            <a:endParaRPr lang="de-DE"/>
          </a:p>
        </p:txBody>
      </p:sp>
    </p:spTree>
    <p:extLst>
      <p:ext uri="{BB962C8B-B14F-4D97-AF65-F5344CB8AC3E}">
        <p14:creationId xmlns:p14="http://schemas.microsoft.com/office/powerpoint/2010/main" val="18312992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8.xml"/><Relationship Id="rId5" Type="http://schemas.openxmlformats.org/officeDocument/2006/relationships/image" Target="../media/image4.png"/><Relationship Id="rId4" Type="http://schemas.openxmlformats.org/officeDocument/2006/relationships/image" Target="../media/image11.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4.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2.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3.jpeg"/><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3.jpeg"/><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4.png"/><Relationship Id="rId4" Type="http://schemas.openxmlformats.org/officeDocument/2006/relationships/image" Target="../media/image11.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4.png"/><Relationship Id="rId4" Type="http://schemas.openxmlformats.org/officeDocument/2006/relationships/image" Target="../media/image11.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4.png"/><Relationship Id="rId4" Type="http://schemas.openxmlformats.org/officeDocument/2006/relationships/image" Target="../media/image11.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30.emf"/><Relationship Id="rId4" Type="http://schemas.openxmlformats.org/officeDocument/2006/relationships/oleObject" Target="../embeddings/oleObject10.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8.xml"/><Relationship Id="rId5" Type="http://schemas.openxmlformats.org/officeDocument/2006/relationships/image" Target="../media/image4.png"/><Relationship Id="rId4" Type="http://schemas.openxmlformats.org/officeDocument/2006/relationships/image" Target="../media/image11.png"/></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27" name="Hintergrun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8" y="787"/>
            <a:ext cx="12188977" cy="6858014"/>
          </a:xfrm>
          <a:prstGeom prst="rect">
            <a:avLst/>
          </a:prstGeom>
        </p:spPr>
      </p:pic>
      <p:sp>
        <p:nvSpPr>
          <p:cNvPr id="19" name="Lila Box"/>
          <p:cNvSpPr/>
          <p:nvPr userDrawn="1"/>
        </p:nvSpPr>
        <p:spPr bwMode="gray">
          <a:xfrm>
            <a:off x="862013" y="2949253"/>
            <a:ext cx="11182350" cy="3048839"/>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27"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mn-ea"/>
                <a:cs typeface="+mn-cs"/>
              </a:rPr>
              <a:t> </a:t>
            </a:r>
          </a:p>
        </p:txBody>
      </p:sp>
      <p:sp>
        <p:nvSpPr>
          <p:cNvPr id="20" name="Logo-Box"/>
          <p:cNvSpPr/>
          <p:nvPr userDrawn="1"/>
        </p:nvSpPr>
        <p:spPr bwMode="gray">
          <a:xfrm>
            <a:off x="862013" y="142875"/>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27"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3" name="Untertitel 2"/>
          <p:cNvSpPr>
            <a:spLocks noGrp="1"/>
          </p:cNvSpPr>
          <p:nvPr userDrawn="1">
            <p:ph type="subTitle" idx="1"/>
          </p:nvPr>
        </p:nvSpPr>
        <p:spPr bwMode="gray">
          <a:xfrm>
            <a:off x="1062038" y="3323849"/>
            <a:ext cx="10332242" cy="2299646"/>
          </a:xfrm>
        </p:spPr>
        <p:txBody>
          <a:bodyPr anchor="ctr"/>
          <a:lstStyle>
            <a:lvl1pPr marL="0" indent="0" algn="l">
              <a:lnSpc>
                <a:spcPct val="90000"/>
              </a:lnSpc>
              <a:spcAft>
                <a:spcPts val="1500"/>
              </a:spcAft>
              <a:buNone/>
              <a:defRPr sz="5001"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Formatvorlage des Untertitelmasters durch Klicken bearbeiten</a:t>
            </a:r>
          </a:p>
        </p:txBody>
      </p:sp>
      <p:sp>
        <p:nvSpPr>
          <p:cNvPr id="2" name="Fußzeilenplatzhalter 1"/>
          <p:cNvSpPr>
            <a:spLocks noGrp="1"/>
          </p:cNvSpPr>
          <p:nvPr>
            <p:ph type="ftr" sz="quarter" idx="10"/>
          </p:nvPr>
        </p:nvSpPr>
        <p:spPr/>
        <p:txBody>
          <a:bodyPr/>
          <a:lstStyle/>
          <a:p>
            <a:r>
              <a:rPr lang="de-DE"/>
              <a:t>Schwarz Group // Corporate Presentation //</a:t>
            </a:r>
          </a:p>
        </p:txBody>
      </p:sp>
      <p:pic>
        <p:nvPicPr>
          <p:cNvPr id="5" name="Grafik 4">
            <a:extLst>
              <a:ext uri="{FF2B5EF4-FFF2-40B4-BE49-F238E27FC236}">
                <a16:creationId xmlns:a16="http://schemas.microsoft.com/office/drawing/2014/main" id="{B9E98DC2-9676-452E-889C-4D695DA81729}"/>
              </a:ext>
            </a:extLst>
          </p:cNvPr>
          <p:cNvPicPr>
            <a:picLocks noChangeAspect="1"/>
          </p:cNvPicPr>
          <p:nvPr userDrawn="1"/>
        </p:nvPicPr>
        <p:blipFill>
          <a:blip r:embed="rId3"/>
          <a:stretch>
            <a:fillRect/>
          </a:stretch>
        </p:blipFill>
        <p:spPr>
          <a:xfrm>
            <a:off x="862013" y="510718"/>
            <a:ext cx="1944680" cy="1576839"/>
          </a:xfrm>
          <a:prstGeom prst="rect">
            <a:avLst/>
          </a:prstGeom>
        </p:spPr>
      </p:pic>
    </p:spTree>
    <p:extLst>
      <p:ext uri="{BB962C8B-B14F-4D97-AF65-F5344CB8AC3E}">
        <p14:creationId xmlns:p14="http://schemas.microsoft.com/office/powerpoint/2010/main" val="3140045875"/>
      </p:ext>
    </p:extLst>
  </p:cSld>
  <p:clrMapOvr>
    <a:masterClrMapping/>
  </p:clrMapOvr>
  <p:transition>
    <p:fade/>
  </p:transition>
  <p:extLst>
    <p:ext uri="{DCECCB84-F9BA-43D5-87BE-67443E8EF086}">
      <p15:sldGuideLst xmlns:p15="http://schemas.microsoft.com/office/powerpoint/2012/main">
        <p15:guide id="1" pos="543" userDrawn="1">
          <p15:clr>
            <a:srgbClr val="FBAE40"/>
          </p15:clr>
        </p15:guide>
        <p15:guide id="2" pos="669" userDrawn="1">
          <p15:clr>
            <a:srgbClr val="FBAE40"/>
          </p15:clr>
        </p15:guide>
        <p15:guide id="3" orient="horz" pos="377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ext (2,w)">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6000" y="396000"/>
            <a:ext cx="9718676" cy="503050"/>
          </a:xfrm>
        </p:spPr>
        <p:txBody>
          <a:bodyPr/>
          <a:lstStyle>
            <a:lvl1pPr>
              <a:defRPr/>
            </a:lvl1pPr>
          </a:lstStyle>
          <a:p>
            <a:r>
              <a:rPr lang="de-DE"/>
              <a:t>Mastertitelformat bearbeiten</a:t>
            </a:r>
          </a:p>
        </p:txBody>
      </p:sp>
      <p:sp>
        <p:nvSpPr>
          <p:cNvPr id="9" name="Textplatzhalter 8"/>
          <p:cNvSpPr>
            <a:spLocks noGrp="1"/>
          </p:cNvSpPr>
          <p:nvPr>
            <p:ph type="body" sz="quarter" idx="13"/>
          </p:nvPr>
        </p:nvSpPr>
        <p:spPr bwMode="gray">
          <a:xfrm>
            <a:off x="407196" y="1738313"/>
            <a:ext cx="5544000" cy="4320000"/>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738313"/>
            <a:ext cx="5545628" cy="4320000"/>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Untertitel 2"/>
          <p:cNvSpPr>
            <a:spLocks noGrp="1"/>
          </p:cNvSpPr>
          <p:nvPr>
            <p:ph type="subTitle" idx="1"/>
          </p:nvPr>
        </p:nvSpPr>
        <p:spPr bwMode="gray">
          <a:xfrm>
            <a:off x="409577" y="871200"/>
            <a:ext cx="9713238" cy="426662"/>
          </a:xfrm>
        </p:spPr>
        <p:txBody>
          <a:bodyPr/>
          <a:lstStyle>
            <a:lvl1pPr marL="0" indent="0" algn="l">
              <a:lnSpc>
                <a:spcPct val="120000"/>
              </a:lnSpc>
              <a:buNone/>
              <a:defRPr sz="1800" b="1">
                <a:solidFill>
                  <a:schemeClr val="accent1"/>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p>
        </p:txBody>
      </p:sp>
      <p:sp>
        <p:nvSpPr>
          <p:cNvPr id="3" name="Datumsplatzhalter 2"/>
          <p:cNvSpPr>
            <a:spLocks noGrp="1"/>
          </p:cNvSpPr>
          <p:nvPr>
            <p:ph type="dt" sz="half" idx="15"/>
          </p:nvPr>
        </p:nvSpPr>
        <p:spPr/>
        <p:txBody>
          <a:bodyPr/>
          <a:lstStyle/>
          <a:p>
            <a:endParaRPr lang="de-DE"/>
          </a:p>
        </p:txBody>
      </p:sp>
      <p:sp>
        <p:nvSpPr>
          <p:cNvPr id="7" name="Fußzeilenplatzhalter 6"/>
          <p:cNvSpPr>
            <a:spLocks noGrp="1"/>
          </p:cNvSpPr>
          <p:nvPr>
            <p:ph type="ftr" sz="quarter" idx="16"/>
          </p:nvPr>
        </p:nvSpPr>
        <p:spPr/>
        <p:txBody>
          <a:bodyPr/>
          <a:lstStyle/>
          <a:p>
            <a:r>
              <a:rPr lang="de-DE"/>
              <a:t>Schwarz Group // Corporate Presentation //</a:t>
            </a:r>
          </a:p>
        </p:txBody>
      </p:sp>
      <p:sp>
        <p:nvSpPr>
          <p:cNvPr id="8" name="Foliennummernplatzhalter 7"/>
          <p:cNvSpPr>
            <a:spLocks noGrp="1"/>
          </p:cNvSpPr>
          <p:nvPr>
            <p:ph type="sldNum" sz="quarter" idx="17"/>
          </p:nvPr>
        </p:nvSpPr>
        <p:spPr/>
        <p:txBody>
          <a:bodyPr/>
          <a:lstStyle/>
          <a:p>
            <a:fld id="{0C7C1E0B-BD27-42F8-BC6B-2F0636970842}" type="slidenum">
              <a:rPr lang="de-DE" smtClean="0"/>
              <a:pPr/>
              <a:t>‹#›</a:t>
            </a:fld>
            <a:endParaRPr lang="de-DE"/>
          </a:p>
        </p:txBody>
      </p:sp>
      <p:sp>
        <p:nvSpPr>
          <p:cNvPr id="15" name="Rechteck 14"/>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4" name="Gruppieren 23"/>
          <p:cNvGrpSpPr/>
          <p:nvPr userDrawn="1"/>
        </p:nvGrpSpPr>
        <p:grpSpPr bwMode="gray">
          <a:xfrm>
            <a:off x="-3089741" y="1815282"/>
            <a:ext cx="2694276" cy="2769440"/>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9" name="Textplatzhalter 9">
            <a:extLst>
              <a:ext uri="{FF2B5EF4-FFF2-40B4-BE49-F238E27FC236}">
                <a16:creationId xmlns:a16="http://schemas.microsoft.com/office/drawing/2014/main" id="{3B29881D-A30F-C04D-92E8-7CA1B0EF9389}"/>
              </a:ext>
            </a:extLst>
          </p:cNvPr>
          <p:cNvSpPr>
            <a:spLocks noGrp="1"/>
          </p:cNvSpPr>
          <p:nvPr>
            <p:ph type="body" sz="quarter" idx="19"/>
          </p:nvPr>
        </p:nvSpPr>
        <p:spPr>
          <a:xfrm>
            <a:off x="10851286" y="340000"/>
            <a:ext cx="986454" cy="986454"/>
          </a:xfrm>
          <a:blipFill>
            <a:blip r:embed="rId4"/>
            <a:stretch>
              <a:fillRect/>
            </a:stretch>
          </a:blipFill>
        </p:spPr>
        <p:txBody>
          <a:bodyPr/>
          <a:lstStyle>
            <a:lvl1pPr>
              <a:lnSpc>
                <a:spcPts val="0"/>
              </a:lnSpc>
              <a:spcAft>
                <a:spcPts val="0"/>
              </a:spcAft>
              <a:defRPr sz="100">
                <a:solidFill>
                  <a:schemeClr val="accent1"/>
                </a:solidFill>
              </a:defRPr>
            </a:lvl1pPr>
          </a:lstStyle>
          <a:p>
            <a:pPr lvl="0"/>
            <a:r>
              <a:rPr lang="de-DE"/>
              <a:t>Mastertextformat bearbeiten</a:t>
            </a:r>
          </a:p>
        </p:txBody>
      </p:sp>
    </p:spTree>
    <p:extLst>
      <p:ext uri="{BB962C8B-B14F-4D97-AF65-F5344CB8AC3E}">
        <p14:creationId xmlns:p14="http://schemas.microsoft.com/office/powerpoint/2010/main" val="376047382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3" name="Datumsplatzhalter 2"/>
          <p:cNvSpPr>
            <a:spLocks noGrp="1"/>
          </p:cNvSpPr>
          <p:nvPr>
            <p:ph type="dt" sz="half" idx="10"/>
          </p:nvPr>
        </p:nvSpPr>
        <p:spPr bwMode="gray"/>
        <p:txBody>
          <a:bodyPr/>
          <a:lstStyle/>
          <a:p>
            <a:endParaRPr lang="de-DE"/>
          </a:p>
        </p:txBody>
      </p:sp>
      <p:sp>
        <p:nvSpPr>
          <p:cNvPr id="4" name="Fußzeilenplatzhalter 3"/>
          <p:cNvSpPr>
            <a:spLocks noGrp="1"/>
          </p:cNvSpPr>
          <p:nvPr>
            <p:ph type="ftr" sz="quarter" idx="11"/>
          </p:nvPr>
        </p:nvSpPr>
        <p:spPr bwMode="gray"/>
        <p:txBody>
          <a:bodyPr/>
          <a:lstStyle/>
          <a:p>
            <a:r>
              <a:rPr lang="de-DE"/>
              <a:t>Schwarz Group // Corporate Presentation //</a:t>
            </a:r>
          </a:p>
        </p:txBody>
      </p:sp>
      <p:sp>
        <p:nvSpPr>
          <p:cNvPr id="5" name="Foliennummernplatzhalter 4"/>
          <p:cNvSpPr>
            <a:spLocks noGrp="1"/>
          </p:cNvSpPr>
          <p:nvPr>
            <p:ph type="sldNum" sz="quarter" idx="12"/>
          </p:nvPr>
        </p:nvSpPr>
        <p:spPr bwMode="gray"/>
        <p:txBody>
          <a:bodyPr/>
          <a:lstStyle/>
          <a:p>
            <a:fld id="{0C7C1E0B-BD27-42F8-BC6B-2F0636970842}" type="slidenum">
              <a:rPr lang="de-DE" smtClean="0"/>
              <a:pPr/>
              <a:t>‹#›</a:t>
            </a:fld>
            <a:endParaRPr lang="de-DE"/>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0"/>
            <a:ext cx="12190413" cy="6866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3996" y="2795597"/>
            <a:ext cx="10233999" cy="3067050"/>
          </a:xfrm>
        </p:spPr>
        <p:txBody>
          <a:bodyPr/>
          <a:lstStyle>
            <a:lvl1pPr marL="0" indent="0">
              <a:lnSpc>
                <a:spcPct val="100000"/>
              </a:lnSpc>
              <a:buFontTx/>
              <a:buNone/>
              <a:defRPr sz="3200" b="1">
                <a:solidFill>
                  <a:srgbClr val="965AA0"/>
                </a:solidFill>
              </a:defRPr>
            </a:lvl1pPr>
            <a:lvl2pPr marL="0" indent="0">
              <a:lnSpc>
                <a:spcPct val="100000"/>
              </a:lnSpc>
              <a:buFontTx/>
              <a:buNone/>
              <a:defRPr sz="3200" b="1">
                <a:solidFill>
                  <a:srgbClr val="965AA0"/>
                </a:solidFill>
              </a:defRPr>
            </a:lvl2pPr>
            <a:lvl3pPr marL="0" indent="0">
              <a:lnSpc>
                <a:spcPct val="100000"/>
              </a:lnSpc>
              <a:buFontTx/>
              <a:buNone/>
              <a:defRPr sz="3200" b="1">
                <a:solidFill>
                  <a:srgbClr val="965AA0"/>
                </a:solidFill>
              </a:defRPr>
            </a:lvl3pPr>
            <a:lvl4pPr marL="0" indent="0">
              <a:lnSpc>
                <a:spcPct val="100000"/>
              </a:lnSpc>
              <a:buFontTx/>
              <a:buNone/>
              <a:defRPr sz="3200" b="1">
                <a:solidFill>
                  <a:srgbClr val="965AA0"/>
                </a:solidFill>
              </a:defRPr>
            </a:lvl4pPr>
            <a:lvl5pPr marL="0" indent="0">
              <a:lnSpc>
                <a:spcPct val="100000"/>
              </a:lnSpc>
              <a:buFontTx/>
              <a:buNone/>
              <a:defRPr sz="3200" b="1">
                <a:solidFill>
                  <a:srgbClr val="965AA0"/>
                </a:solidFill>
              </a:defRPr>
            </a:lvl5pPr>
            <a:lvl6pPr marL="0" indent="0">
              <a:lnSpc>
                <a:spcPct val="100000"/>
              </a:lnSpc>
              <a:buFontTx/>
              <a:buNone/>
              <a:defRPr sz="3200" b="1">
                <a:solidFill>
                  <a:srgbClr val="965AA0"/>
                </a:solidFill>
              </a:defRPr>
            </a:lvl6pPr>
            <a:lvl7pPr marL="0" indent="0">
              <a:lnSpc>
                <a:spcPct val="100000"/>
              </a:lnSpc>
              <a:buFontTx/>
              <a:buNone/>
              <a:defRPr sz="3200" b="1">
                <a:solidFill>
                  <a:srgbClr val="965AA0"/>
                </a:solidFill>
              </a:defRPr>
            </a:lvl7pPr>
            <a:lvl8pPr marL="0" indent="0">
              <a:lnSpc>
                <a:spcPct val="100000"/>
              </a:lnSpc>
              <a:buFontTx/>
              <a:buNone/>
              <a:defRPr sz="3200" b="1">
                <a:solidFill>
                  <a:srgbClr val="965AA0"/>
                </a:solidFill>
              </a:defRPr>
            </a:lvl8pPr>
            <a:lvl9pPr marL="0" indent="0">
              <a:lnSpc>
                <a:spcPct val="100000"/>
              </a:lnSpc>
              <a:buFontTx/>
              <a:buNone/>
              <a:defRPr sz="3200" b="1">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feld 9"/>
          <p:cNvSpPr txBox="1"/>
          <p:nvPr userDrawn="1"/>
        </p:nvSpPr>
        <p:spPr>
          <a:xfrm>
            <a:off x="1508845" y="1417993"/>
            <a:ext cx="3951178" cy="1075423"/>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kumimoji="0" lang="de-DE" sz="6000" b="1" i="0" u="none" strike="noStrike" kern="1200" cap="all" spc="0" normalizeH="0" baseline="0" noProof="0">
                <a:ln>
                  <a:noFill/>
                </a:ln>
                <a:solidFill>
                  <a:schemeClr val="accent1"/>
                </a:solidFill>
                <a:effectLst/>
                <a:uLnTx/>
                <a:uFillTx/>
                <a:latin typeface="+mn-lt"/>
                <a:ea typeface="+mn-ea"/>
                <a:cs typeface="+mn-cs"/>
              </a:rPr>
              <a:t>Agenda</a:t>
            </a:r>
          </a:p>
        </p:txBody>
      </p:sp>
      <p:sp>
        <p:nvSpPr>
          <p:cNvPr id="11" name="Rechteck 10"/>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spTree>
    <p:extLst>
      <p:ext uri="{BB962C8B-B14F-4D97-AF65-F5344CB8AC3E}">
        <p14:creationId xmlns:p14="http://schemas.microsoft.com/office/powerpoint/2010/main" val="293973973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0"/>
          </p:nvPr>
        </p:nvSpPr>
        <p:spPr/>
        <p:txBody>
          <a:bodyPr/>
          <a:lstStyle/>
          <a:p>
            <a:endParaRPr lang="de-DE"/>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9" name="Textplatzhalter 8"/>
          <p:cNvSpPr>
            <a:spLocks noGrp="1"/>
          </p:cNvSpPr>
          <p:nvPr>
            <p:ph type="body" sz="quarter" idx="13"/>
          </p:nvPr>
        </p:nvSpPr>
        <p:spPr bwMode="gray">
          <a:xfrm>
            <a:off x="407195" y="1326454"/>
            <a:ext cx="11350799"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67075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7"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pPr/>
              <a:t>‹#›</a:t>
            </a:fld>
            <a:endParaRPr lang="de-DE"/>
          </a:p>
        </p:txBody>
      </p:sp>
      <p:sp>
        <p:nvSpPr>
          <p:cNvPr id="8" name="Textplatzhalter 8"/>
          <p:cNvSpPr>
            <a:spLocks noGrp="1"/>
          </p:cNvSpPr>
          <p:nvPr>
            <p:ph type="body" sz="quarter" idx="13"/>
          </p:nvPr>
        </p:nvSpPr>
        <p:spPr bwMode="gray">
          <a:xfrm>
            <a:off x="407195" y="1326454"/>
            <a:ext cx="11350799"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6693053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9" name="Textplatzhalter 8"/>
          <p:cNvSpPr>
            <a:spLocks noGrp="1"/>
          </p:cNvSpPr>
          <p:nvPr>
            <p:ph type="body" sz="quarter" idx="13"/>
          </p:nvPr>
        </p:nvSpPr>
        <p:spPr bwMode="gray">
          <a:xfrm>
            <a:off x="407196" y="1326454"/>
            <a:ext cx="5471986"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326454"/>
            <a:ext cx="5471986"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5"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3" name="Datumsplatzhalter 12"/>
          <p:cNvSpPr>
            <a:spLocks noGrp="1"/>
          </p:cNvSpPr>
          <p:nvPr>
            <p:ph type="dt" sz="half" idx="15"/>
          </p:nvPr>
        </p:nvSpPr>
        <p:spPr/>
        <p:txBody>
          <a:bodyPr/>
          <a:lstStyle/>
          <a:p>
            <a:endParaRPr lang="de-DE"/>
          </a:p>
        </p:txBody>
      </p:sp>
      <p:sp>
        <p:nvSpPr>
          <p:cNvPr id="23" name="Fußzeilenplatzhalter 22"/>
          <p:cNvSpPr>
            <a:spLocks noGrp="1"/>
          </p:cNvSpPr>
          <p:nvPr>
            <p:ph type="ftr" sz="quarter" idx="16"/>
          </p:nvPr>
        </p:nvSpPr>
        <p:spPr/>
        <p:txBody>
          <a:bodyPr/>
          <a:lstStyle/>
          <a:p>
            <a:r>
              <a:rPr lang="de-DE"/>
              <a:t>Schwarz Group // Corporate Presentation //</a:t>
            </a:r>
          </a:p>
        </p:txBody>
      </p:sp>
      <p:sp>
        <p:nvSpPr>
          <p:cNvPr id="24" name="Foliennummernplatzhalter 23"/>
          <p:cNvSpPr>
            <a:spLocks noGrp="1"/>
          </p:cNvSpPr>
          <p:nvPr>
            <p:ph type="sldNum" sz="quarter" idx="17"/>
          </p:nvPr>
        </p:nvSpPr>
        <p:spPr/>
        <p:txBody>
          <a:bodyPr/>
          <a:lstStyle/>
          <a:p>
            <a:fld id="{0C7C1E0B-BD27-42F8-BC6B-2F0636970842}" type="slidenum">
              <a:rPr lang="de-DE" smtClean="0"/>
              <a:pPr/>
              <a:t>‹#›</a:t>
            </a:fld>
            <a:endParaRPr lang="de-DE"/>
          </a:p>
        </p:txBody>
      </p:sp>
      <p:sp>
        <p:nvSpPr>
          <p:cNvPr id="16" name="Rechteck 15"/>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19" name="Gruppieren 18"/>
          <p:cNvGrpSpPr/>
          <p:nvPr userDrawn="1"/>
        </p:nvGrpSpPr>
        <p:grpSpPr bwMode="gray">
          <a:xfrm>
            <a:off x="-3089741" y="1815282"/>
            <a:ext cx="2694276" cy="2769440"/>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66956954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9" name="Textplatzhalter 8"/>
          <p:cNvSpPr>
            <a:spLocks noGrp="1"/>
          </p:cNvSpPr>
          <p:nvPr>
            <p:ph type="body" sz="quarter" idx="13"/>
          </p:nvPr>
        </p:nvSpPr>
        <p:spPr bwMode="gray">
          <a:xfrm>
            <a:off x="407196"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5"/>
          </p:nvPr>
        </p:nvSpPr>
        <p:spPr/>
        <p:txBody>
          <a:bodyPr/>
          <a:lstStyle/>
          <a:p>
            <a:endParaRPr lang="de-DE"/>
          </a:p>
        </p:txBody>
      </p:sp>
      <p:sp>
        <p:nvSpPr>
          <p:cNvPr id="7" name="Fußzeilenplatzhalter 6"/>
          <p:cNvSpPr>
            <a:spLocks noGrp="1"/>
          </p:cNvSpPr>
          <p:nvPr>
            <p:ph type="ftr" sz="quarter" idx="16"/>
          </p:nvPr>
        </p:nvSpPr>
        <p:spPr/>
        <p:txBody>
          <a:bodyPr/>
          <a:lstStyle/>
          <a:p>
            <a:r>
              <a:rPr lang="de-DE"/>
              <a:t>Schwarz Group // Corporate Presentation //</a:t>
            </a:r>
          </a:p>
        </p:txBody>
      </p:sp>
      <p:sp>
        <p:nvSpPr>
          <p:cNvPr id="8" name="Foliennummernplatzhalter 7"/>
          <p:cNvSpPr>
            <a:spLocks noGrp="1"/>
          </p:cNvSpPr>
          <p:nvPr>
            <p:ph type="sldNum" sz="quarter" idx="17"/>
          </p:nvPr>
        </p:nvSpPr>
        <p:spPr/>
        <p:txBody>
          <a:bodyPr/>
          <a:lstStyle/>
          <a:p>
            <a:fld id="{0C7C1E0B-BD27-42F8-BC6B-2F0636970842}" type="slidenum">
              <a:rPr lang="de-DE" smtClean="0"/>
              <a:pPr/>
              <a:t>‹#›</a:t>
            </a:fld>
            <a:endParaRPr lang="de-DE"/>
          </a:p>
        </p:txBody>
      </p:sp>
      <p:sp>
        <p:nvSpPr>
          <p:cNvPr id="15" name="Rechteck 14"/>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4" name="Gruppieren 23"/>
          <p:cNvGrpSpPr/>
          <p:nvPr userDrawn="1"/>
        </p:nvGrpSpPr>
        <p:grpSpPr bwMode="gray">
          <a:xfrm>
            <a:off x="-3089741" y="1815282"/>
            <a:ext cx="2694276" cy="2769440"/>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40136953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12" name="Textplatzhalter 8"/>
          <p:cNvSpPr>
            <a:spLocks noGrp="1"/>
          </p:cNvSpPr>
          <p:nvPr>
            <p:ph type="body" sz="quarter" idx="14"/>
          </p:nvPr>
        </p:nvSpPr>
        <p:spPr bwMode="gray">
          <a:xfrm>
            <a:off x="6284237" y="1326454"/>
            <a:ext cx="5473759" cy="492001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5"/>
          </p:nvPr>
        </p:nvSpPr>
        <p:spPr bwMode="gray">
          <a:xfrm>
            <a:off x="426244" y="1427957"/>
            <a:ext cx="5452938" cy="4817100"/>
          </a:xfrm>
        </p:spPr>
        <p:txBody>
          <a:bodyPr/>
          <a:lstStyle/>
          <a:p>
            <a:endParaRPr lang="de-DE"/>
          </a:p>
        </p:txBody>
      </p:sp>
      <p:sp>
        <p:nvSpPr>
          <p:cNvPr id="19"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6"/>
          </p:nvPr>
        </p:nvSpPr>
        <p:spPr/>
        <p:txBody>
          <a:bodyPr/>
          <a:lstStyle/>
          <a:p>
            <a:endParaRPr lang="de-DE"/>
          </a:p>
        </p:txBody>
      </p:sp>
      <p:sp>
        <p:nvSpPr>
          <p:cNvPr id="9" name="Fußzeilenplatzhalter 8"/>
          <p:cNvSpPr>
            <a:spLocks noGrp="1"/>
          </p:cNvSpPr>
          <p:nvPr>
            <p:ph type="ftr" sz="quarter" idx="17"/>
          </p:nvPr>
        </p:nvSpPr>
        <p:spPr/>
        <p:txBody>
          <a:bodyPr/>
          <a:lstStyle/>
          <a:p>
            <a:r>
              <a:rPr lang="de-DE"/>
              <a:t>Schwarz Group // Corporate Presentation //</a:t>
            </a:r>
          </a:p>
        </p:txBody>
      </p:sp>
      <p:sp>
        <p:nvSpPr>
          <p:cNvPr id="29" name="Foliennummernplatzhalter 28"/>
          <p:cNvSpPr>
            <a:spLocks noGrp="1"/>
          </p:cNvSpPr>
          <p:nvPr>
            <p:ph type="sldNum" sz="quarter" idx="18"/>
          </p:nvPr>
        </p:nvSpPr>
        <p:spPr/>
        <p:txBody>
          <a:bodyPr/>
          <a:lstStyle/>
          <a:p>
            <a:fld id="{0C7C1E0B-BD27-42F8-BC6B-2F0636970842}" type="slidenum">
              <a:rPr lang="de-DE" smtClean="0"/>
              <a:pPr/>
              <a:t>‹#›</a:t>
            </a:fld>
            <a:endParaRPr lang="de-DE"/>
          </a:p>
        </p:txBody>
      </p:sp>
      <p:sp>
        <p:nvSpPr>
          <p:cNvPr id="20" name="Rechteck 19"/>
          <p:cNvSpPr/>
          <p:nvPr userDrawn="1"/>
        </p:nvSpPr>
        <p:spPr bwMode="gray">
          <a:xfrm>
            <a:off x="-3089741"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1" name="Gruppieren 20"/>
          <p:cNvGrpSpPr/>
          <p:nvPr userDrawn="1"/>
        </p:nvGrpSpPr>
        <p:grpSpPr bwMode="gray">
          <a:xfrm>
            <a:off x="-3089741" y="0"/>
            <a:ext cx="2694276" cy="4153020"/>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5483305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12" name="Textplatzhalter 8"/>
          <p:cNvSpPr>
            <a:spLocks noGrp="1"/>
          </p:cNvSpPr>
          <p:nvPr>
            <p:ph type="body" sz="quarter" idx="14"/>
          </p:nvPr>
        </p:nvSpPr>
        <p:spPr bwMode="gray">
          <a:xfrm>
            <a:off x="6284237" y="1326454"/>
            <a:ext cx="5473759"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5"/>
          </p:nvPr>
        </p:nvSpPr>
        <p:spPr bwMode="gray">
          <a:xfrm>
            <a:off x="426244" y="1427957"/>
            <a:ext cx="5452938" cy="4818522"/>
          </a:xfrm>
        </p:spPr>
        <p:txBody>
          <a:bodyPr/>
          <a:lstStyle/>
          <a:p>
            <a:endParaRPr lang="de-DE"/>
          </a:p>
        </p:txBody>
      </p:sp>
      <p:sp>
        <p:nvSpPr>
          <p:cNvPr id="1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6"/>
          </p:nvPr>
        </p:nvSpPr>
        <p:spPr/>
        <p:txBody>
          <a:bodyPr/>
          <a:lstStyle/>
          <a:p>
            <a:endParaRPr lang="de-DE"/>
          </a:p>
        </p:txBody>
      </p:sp>
      <p:sp>
        <p:nvSpPr>
          <p:cNvPr id="7" name="Fußzeilenplatzhalter 6"/>
          <p:cNvSpPr>
            <a:spLocks noGrp="1"/>
          </p:cNvSpPr>
          <p:nvPr>
            <p:ph type="ftr" sz="quarter" idx="17"/>
          </p:nvPr>
        </p:nvSpPr>
        <p:spPr/>
        <p:txBody>
          <a:bodyPr/>
          <a:lstStyle/>
          <a:p>
            <a:r>
              <a:rPr lang="de-DE"/>
              <a:t>Schwarz Group // Corporate Presentation //</a:t>
            </a:r>
          </a:p>
        </p:txBody>
      </p:sp>
      <p:sp>
        <p:nvSpPr>
          <p:cNvPr id="28" name="Foliennummernplatzhalter 27"/>
          <p:cNvSpPr>
            <a:spLocks noGrp="1"/>
          </p:cNvSpPr>
          <p:nvPr>
            <p:ph type="sldNum" sz="quarter" idx="18"/>
          </p:nvPr>
        </p:nvSpPr>
        <p:spPr/>
        <p:txBody>
          <a:bodyPr/>
          <a:lstStyle/>
          <a:p>
            <a:fld id="{0C7C1E0B-BD27-42F8-BC6B-2F0636970842}" type="slidenum">
              <a:rPr lang="de-DE" smtClean="0"/>
              <a:pPr/>
              <a:t>‹#›</a:t>
            </a:fld>
            <a:endParaRPr lang="de-DE"/>
          </a:p>
        </p:txBody>
      </p:sp>
      <p:sp>
        <p:nvSpPr>
          <p:cNvPr id="19" name="Rechteck 18"/>
          <p:cNvSpPr/>
          <p:nvPr userDrawn="1"/>
        </p:nvSpPr>
        <p:spPr bwMode="gray">
          <a:xfrm>
            <a:off x="-3089741"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0" name="Gruppieren 19"/>
          <p:cNvGrpSpPr/>
          <p:nvPr userDrawn="1"/>
        </p:nvGrpSpPr>
        <p:grpSpPr bwMode="gray">
          <a:xfrm>
            <a:off x="-3089741" y="0"/>
            <a:ext cx="2694276" cy="4153020"/>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76154290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8" name="Textplatzhalter 7"/>
          <p:cNvSpPr>
            <a:spLocks noGrp="1"/>
          </p:cNvSpPr>
          <p:nvPr>
            <p:ph type="body" sz="quarter" idx="13"/>
          </p:nvPr>
        </p:nvSpPr>
        <p:spPr bwMode="gray">
          <a:xfrm>
            <a:off x="818358" y="650166"/>
            <a:ext cx="10549729" cy="5559257"/>
          </a:xfrm>
        </p:spPr>
        <p:txBody>
          <a:bodyPr lIns="900000" rIns="900000" anchor="ctr"/>
          <a:lstStyle>
            <a:lvl1pPr algn="ctr">
              <a:lnSpc>
                <a:spcPct val="95000"/>
              </a:lnSpc>
              <a:defRPr sz="4800"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4" name="Rechteck 13"/>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15" name="Gruppieren 14"/>
          <p:cNvGrpSpPr/>
          <p:nvPr userDrawn="1"/>
        </p:nvGrpSpPr>
        <p:grpSpPr bwMode="gray">
          <a:xfrm>
            <a:off x="-3089741" y="1815282"/>
            <a:ext cx="2694276" cy="2769440"/>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38227603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D67A16-2CC6-4738-B7A4-76612579B6B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D073F9F-9153-477A-8C59-B522C264AE66}"/>
              </a:ext>
            </a:extLst>
          </p:cNvPr>
          <p:cNvSpPr>
            <a:spLocks noGrp="1"/>
          </p:cNvSpPr>
          <p:nvPr>
            <p:ph type="dt" sz="half" idx="10"/>
          </p:nvPr>
        </p:nvSpPr>
        <p:spPr/>
        <p:txBody>
          <a:bodyPr/>
          <a:lstStyle/>
          <a:p>
            <a:endParaRPr lang="de-DE"/>
          </a:p>
        </p:txBody>
      </p:sp>
      <p:sp>
        <p:nvSpPr>
          <p:cNvPr id="4" name="Fußzeilenplatzhalter 3">
            <a:extLst>
              <a:ext uri="{FF2B5EF4-FFF2-40B4-BE49-F238E27FC236}">
                <a16:creationId xmlns:a16="http://schemas.microsoft.com/office/drawing/2014/main" id="{69AEE350-D9E9-43B5-930D-82713F1E1FC7}"/>
              </a:ext>
            </a:extLst>
          </p:cNvPr>
          <p:cNvSpPr>
            <a:spLocks noGrp="1"/>
          </p:cNvSpPr>
          <p:nvPr>
            <p:ph type="ftr" sz="quarter" idx="11"/>
          </p:nvPr>
        </p:nvSpPr>
        <p:spPr/>
        <p:txBody>
          <a:bodyPr/>
          <a:lstStyle/>
          <a:p>
            <a:r>
              <a:rPr lang="de-DE"/>
              <a:t>Schwarz Group // Corporate Presentation //</a:t>
            </a:r>
          </a:p>
        </p:txBody>
      </p:sp>
      <p:sp>
        <p:nvSpPr>
          <p:cNvPr id="5" name="Foliennummernplatzhalter 4">
            <a:extLst>
              <a:ext uri="{FF2B5EF4-FFF2-40B4-BE49-F238E27FC236}">
                <a16:creationId xmlns:a16="http://schemas.microsoft.com/office/drawing/2014/main" id="{1E97DE64-4E5E-40A3-8CD9-7F254C0B2501}"/>
              </a:ext>
            </a:extLst>
          </p:cNvPr>
          <p:cNvSpPr>
            <a:spLocks noGrp="1"/>
          </p:cNvSpPr>
          <p:nvPr>
            <p:ph type="sldNum" sz="quarter" idx="12"/>
          </p:nvPr>
        </p:nvSpPr>
        <p:spPr/>
        <p:txBody>
          <a:bodyPr/>
          <a:lstStyle/>
          <a:p>
            <a:fld id="{0C7C1E0B-BD27-42F8-BC6B-2F0636970842}" type="slidenum">
              <a:rPr lang="de-DE" smtClean="0"/>
              <a:pPr/>
              <a:t>‹#›</a:t>
            </a:fld>
            <a:endParaRPr lang="de-DE"/>
          </a:p>
        </p:txBody>
      </p:sp>
    </p:spTree>
    <p:extLst>
      <p:ext uri="{BB962C8B-B14F-4D97-AF65-F5344CB8AC3E}">
        <p14:creationId xmlns:p14="http://schemas.microsoft.com/office/powerpoint/2010/main" val="265718031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Folie" r:id="rId4" imgW="347" imgH="348" progId="TCLayout.ActiveDocument.1">
                  <p:embed/>
                </p:oleObj>
              </mc:Choice>
              <mc:Fallback>
                <p:oleObj name="think-cell Folie" r:id="rId4" imgW="347" imgH="348" progId="TCLayout.ActiveDocument.1">
                  <p:embed/>
                  <p:pic>
                    <p:nvPicPr>
                      <p:cNvPr id="4" name="Objek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a:solidFill>
                <a:srgbClr val="791F82"/>
              </a:solidFill>
            </a:endParaRPr>
          </a:p>
        </p:txBody>
      </p:sp>
      <p:sp>
        <p:nvSpPr>
          <p:cNvPr id="8" name="Textplatzhalter 8"/>
          <p:cNvSpPr>
            <a:spLocks noGrp="1"/>
          </p:cNvSpPr>
          <p:nvPr>
            <p:ph type="body" sz="quarter" idx="13"/>
          </p:nvPr>
        </p:nvSpPr>
        <p:spPr bwMode="gray">
          <a:xfrm>
            <a:off x="407196" y="1447396"/>
            <a:ext cx="11350799" cy="4862789"/>
          </a:xfrm>
        </p:spPr>
        <p:txBody>
          <a:bodyPr/>
          <a:lstStyle>
            <a:lvl1pPr>
              <a:defRPr/>
            </a:lvl1pPr>
            <a:lvl2pPr>
              <a:buClrTx/>
              <a:defRPr/>
            </a:lvl2pPr>
            <a:lvl3pPr marL="359892" indent="-179946">
              <a:buClrTx/>
              <a:buFont typeface="Symbol" panose="05050102010706020507" pitchFamily="18" charset="2"/>
              <a:buChar char="-"/>
              <a:defRPr/>
            </a:lvl3pPr>
            <a:lvl4pPr marL="539838" indent="-179946">
              <a:buClrTx/>
              <a:buFont typeface="Symbol" panose="05050102010706020507" pitchFamily="18" charset="2"/>
              <a:buChar char="-"/>
              <a:defRPr/>
            </a:lvl4pPr>
            <a:lvl5pPr marL="719784" indent="-179946">
              <a:buClrTx/>
              <a:buFont typeface="Symbol" panose="05050102010706020507" pitchFamily="18" charset="2"/>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12"/>
          <p:cNvSpPr>
            <a:spLocks noGrp="1"/>
          </p:cNvSpPr>
          <p:nvPr>
            <p:ph type="body" sz="quarter" idx="15" hasCustomPrompt="1"/>
          </p:nvPr>
        </p:nvSpPr>
        <p:spPr>
          <a:xfrm>
            <a:off x="407936" y="765521"/>
            <a:ext cx="11350059" cy="437136"/>
          </a:xfrm>
        </p:spPr>
        <p:txBody>
          <a:bodyPr/>
          <a:lstStyle>
            <a:lvl1pPr marL="0" marR="0" indent="0" algn="l" defTabSz="1088175" rtl="0" eaLnBrk="1" fontAlgn="auto" latinLnBrk="0" hangingPunct="1">
              <a:lnSpc>
                <a:spcPct val="130000"/>
              </a:lnSpc>
              <a:spcBef>
                <a:spcPts val="0"/>
              </a:spcBef>
              <a:spcAft>
                <a:spcPts val="0"/>
              </a:spcAft>
              <a:buClrTx/>
              <a:buSzTx/>
              <a:buFontTx/>
              <a:buNone/>
              <a:tabLst/>
              <a:defRPr lang="de-DE" sz="1800" b="1" kern="1200" dirty="0" smtClean="0">
                <a:solidFill>
                  <a:srgbClr val="965AA0"/>
                </a:solidFill>
                <a:latin typeface="+mn-lt"/>
                <a:ea typeface="+mn-ea"/>
                <a:cs typeface="+mn-cs"/>
              </a:defRPr>
            </a:lvl1pPr>
          </a:lstStyle>
          <a:p>
            <a:pPr marL="0" marR="0" lvl="0" indent="0" algn="l" defTabSz="1088175" rtl="0" eaLnBrk="1" fontAlgn="auto" latinLnBrk="0" hangingPunct="1">
              <a:lnSpc>
                <a:spcPct val="120000"/>
              </a:lnSpc>
              <a:spcBef>
                <a:spcPts val="0"/>
              </a:spcBef>
              <a:spcAft>
                <a:spcPts val="0"/>
              </a:spcAft>
              <a:buClrTx/>
              <a:buSzTx/>
              <a:buFontTx/>
              <a:buNone/>
              <a:tabLst/>
              <a:defRPr/>
            </a:pPr>
            <a:r>
              <a:rPr lang="de-DE"/>
              <a:t>Formatvorlage des Untertitelmasters durch Klicken bearbeiten</a:t>
            </a:r>
          </a:p>
        </p:txBody>
      </p:sp>
    </p:spTree>
    <p:extLst>
      <p:ext uri="{BB962C8B-B14F-4D97-AF65-F5344CB8AC3E}">
        <p14:creationId xmlns:p14="http://schemas.microsoft.com/office/powerpoint/2010/main" val="337782370"/>
      </p:ext>
    </p:extLst>
  </p:cSld>
  <p:clrMapOvr>
    <a:masterClrMapping/>
  </p:clrMapOvr>
  <p:transition>
    <p:fade/>
  </p:transition>
  <p:extLst>
    <p:ext uri="{DCECCB84-F9BA-43D5-87BE-67443E8EF086}">
      <p15:sldGuideLst xmlns:p15="http://schemas.microsoft.com/office/powerpoint/2012/main">
        <p15:guide id="0" orient="horz" pos="913">
          <p15:clr>
            <a:srgbClr val="FBAE40"/>
          </p15:clr>
        </p15:guide>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ild &amp; Text 1">
    <p:spTree>
      <p:nvGrpSpPr>
        <p:cNvPr id="1" name=""/>
        <p:cNvGrpSpPr/>
        <p:nvPr/>
      </p:nvGrpSpPr>
      <p:grpSpPr>
        <a:xfrm>
          <a:off x="0" y="0"/>
          <a:ext cx="0" cy="0"/>
          <a:chOff x="0" y="0"/>
          <a:chExt cx="0" cy="0"/>
        </a:xfrm>
      </p:grpSpPr>
      <p:sp>
        <p:nvSpPr>
          <p:cNvPr id="8" name="Bildplatzhalter 7"/>
          <p:cNvSpPr>
            <a:spLocks noGrp="1"/>
          </p:cNvSpPr>
          <p:nvPr>
            <p:ph type="pic" sz="quarter" idx="15"/>
          </p:nvPr>
        </p:nvSpPr>
        <p:spPr bwMode="gray">
          <a:xfrm>
            <a:off x="6865377" y="141033"/>
            <a:ext cx="5185411" cy="6577524"/>
          </a:xfrm>
        </p:spPr>
        <p:txBody>
          <a:bodyPr/>
          <a:lstStyle/>
          <a:p>
            <a:r>
              <a:rPr lang="de-DE"/>
              <a:t>Bild durch Klicken auf Symbol hinzufügen</a:t>
            </a:r>
          </a:p>
        </p:txBody>
      </p:sp>
      <p:sp>
        <p:nvSpPr>
          <p:cNvPr id="12" name="Textplatzhalter 8"/>
          <p:cNvSpPr>
            <a:spLocks noGrp="1"/>
          </p:cNvSpPr>
          <p:nvPr>
            <p:ph type="body" sz="quarter" idx="14"/>
          </p:nvPr>
        </p:nvSpPr>
        <p:spPr bwMode="gray">
          <a:xfrm>
            <a:off x="426244" y="1738313"/>
            <a:ext cx="6120000" cy="4320000"/>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Rechteck 19"/>
          <p:cNvSpPr/>
          <p:nvPr userDrawn="1"/>
        </p:nvSpPr>
        <p:spPr bwMode="gray">
          <a:xfrm>
            <a:off x="-3089741"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1" name="Gruppieren 20"/>
          <p:cNvGrpSpPr/>
          <p:nvPr userDrawn="1"/>
        </p:nvGrpSpPr>
        <p:grpSpPr bwMode="gray">
          <a:xfrm>
            <a:off x="-3089741" y="0"/>
            <a:ext cx="2694276" cy="4153020"/>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3"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3" name="Titel 2">
            <a:extLst>
              <a:ext uri="{FF2B5EF4-FFF2-40B4-BE49-F238E27FC236}">
                <a16:creationId xmlns:a16="http://schemas.microsoft.com/office/drawing/2014/main" id="{D3FB4325-454C-234C-B8FD-DAF3E92B921A}"/>
              </a:ext>
            </a:extLst>
          </p:cNvPr>
          <p:cNvSpPr>
            <a:spLocks noGrp="1"/>
          </p:cNvSpPr>
          <p:nvPr>
            <p:ph type="title"/>
          </p:nvPr>
        </p:nvSpPr>
        <p:spPr>
          <a:xfrm>
            <a:off x="396001" y="469901"/>
            <a:ext cx="6120000" cy="853992"/>
          </a:xfrm>
        </p:spPr>
        <p:txBody>
          <a:bodyPr anchor="t" anchorCtr="0"/>
          <a:lstStyle/>
          <a:p>
            <a:r>
              <a:rPr lang="de-DE"/>
              <a:t>Mastertitelformat bearbeiten</a:t>
            </a:r>
            <a:endParaRPr lang="en-GB"/>
          </a:p>
        </p:txBody>
      </p:sp>
      <p:sp>
        <p:nvSpPr>
          <p:cNvPr id="13" name="Textplatzhalter 9">
            <a:extLst>
              <a:ext uri="{FF2B5EF4-FFF2-40B4-BE49-F238E27FC236}">
                <a16:creationId xmlns:a16="http://schemas.microsoft.com/office/drawing/2014/main" id="{3FF5C004-BA88-914F-83DC-ED6F13D60947}"/>
              </a:ext>
            </a:extLst>
          </p:cNvPr>
          <p:cNvSpPr>
            <a:spLocks noGrp="1"/>
          </p:cNvSpPr>
          <p:nvPr>
            <p:ph type="body" sz="quarter" idx="19"/>
          </p:nvPr>
        </p:nvSpPr>
        <p:spPr>
          <a:xfrm>
            <a:off x="10851286" y="340000"/>
            <a:ext cx="986454" cy="986454"/>
          </a:xfrm>
          <a:blipFill>
            <a:blip r:embed="rId5"/>
            <a:stretch>
              <a:fillRect/>
            </a:stretch>
          </a:blipFill>
        </p:spPr>
        <p:txBody>
          <a:bodyPr/>
          <a:lstStyle>
            <a:lvl1pPr>
              <a:lnSpc>
                <a:spcPts val="0"/>
              </a:lnSpc>
              <a:spcAft>
                <a:spcPts val="0"/>
              </a:spcAft>
              <a:defRPr sz="100">
                <a:solidFill>
                  <a:schemeClr val="accent1"/>
                </a:solidFill>
              </a:defRPr>
            </a:lvl1pPr>
          </a:lstStyle>
          <a:p>
            <a:pPr lvl="0"/>
            <a:r>
              <a:rPr lang="de-DE"/>
              <a:t>Mastertextformat bearbeiten</a:t>
            </a:r>
          </a:p>
        </p:txBody>
      </p:sp>
      <p:sp>
        <p:nvSpPr>
          <p:cNvPr id="4" name="Datumsplatzhalter 3">
            <a:extLst>
              <a:ext uri="{FF2B5EF4-FFF2-40B4-BE49-F238E27FC236}">
                <a16:creationId xmlns:a16="http://schemas.microsoft.com/office/drawing/2014/main" id="{1D5D1476-DC0F-7948-8F8A-C4FB02DEDE91}"/>
              </a:ext>
            </a:extLst>
          </p:cNvPr>
          <p:cNvSpPr>
            <a:spLocks noGrp="1"/>
          </p:cNvSpPr>
          <p:nvPr>
            <p:ph type="dt" sz="half" idx="20"/>
          </p:nvPr>
        </p:nvSpPr>
        <p:spPr/>
        <p:txBody>
          <a:bodyPr/>
          <a:lstStyle/>
          <a:p>
            <a:endParaRPr lang="de-DE"/>
          </a:p>
        </p:txBody>
      </p:sp>
      <p:sp>
        <p:nvSpPr>
          <p:cNvPr id="5" name="Fußzeilenplatzhalter 4">
            <a:extLst>
              <a:ext uri="{FF2B5EF4-FFF2-40B4-BE49-F238E27FC236}">
                <a16:creationId xmlns:a16="http://schemas.microsoft.com/office/drawing/2014/main" id="{0E0C35CC-272E-3743-B279-9BFB017D69B0}"/>
              </a:ext>
            </a:extLst>
          </p:cNvPr>
          <p:cNvSpPr>
            <a:spLocks noGrp="1"/>
          </p:cNvSpPr>
          <p:nvPr>
            <p:ph type="ftr" sz="quarter" idx="21"/>
          </p:nvPr>
        </p:nvSpPr>
        <p:spPr/>
        <p:txBody>
          <a:bodyPr/>
          <a:lstStyle/>
          <a:p>
            <a:r>
              <a:rPr lang="de-DE"/>
              <a:t>Schwarz Group // Corporate Presentation //</a:t>
            </a:r>
          </a:p>
        </p:txBody>
      </p:sp>
      <p:sp>
        <p:nvSpPr>
          <p:cNvPr id="6" name="Foliennummernplatzhalter 5">
            <a:extLst>
              <a:ext uri="{FF2B5EF4-FFF2-40B4-BE49-F238E27FC236}">
                <a16:creationId xmlns:a16="http://schemas.microsoft.com/office/drawing/2014/main" id="{533DB664-1D69-3342-8C73-DF3F47FB59A5}"/>
              </a:ext>
            </a:extLst>
          </p:cNvPr>
          <p:cNvSpPr>
            <a:spLocks noGrp="1"/>
          </p:cNvSpPr>
          <p:nvPr>
            <p:ph type="sldNum" sz="quarter" idx="22"/>
          </p:nvPr>
        </p:nvSpPr>
        <p:spPr/>
        <p:txBody>
          <a:bodyPr/>
          <a:lstStyle/>
          <a:p>
            <a:fld id="{0C7C1E0B-BD27-42F8-BC6B-2F0636970842}" type="slidenum">
              <a:rPr lang="de-DE" smtClean="0"/>
              <a:pPr/>
              <a:t>‹#›</a:t>
            </a:fld>
            <a:endParaRPr lang="de-DE"/>
          </a:p>
        </p:txBody>
      </p:sp>
    </p:spTree>
    <p:extLst>
      <p:ext uri="{BB962C8B-B14F-4D97-AF65-F5344CB8AC3E}">
        <p14:creationId xmlns:p14="http://schemas.microsoft.com/office/powerpoint/2010/main" val="820896437"/>
      </p:ext>
    </p:extLst>
  </p:cSld>
  <p:clrMapOvr>
    <a:masterClrMapping/>
  </p:clrMapOvr>
  <p:transition>
    <p:fade/>
  </p:transition>
  <p:extLst>
    <p:ext uri="{DCECCB84-F9BA-43D5-87BE-67443E8EF086}">
      <p15:sldGuideLst xmlns:p15="http://schemas.microsoft.com/office/powerpoint/2012/main">
        <p15:guide id="1" orient="horz" pos="294">
          <p15:clr>
            <a:srgbClr val="FBAE40"/>
          </p15:clr>
        </p15:guide>
        <p15:guide id="2" pos="4320">
          <p15:clr>
            <a:srgbClr val="FBAE40"/>
          </p15:clr>
        </p15:guide>
        <p15:guide id="3" orient="horz" pos="1090">
          <p15:clr>
            <a:srgbClr val="FBAE40"/>
          </p15:clr>
        </p15:guide>
        <p15:guide id="4" pos="25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ontent hell">
    <p:spTree>
      <p:nvGrpSpPr>
        <p:cNvPr id="1" name=""/>
        <p:cNvGrpSpPr/>
        <p:nvPr/>
      </p:nvGrpSpPr>
      <p:grpSpPr>
        <a:xfrm>
          <a:off x="0" y="0"/>
          <a:ext cx="0" cy="0"/>
          <a:chOff x="0" y="0"/>
          <a:chExt cx="0" cy="0"/>
        </a:xfrm>
      </p:grpSpPr>
      <p:pic>
        <p:nvPicPr>
          <p:cNvPr id="6" name="Hintergr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 y="787"/>
            <a:ext cx="12188977" cy="6858014"/>
          </a:xfrm>
          <a:prstGeom prst="rect">
            <a:avLst/>
          </a:prstGeom>
        </p:spPr>
      </p:pic>
      <p:sp>
        <p:nvSpPr>
          <p:cNvPr id="8" name="Untertitel 2"/>
          <p:cNvSpPr>
            <a:spLocks noGrp="1"/>
          </p:cNvSpPr>
          <p:nvPr>
            <p:ph type="subTitle" idx="1"/>
          </p:nvPr>
        </p:nvSpPr>
        <p:spPr bwMode="gray">
          <a:xfrm>
            <a:off x="431800" y="739136"/>
            <a:ext cx="11325224" cy="244319"/>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15" name="Titel 14"/>
          <p:cNvSpPr>
            <a:spLocks noGrp="1"/>
          </p:cNvSpPr>
          <p:nvPr>
            <p:ph type="title"/>
          </p:nvPr>
        </p:nvSpPr>
        <p:spPr/>
        <p:txBody>
          <a:bodyPr/>
          <a:lstStyle/>
          <a:p>
            <a:r>
              <a:rPr lang="de-DE"/>
              <a:t>Titelmasterformat durch Klicken bearbeiten</a:t>
            </a:r>
          </a:p>
        </p:txBody>
      </p:sp>
      <p:sp>
        <p:nvSpPr>
          <p:cNvPr id="17" name="Inhaltsplatzhalter 16"/>
          <p:cNvSpPr>
            <a:spLocks noGrp="1"/>
          </p:cNvSpPr>
          <p:nvPr>
            <p:ph sz="quarter" idx="13"/>
          </p:nvPr>
        </p:nvSpPr>
        <p:spPr>
          <a:xfrm>
            <a:off x="431801" y="1412875"/>
            <a:ext cx="5591174" cy="5014913"/>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m</a:t>
            </a:r>
          </a:p>
        </p:txBody>
      </p:sp>
    </p:spTree>
    <p:extLst>
      <p:ext uri="{BB962C8B-B14F-4D97-AF65-F5344CB8AC3E}">
        <p14:creationId xmlns:p14="http://schemas.microsoft.com/office/powerpoint/2010/main" val="2324099334"/>
      </p:ext>
    </p:extLst>
  </p:cSld>
  <p:clrMapOvr>
    <a:masterClrMapping/>
  </p:clrMapOvr>
  <p:transition>
    <p:fade/>
  </p:transition>
  <p:extLst>
    <p:ext uri="{DCECCB84-F9BA-43D5-87BE-67443E8EF086}">
      <p15:sldGuideLst xmlns:p15="http://schemas.microsoft.com/office/powerpoint/2012/main">
        <p15:guide id="1" pos="3794">
          <p15:clr>
            <a:srgbClr val="FBAE40"/>
          </p15:clr>
        </p15:guide>
        <p15:guide id="2" pos="3885">
          <p15:clr>
            <a:srgbClr val="FBAE40"/>
          </p15:clr>
        </p15:guide>
        <p15:guide id="3" pos="2590">
          <p15:clr>
            <a:srgbClr val="FBAE40"/>
          </p15:clr>
        </p15:guide>
        <p15:guide id="4" pos="2680">
          <p15:clr>
            <a:srgbClr val="FBAE40"/>
          </p15:clr>
        </p15:guide>
        <p15:guide id="5" pos="4998">
          <p15:clr>
            <a:srgbClr val="FBAE40"/>
          </p15:clr>
        </p15:guide>
        <p15:guide id="6" pos="5088">
          <p15:clr>
            <a:srgbClr val="FBAE40"/>
          </p15:clr>
        </p15:guide>
        <p15:guide id="7" pos="2080">
          <p15:clr>
            <a:srgbClr val="FBAE40"/>
          </p15:clr>
        </p15:guide>
        <p15:guide id="8" pos="1988">
          <p15:clr>
            <a:srgbClr val="FBAE40"/>
          </p15:clr>
        </p15:guide>
        <p15:guide id="9" pos="5600">
          <p15:clr>
            <a:srgbClr val="FBAE40"/>
          </p15:clr>
        </p15:guide>
        <p15:guide id="10" pos="5690">
          <p15:clr>
            <a:srgbClr val="FBAE40"/>
          </p15:clr>
        </p15:guide>
        <p15:guide id="11" pos="1386">
          <p15:clr>
            <a:srgbClr val="FBAE40"/>
          </p15:clr>
        </p15:guide>
        <p15:guide id="12" pos="1476">
          <p15:clr>
            <a:srgbClr val="FBAE40"/>
          </p15:clr>
        </p15:guide>
        <p15:guide id="13" pos="6203">
          <p15:clr>
            <a:srgbClr val="FBAE40"/>
          </p15:clr>
        </p15:guide>
        <p15:guide id="14" pos="6293">
          <p15:clr>
            <a:srgbClr val="FBAE40"/>
          </p15:clr>
        </p15:guide>
        <p15:guide id="15" orient="horz" pos="2423">
          <p15:clr>
            <a:srgbClr val="FBAE40"/>
          </p15:clr>
        </p15:guide>
        <p15:guide id="16" orient="horz" pos="2514">
          <p15:clr>
            <a:srgbClr val="FBAE40"/>
          </p15:clr>
        </p15:guide>
        <p15:guide id="17" orient="horz" pos="1881">
          <p15:clr>
            <a:srgbClr val="FBAE40"/>
          </p15:clr>
        </p15:guide>
        <p15:guide id="18" orient="horz" pos="1971">
          <p15:clr>
            <a:srgbClr val="FBAE40"/>
          </p15:clr>
        </p15:guide>
        <p15:guide id="19" orient="horz" pos="3056">
          <p15:clr>
            <a:srgbClr val="FBAE40"/>
          </p15:clr>
        </p15:guide>
        <p15:guide id="20" orient="horz" pos="2966">
          <p15:clr>
            <a:srgbClr val="FBAE40"/>
          </p15:clr>
        </p15:guide>
        <p15:guide id="21" pos="3839">
          <p15:clr>
            <a:srgbClr val="9FCC3B"/>
          </p15:clr>
        </p15:guide>
        <p15:guide id="22" orient="horz" pos="2160">
          <p15:clr>
            <a:srgbClr val="9FCC3B"/>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Title Slide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AEA4169-AAED-984C-A173-6E4009B858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1" y="0"/>
            <a:ext cx="12189972" cy="6859588"/>
          </a:xfrm>
          <a:prstGeom prst="rect">
            <a:avLst/>
          </a:prstGeom>
        </p:spPr>
      </p:pic>
      <p:pic>
        <p:nvPicPr>
          <p:cNvPr id="15" name="Picture 14">
            <a:extLst>
              <a:ext uri="{FF2B5EF4-FFF2-40B4-BE49-F238E27FC236}">
                <a16:creationId xmlns:a16="http://schemas.microsoft.com/office/drawing/2014/main" id="{83250CC3-9E5F-6147-8D7D-8BA86A7BC9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8377" y="381088"/>
            <a:ext cx="914162" cy="914612"/>
          </a:xfrm>
          <a:prstGeom prst="rect">
            <a:avLst/>
          </a:prstGeom>
        </p:spPr>
      </p:pic>
      <p:cxnSp>
        <p:nvCxnSpPr>
          <p:cNvPr id="14" name="Straight Connector 13">
            <a:extLst>
              <a:ext uri="{FF2B5EF4-FFF2-40B4-BE49-F238E27FC236}">
                <a16:creationId xmlns:a16="http://schemas.microsoft.com/office/drawing/2014/main" id="{1A59C648-DDF7-1C44-B00E-6775F38596A5}"/>
              </a:ext>
            </a:extLst>
          </p:cNvPr>
          <p:cNvCxnSpPr/>
          <p:nvPr userDrawn="1"/>
        </p:nvCxnSpPr>
        <p:spPr>
          <a:xfrm>
            <a:off x="4215301" y="2999679"/>
            <a:ext cx="0" cy="100619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27B54B81-6995-D64E-82D8-813FA459B943}"/>
              </a:ext>
            </a:extLst>
          </p:cNvPr>
          <p:cNvSpPr>
            <a:spLocks noGrp="1"/>
          </p:cNvSpPr>
          <p:nvPr>
            <p:ph type="body" sz="quarter" idx="10" hasCustomPrompt="1"/>
          </p:nvPr>
        </p:nvSpPr>
        <p:spPr>
          <a:xfrm>
            <a:off x="4418448" y="2962549"/>
            <a:ext cx="6703060" cy="685959"/>
          </a:xfrm>
          <a:prstGeom prst="rect">
            <a:avLst/>
          </a:prstGeom>
        </p:spPr>
        <p:txBody>
          <a:bodyPr/>
          <a:lstStyle>
            <a:lvl1pPr marL="0" indent="0">
              <a:buNone/>
              <a:defRPr sz="4399">
                <a:solidFill>
                  <a:schemeClr val="accent1"/>
                </a:solidFill>
                <a:latin typeface="+mj-lt"/>
              </a:defRPr>
            </a:lvl1pPr>
            <a:lvl2pPr marL="457063" indent="0">
              <a:buNone/>
              <a:defRPr/>
            </a:lvl2pPr>
            <a:lvl3pPr marL="914126" indent="0">
              <a:buNone/>
              <a:defRPr/>
            </a:lvl3pPr>
            <a:lvl4pPr marL="1371189" indent="0">
              <a:buNone/>
              <a:defRPr/>
            </a:lvl4pPr>
            <a:lvl5pPr marL="1828251" indent="0">
              <a:buNone/>
              <a:defRPr/>
            </a:lvl5pPr>
          </a:lstStyle>
          <a:p>
            <a:pPr lvl="0"/>
            <a:r>
              <a:rPr lang="en-US"/>
              <a:t>Click to add headline</a:t>
            </a:r>
          </a:p>
        </p:txBody>
      </p:sp>
      <p:sp>
        <p:nvSpPr>
          <p:cNvPr id="17" name="Text Placeholder 10">
            <a:extLst>
              <a:ext uri="{FF2B5EF4-FFF2-40B4-BE49-F238E27FC236}">
                <a16:creationId xmlns:a16="http://schemas.microsoft.com/office/drawing/2014/main" id="{422690FB-4AE4-804E-9B4A-80F66E091880}"/>
              </a:ext>
            </a:extLst>
          </p:cNvPr>
          <p:cNvSpPr>
            <a:spLocks noGrp="1"/>
          </p:cNvSpPr>
          <p:nvPr>
            <p:ph type="body" sz="quarter" idx="11" hasCustomPrompt="1"/>
          </p:nvPr>
        </p:nvSpPr>
        <p:spPr>
          <a:xfrm>
            <a:off x="4419243" y="3648920"/>
            <a:ext cx="6627674" cy="357271"/>
          </a:xfrm>
          <a:prstGeom prst="rect">
            <a:avLst/>
          </a:prstGeom>
        </p:spPr>
        <p:txBody>
          <a:bodyPr/>
          <a:lstStyle>
            <a:lvl1pPr marL="0" indent="0">
              <a:buNone/>
              <a:defRPr>
                <a:solidFill>
                  <a:schemeClr val="bg2"/>
                </a:solidFill>
                <a:latin typeface="+mj-lt"/>
              </a:defRPr>
            </a:lvl1pPr>
            <a:lvl2pPr marL="457063" indent="0">
              <a:buNone/>
              <a:defRPr/>
            </a:lvl2pPr>
            <a:lvl3pPr marL="914126" indent="0">
              <a:buNone/>
              <a:defRPr/>
            </a:lvl3pPr>
            <a:lvl4pPr marL="1371189" indent="0">
              <a:buNone/>
              <a:defRPr/>
            </a:lvl4pPr>
            <a:lvl5pPr marL="1828251" indent="0">
              <a:buNone/>
              <a:defRPr/>
            </a:lvl5pPr>
          </a:lstStyle>
          <a:p>
            <a:pPr lvl="0"/>
            <a:r>
              <a:rPr lang="en-US"/>
              <a:t>Click to add subline</a:t>
            </a:r>
          </a:p>
        </p:txBody>
      </p:sp>
      <p:sp>
        <p:nvSpPr>
          <p:cNvPr id="18" name="Text Placeholder 2">
            <a:extLst>
              <a:ext uri="{FF2B5EF4-FFF2-40B4-BE49-F238E27FC236}">
                <a16:creationId xmlns:a16="http://schemas.microsoft.com/office/drawing/2014/main" id="{2D2C33AD-59E2-9548-BB22-D4136013FA72}"/>
              </a:ext>
            </a:extLst>
          </p:cNvPr>
          <p:cNvSpPr>
            <a:spLocks noGrp="1"/>
          </p:cNvSpPr>
          <p:nvPr>
            <p:ph type="body" sz="quarter" idx="12" hasCustomPrompt="1"/>
          </p:nvPr>
        </p:nvSpPr>
        <p:spPr>
          <a:xfrm>
            <a:off x="4418448" y="4344406"/>
            <a:ext cx="4343857" cy="210785"/>
          </a:xfrm>
          <a:prstGeom prst="rect">
            <a:avLst/>
          </a:prstGeom>
        </p:spPr>
        <p:txBody>
          <a:bodyPr/>
          <a:lstStyle>
            <a:lvl1pPr marL="0" indent="0">
              <a:buNone/>
              <a:defRPr sz="1200">
                <a:solidFill>
                  <a:schemeClr val="bg2"/>
                </a:solidFill>
              </a:defRPr>
            </a:lvl1pPr>
          </a:lstStyle>
          <a:p>
            <a:pPr lvl="0"/>
            <a:r>
              <a:rPr lang="en-US"/>
              <a:t>Click to add name and date</a:t>
            </a:r>
            <a:endParaRPr lang="de-DE"/>
          </a:p>
        </p:txBody>
      </p:sp>
    </p:spTree>
    <p:extLst>
      <p:ext uri="{BB962C8B-B14F-4D97-AF65-F5344CB8AC3E}">
        <p14:creationId xmlns:p14="http://schemas.microsoft.com/office/powerpoint/2010/main" val="306320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6F651F6D-2E9B-4D4D-935B-4E11AB35C8CC}" type="datetime1">
              <a:rPr lang="de-DE" smtClean="0"/>
              <a:t>30.06.2021</a:t>
            </a:fld>
            <a:endParaRPr lang="de-DE"/>
          </a:p>
        </p:txBody>
      </p:sp>
      <p:sp>
        <p:nvSpPr>
          <p:cNvPr id="3" name="Fußzeilenplatzhalter 2"/>
          <p:cNvSpPr>
            <a:spLocks noGrp="1"/>
          </p:cNvSpPr>
          <p:nvPr>
            <p:ph type="ftr" sz="quarter" idx="11"/>
          </p:nvPr>
        </p:nvSpPr>
        <p:spPr/>
        <p:txBody>
          <a:bodyPr/>
          <a:lstStyle/>
          <a:p>
            <a:r>
              <a:rPr lang="de-DE"/>
              <a:t>BG Leadership Workshop //  10.07.2020  //</a:t>
            </a:r>
          </a:p>
        </p:txBody>
      </p:sp>
      <p:sp>
        <p:nvSpPr>
          <p:cNvPr id="4" name="Foliennummernplatzhalter 3"/>
          <p:cNvSpPr>
            <a:spLocks noGrp="1"/>
          </p:cNvSpPr>
          <p:nvPr>
            <p:ph type="sldNum" sz="quarter" idx="12"/>
          </p:nvPr>
        </p:nvSpPr>
        <p:spPr/>
        <p:txBody>
          <a:bodyPr/>
          <a:lstStyle/>
          <a:p>
            <a:fld id="{6DC28378-8F7A-4890-BEB7-2AB202136529}" type="slidenum">
              <a:rPr lang="de-DE" smtClean="0">
                <a:solidFill>
                  <a:srgbClr val="791F82"/>
                </a:solidFill>
              </a:rPr>
              <a:pPr/>
              <a:t>‹#›</a:t>
            </a:fld>
            <a:endParaRPr lang="de-DE">
              <a:solidFill>
                <a:srgbClr val="791F82"/>
              </a:solidFill>
            </a:endParaRPr>
          </a:p>
        </p:txBody>
      </p:sp>
    </p:spTree>
    <p:extLst>
      <p:ext uri="{BB962C8B-B14F-4D97-AF65-F5344CB8AC3E}">
        <p14:creationId xmlns:p14="http://schemas.microsoft.com/office/powerpoint/2010/main" val="1824572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Inhalt Folie Einleitung 1">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A2F8F88-B45D-A940-A8AE-C7E46B0A5756}"/>
              </a:ext>
            </a:extLst>
          </p:cNvPr>
          <p:cNvSpPr>
            <a:spLocks noGrp="1"/>
          </p:cNvSpPr>
          <p:nvPr>
            <p:ph type="pic" sz="quarter" idx="10"/>
          </p:nvPr>
        </p:nvSpPr>
        <p:spPr>
          <a:xfrm>
            <a:off x="0" y="0"/>
            <a:ext cx="7913612" cy="6859588"/>
          </a:xfrm>
          <a:prstGeom prst="rect">
            <a:avLst/>
          </a:prstGeom>
          <a:solidFill>
            <a:schemeClr val="accent4"/>
          </a:solidFill>
        </p:spPr>
        <p:txBody>
          <a:bodyPr/>
          <a:lstStyle>
            <a:lvl1pPr marL="0" indent="0">
              <a:buNone/>
              <a:defRPr/>
            </a:lvl1pPr>
          </a:lstStyle>
          <a:p>
            <a:endParaRPr lang="de-DE"/>
          </a:p>
        </p:txBody>
      </p:sp>
      <p:sp>
        <p:nvSpPr>
          <p:cNvPr id="5" name="Rectangle 4">
            <a:extLst>
              <a:ext uri="{FF2B5EF4-FFF2-40B4-BE49-F238E27FC236}">
                <a16:creationId xmlns:a16="http://schemas.microsoft.com/office/drawing/2014/main" id="{A83804B7-1458-F142-9784-389FA4C4E46C}"/>
              </a:ext>
            </a:extLst>
          </p:cNvPr>
          <p:cNvSpPr/>
          <p:nvPr/>
        </p:nvSpPr>
        <p:spPr>
          <a:xfrm>
            <a:off x="7923768" y="0"/>
            <a:ext cx="4266645" cy="6859588"/>
          </a:xfrm>
          <a:prstGeom prst="rect">
            <a:avLst/>
          </a:prstGeom>
          <a:solidFill>
            <a:schemeClr val="accent1">
              <a:alpha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endParaRPr>
          </a:p>
        </p:txBody>
      </p:sp>
      <p:grpSp>
        <p:nvGrpSpPr>
          <p:cNvPr id="17" name="Group 16">
            <a:extLst>
              <a:ext uri="{FF2B5EF4-FFF2-40B4-BE49-F238E27FC236}">
                <a16:creationId xmlns:a16="http://schemas.microsoft.com/office/drawing/2014/main" id="{AB6951F7-B78F-1B49-834C-11B51425A09C}"/>
              </a:ext>
            </a:extLst>
          </p:cNvPr>
          <p:cNvGrpSpPr/>
          <p:nvPr userDrawn="1"/>
        </p:nvGrpSpPr>
        <p:grpSpPr>
          <a:xfrm>
            <a:off x="8425778" y="1194076"/>
            <a:ext cx="3409084" cy="914612"/>
            <a:chOff x="5834743" y="2497098"/>
            <a:chExt cx="5114290" cy="1371600"/>
          </a:xfrm>
        </p:grpSpPr>
        <p:grpSp>
          <p:nvGrpSpPr>
            <p:cNvPr id="18" name="Group 17">
              <a:extLst>
                <a:ext uri="{FF2B5EF4-FFF2-40B4-BE49-F238E27FC236}">
                  <a16:creationId xmlns:a16="http://schemas.microsoft.com/office/drawing/2014/main" id="{ED1846AD-E918-5A48-BD9E-57E3D91B4DEA}"/>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6B05BD64-243B-E049-951D-18A5453210B7}"/>
                  </a:ext>
                </a:extLst>
              </p:cNvPr>
              <p:cNvCxnSpPr/>
              <p:nvPr/>
            </p:nvCxnSpPr>
            <p:spPr>
              <a:xfrm flipV="1">
                <a:off x="6324600"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EA18140-4F1C-4E49-9B18-2E80E543C1A4}"/>
                  </a:ext>
                </a:extLst>
              </p:cNvPr>
              <p:cNvCxnSpPr/>
              <p:nvPr/>
            </p:nvCxnSpPr>
            <p:spPr>
              <a:xfrm>
                <a:off x="6324600"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0535367-B3B0-6E46-B3EF-E299D87FC2DD}"/>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A7346A34-1B12-0543-98EC-2788286C7FB7}"/>
                  </a:ext>
                </a:extLst>
              </p:cNvPr>
              <p:cNvCxnSpPr/>
              <p:nvPr/>
            </p:nvCxnSpPr>
            <p:spPr>
              <a:xfrm flipV="1">
                <a:off x="7692754"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D8033C6-E42A-FB42-922F-752449007676}"/>
                  </a:ext>
                </a:extLst>
              </p:cNvPr>
              <p:cNvCxnSpPr/>
              <p:nvPr/>
            </p:nvCxnSpPr>
            <p:spPr>
              <a:xfrm>
                <a:off x="7692754"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2A6E46C7-CF9B-BC46-92E0-48B11AF4E9E8}"/>
              </a:ext>
            </a:extLst>
          </p:cNvPr>
          <p:cNvSpPr>
            <a:spLocks noGrp="1"/>
          </p:cNvSpPr>
          <p:nvPr>
            <p:ph type="body" sz="quarter" idx="11" hasCustomPrompt="1"/>
          </p:nvPr>
        </p:nvSpPr>
        <p:spPr>
          <a:xfrm>
            <a:off x="8524946" y="1295705"/>
            <a:ext cx="3153302" cy="678702"/>
          </a:xfrm>
          <a:prstGeom prst="rect">
            <a:avLst/>
          </a:prstGeom>
        </p:spPr>
        <p:txBody>
          <a:bodyPr anchor="ctr"/>
          <a:lstStyle>
            <a:lvl1pPr marL="0" indent="0" algn="ctr">
              <a:buNone/>
              <a:defRPr sz="3599">
                <a:solidFill>
                  <a:schemeClr val="tx2"/>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4CF1EF8-7968-EC44-82E0-A2C542A26E1F}"/>
              </a:ext>
            </a:extLst>
          </p:cNvPr>
          <p:cNvSpPr>
            <a:spLocks noGrp="1"/>
          </p:cNvSpPr>
          <p:nvPr>
            <p:ph type="body" sz="quarter" idx="13" hasCustomPrompt="1"/>
          </p:nvPr>
        </p:nvSpPr>
        <p:spPr>
          <a:xfrm>
            <a:off x="8524243" y="2515182"/>
            <a:ext cx="3153541" cy="4115753"/>
          </a:xfrm>
        </p:spPr>
        <p:txBody>
          <a:bodyPr/>
          <a:lstStyle>
            <a:lvl1pPr marL="0" indent="0">
              <a:buNone/>
              <a:defRPr/>
            </a:lvl1pPr>
          </a:lstStyle>
          <a:p>
            <a:pPr lvl="0"/>
            <a:r>
              <a:rPr lang="en-US"/>
              <a:t>Text </a:t>
            </a:r>
            <a:r>
              <a:rPr lang="en-US" err="1"/>
              <a:t>hinzufügen</a:t>
            </a:r>
            <a:endParaRPr lang="en-US"/>
          </a:p>
        </p:txBody>
      </p:sp>
    </p:spTree>
    <p:extLst>
      <p:ext uri="{BB962C8B-B14F-4D97-AF65-F5344CB8AC3E}">
        <p14:creationId xmlns:p14="http://schemas.microsoft.com/office/powerpoint/2010/main" val="1601247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nhalt Folie Einleitung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9633C1-C2AF-B44B-91C0-7C104ABA605C}"/>
              </a:ext>
            </a:extLst>
          </p:cNvPr>
          <p:cNvSpPr/>
          <p:nvPr userDrawn="1"/>
        </p:nvSpPr>
        <p:spPr>
          <a:xfrm>
            <a:off x="6095206" y="1"/>
            <a:ext cx="6094413" cy="6859588"/>
          </a:xfrm>
          <a:prstGeom prst="rect">
            <a:avLst/>
          </a:prstGeom>
          <a:solidFill>
            <a:schemeClr val="accent1">
              <a:alpha val="2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23B91884-13CF-954D-9600-2C10DDD441D7}"/>
              </a:ext>
            </a:extLst>
          </p:cNvPr>
          <p:cNvGrpSpPr/>
          <p:nvPr userDrawn="1"/>
        </p:nvGrpSpPr>
        <p:grpSpPr>
          <a:xfrm>
            <a:off x="1259864" y="1371917"/>
            <a:ext cx="3409084" cy="914612"/>
            <a:chOff x="5834743" y="2497098"/>
            <a:chExt cx="5114290" cy="1371600"/>
          </a:xfrm>
        </p:grpSpPr>
        <p:grpSp>
          <p:nvGrpSpPr>
            <p:cNvPr id="18" name="Group 17">
              <a:extLst>
                <a:ext uri="{FF2B5EF4-FFF2-40B4-BE49-F238E27FC236}">
                  <a16:creationId xmlns:a16="http://schemas.microsoft.com/office/drawing/2014/main" id="{A02DF09B-65CB-E540-9911-4F6C41ABF596}"/>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0AD6C437-FA93-E344-B35E-85D220EE29D5}"/>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2209CB-2B54-F048-837D-498251630D4B}"/>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AECA584E-CC25-A545-AB86-36C3AA8FDEB2}"/>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7403D452-0E4C-4346-AB3B-444D58DF0BED}"/>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A6E899-20F3-774C-A6C0-F7586739AE4A}"/>
                  </a:ext>
                </a:extLst>
              </p:cNvPr>
              <p:cNvCxnSpPr/>
              <p:nvPr/>
            </p:nvCxnSpPr>
            <p:spPr>
              <a:xfrm>
                <a:off x="7692754"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3DEFAA35-4CB3-1F45-BAEE-476D20B15A84}"/>
              </a:ext>
            </a:extLst>
          </p:cNvPr>
          <p:cNvSpPr>
            <a:spLocks noGrp="1"/>
          </p:cNvSpPr>
          <p:nvPr>
            <p:ph type="body" sz="quarter" idx="11" hasCustomPrompt="1"/>
          </p:nvPr>
        </p:nvSpPr>
        <p:spPr>
          <a:xfrm>
            <a:off x="1359032" y="1473546"/>
            <a:ext cx="3153302"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7FF0F13-041E-044E-AD33-922C3CB375C4}"/>
              </a:ext>
            </a:extLst>
          </p:cNvPr>
          <p:cNvSpPr>
            <a:spLocks noGrp="1"/>
          </p:cNvSpPr>
          <p:nvPr>
            <p:ph type="body" sz="quarter" idx="12" hasCustomPrompt="1"/>
          </p:nvPr>
        </p:nvSpPr>
        <p:spPr>
          <a:xfrm>
            <a:off x="1359032" y="2896270"/>
            <a:ext cx="3153302" cy="3277359"/>
          </a:xfrm>
        </p:spPr>
        <p:txBody>
          <a:bodyPr/>
          <a:lstStyle>
            <a:lvl1pPr marL="0" indent="0">
              <a:buNone/>
              <a:defRPr/>
            </a:lvl1pPr>
          </a:lstStyle>
          <a:p>
            <a:pPr lvl="0"/>
            <a:r>
              <a:rPr lang="en-US"/>
              <a:t>Text </a:t>
            </a:r>
            <a:r>
              <a:rPr lang="en-US" err="1"/>
              <a:t>hinzufügen</a:t>
            </a:r>
            <a:endParaRPr lang="en-US"/>
          </a:p>
        </p:txBody>
      </p:sp>
      <p:pic>
        <p:nvPicPr>
          <p:cNvPr id="15" name="Picture 14">
            <a:extLst>
              <a:ext uri="{FF2B5EF4-FFF2-40B4-BE49-F238E27FC236}">
                <a16:creationId xmlns:a16="http://schemas.microsoft.com/office/drawing/2014/main" id="{922533DE-A10F-0E47-B4B7-C014A0A72A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207" y="0"/>
            <a:ext cx="6094413" cy="6859588"/>
          </a:xfrm>
          <a:prstGeom prst="rect">
            <a:avLst/>
          </a:prstGeom>
        </p:spPr>
      </p:pic>
    </p:spTree>
    <p:extLst>
      <p:ext uri="{BB962C8B-B14F-4D97-AF65-F5344CB8AC3E}">
        <p14:creationId xmlns:p14="http://schemas.microsoft.com/office/powerpoint/2010/main" val="272334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8914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408139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olie mit Headline und Text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0AA62B-161A-A447-9506-712B9E2416E1}"/>
              </a:ext>
            </a:extLst>
          </p:cNvPr>
          <p:cNvSpPr>
            <a:spLocks noGrp="1"/>
          </p:cNvSpPr>
          <p:nvPr>
            <p:ph type="body" sz="quarter" idx="10"/>
          </p:nvPr>
        </p:nvSpPr>
        <p:spPr>
          <a:xfrm>
            <a:off x="583048" y="1371918"/>
            <a:ext cx="11074104" cy="4496841"/>
          </a:xfrm>
          <a:prstGeom prst="rect">
            <a:avLst/>
          </a:prstGeom>
        </p:spPr>
        <p:txBody>
          <a:bodyPr/>
          <a:lstStyle>
            <a:lvl1pPr marL="0" indent="0">
              <a:lnSpc>
                <a:spcPct val="150000"/>
              </a:lnSpc>
              <a:spcBef>
                <a:spcPts val="0"/>
              </a:spcBef>
              <a:spcAft>
                <a:spcPts val="600"/>
              </a:spcAft>
              <a:buNone/>
              <a:defRPr sz="1999" baseline="0">
                <a:latin typeface="Calibri Light" panose="020F0302020204030204" pitchFamily="34" charset="0"/>
              </a:defRPr>
            </a:lvl1pPr>
            <a:lvl2pPr marL="457130" indent="0" algn="l">
              <a:buNone/>
              <a:defRPr>
                <a:latin typeface="+mj-lt"/>
              </a:defRPr>
            </a:lvl2pPr>
            <a:lvl3pPr marL="914263" indent="0" algn="l">
              <a:buNone/>
              <a:defRPr>
                <a:latin typeface="+mj-lt"/>
              </a:defRPr>
            </a:lvl3pPr>
            <a:lvl4pPr marL="1371393" indent="0" algn="l">
              <a:buNone/>
              <a:defRPr>
                <a:latin typeface="+mj-lt"/>
              </a:defRPr>
            </a:lvl4pPr>
            <a:lvl5pPr marL="1828526" indent="0" algn="l">
              <a:buNone/>
              <a:defRPr>
                <a:latin typeface="+mj-lt"/>
              </a:defRPr>
            </a:lvl5pPr>
          </a:lstStyle>
          <a:p>
            <a:pPr lvl="0"/>
            <a:r>
              <a:rPr lang="en-US"/>
              <a:t>Edit Master text styles</a:t>
            </a:r>
          </a:p>
          <a:p>
            <a:pPr lvl="0"/>
            <a:r>
              <a:rPr lang="en-US"/>
              <a:t>Second level</a:t>
            </a:r>
          </a:p>
          <a:p>
            <a:pPr lvl="0"/>
            <a:r>
              <a:rPr lang="en-US"/>
              <a:t>Third level</a:t>
            </a:r>
          </a:p>
          <a:p>
            <a:pPr lvl="0"/>
            <a:r>
              <a:rPr lang="en-US"/>
              <a:t>Fourth level</a:t>
            </a:r>
          </a:p>
          <a:p>
            <a:pPr lvl="0"/>
            <a:r>
              <a:rPr lang="en-US"/>
              <a:t>Fifth level</a:t>
            </a:r>
            <a:endParaRPr lang="de-DE"/>
          </a:p>
        </p:txBody>
      </p:sp>
      <p:cxnSp>
        <p:nvCxnSpPr>
          <p:cNvPr id="9" name="Straight Connector 8">
            <a:extLst>
              <a:ext uri="{FF2B5EF4-FFF2-40B4-BE49-F238E27FC236}">
                <a16:creationId xmlns:a16="http://schemas.microsoft.com/office/drawing/2014/main" id="{6EE2682B-B675-864A-B498-70CE40CBA5C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750011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lie mit Headline und 2 Spalten Tex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CD522D1-DAF9-B945-9DC0-B15E95C61E20}"/>
              </a:ext>
            </a:extLst>
          </p:cNvPr>
          <p:cNvSpPr>
            <a:spLocks noGrp="1"/>
          </p:cNvSpPr>
          <p:nvPr>
            <p:ph type="body" sz="quarter" idx="10"/>
          </p:nvPr>
        </p:nvSpPr>
        <p:spPr>
          <a:xfrm>
            <a:off x="547520" y="1371918"/>
            <a:ext cx="6856214" cy="393683"/>
          </a:xfrm>
          <a:prstGeom prst="rect">
            <a:avLst/>
          </a:prstGeom>
        </p:spPr>
        <p:txBody>
          <a:bodyPr/>
          <a:lstStyle/>
          <a:p>
            <a:pPr lvl="0"/>
            <a:r>
              <a:rPr lang="en-US"/>
              <a:t>Edit Master text styles</a:t>
            </a:r>
          </a:p>
        </p:txBody>
      </p:sp>
      <p:sp>
        <p:nvSpPr>
          <p:cNvPr id="16" name="Text Placeholder 15">
            <a:extLst>
              <a:ext uri="{FF2B5EF4-FFF2-40B4-BE49-F238E27FC236}">
                <a16:creationId xmlns:a16="http://schemas.microsoft.com/office/drawing/2014/main" id="{32B8415E-3DE5-E348-B901-3DE5D2DA6E66}"/>
              </a:ext>
            </a:extLst>
          </p:cNvPr>
          <p:cNvSpPr>
            <a:spLocks noGrp="1"/>
          </p:cNvSpPr>
          <p:nvPr>
            <p:ph type="body" sz="quarter" idx="12"/>
          </p:nvPr>
        </p:nvSpPr>
        <p:spPr>
          <a:xfrm>
            <a:off x="547520" y="1989599"/>
            <a:ext cx="5475475" cy="503354"/>
          </a:xfrm>
          <a:noFill/>
        </p:spPr>
        <p:txBody>
          <a:bodyPr anchor="ctr"/>
          <a:lstStyle>
            <a:lvl1pPr marL="0" indent="0">
              <a:buNone/>
              <a:defRPr sz="1799"/>
            </a:lvl1pPr>
          </a:lstStyle>
          <a:p>
            <a:pPr lvl="0"/>
            <a:r>
              <a:rPr lang="en-US"/>
              <a:t>Edit Master text style</a:t>
            </a:r>
          </a:p>
        </p:txBody>
      </p:sp>
      <p:sp>
        <p:nvSpPr>
          <p:cNvPr id="17" name="Text Placeholder 15">
            <a:extLst>
              <a:ext uri="{FF2B5EF4-FFF2-40B4-BE49-F238E27FC236}">
                <a16:creationId xmlns:a16="http://schemas.microsoft.com/office/drawing/2014/main" id="{927901D7-F7D8-4F48-8944-D0F24461E752}"/>
              </a:ext>
            </a:extLst>
          </p:cNvPr>
          <p:cNvSpPr>
            <a:spLocks noGrp="1"/>
          </p:cNvSpPr>
          <p:nvPr>
            <p:ph type="body" sz="quarter" idx="13"/>
          </p:nvPr>
        </p:nvSpPr>
        <p:spPr>
          <a:xfrm>
            <a:off x="6173770" y="1989599"/>
            <a:ext cx="5475475" cy="503354"/>
          </a:xfrm>
          <a:noFill/>
        </p:spPr>
        <p:txBody>
          <a:bodyPr anchor="ctr"/>
          <a:lstStyle>
            <a:lvl1pPr marL="0" indent="0">
              <a:buNone/>
              <a:defRPr sz="1799"/>
            </a:lvl1pPr>
          </a:lstStyle>
          <a:p>
            <a:pPr lvl="0"/>
            <a:r>
              <a:rPr lang="en-US"/>
              <a:t>Edit Master text style</a:t>
            </a:r>
          </a:p>
        </p:txBody>
      </p:sp>
      <p:sp>
        <p:nvSpPr>
          <p:cNvPr id="19" name="Text Placeholder 18">
            <a:extLst>
              <a:ext uri="{FF2B5EF4-FFF2-40B4-BE49-F238E27FC236}">
                <a16:creationId xmlns:a16="http://schemas.microsoft.com/office/drawing/2014/main" id="{621D45F5-F1E3-D740-A2F1-B02164615BF7}"/>
              </a:ext>
            </a:extLst>
          </p:cNvPr>
          <p:cNvSpPr>
            <a:spLocks noGrp="1"/>
          </p:cNvSpPr>
          <p:nvPr>
            <p:ph type="body" sz="quarter" idx="14" hasCustomPrompt="1"/>
          </p:nvPr>
        </p:nvSpPr>
        <p:spPr>
          <a:xfrm>
            <a:off x="54752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sp>
        <p:nvSpPr>
          <p:cNvPr id="20" name="Text Placeholder 18">
            <a:extLst>
              <a:ext uri="{FF2B5EF4-FFF2-40B4-BE49-F238E27FC236}">
                <a16:creationId xmlns:a16="http://schemas.microsoft.com/office/drawing/2014/main" id="{FCC6084D-3019-8841-A33F-DF3163FC126D}"/>
              </a:ext>
            </a:extLst>
          </p:cNvPr>
          <p:cNvSpPr>
            <a:spLocks noGrp="1"/>
          </p:cNvSpPr>
          <p:nvPr>
            <p:ph type="body" sz="quarter" idx="15" hasCustomPrompt="1"/>
          </p:nvPr>
        </p:nvSpPr>
        <p:spPr>
          <a:xfrm>
            <a:off x="617377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cxnSp>
        <p:nvCxnSpPr>
          <p:cNvPr id="9" name="Straight Connector 8">
            <a:extLst>
              <a:ext uri="{FF2B5EF4-FFF2-40B4-BE49-F238E27FC236}">
                <a16:creationId xmlns:a16="http://schemas.microsoft.com/office/drawing/2014/main" id="{CB3A0C89-282D-8344-A845-7B6D56F958F4}"/>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2" name="Textplatzhalter 9">
            <a:extLst>
              <a:ext uri="{FF2B5EF4-FFF2-40B4-BE49-F238E27FC236}">
                <a16:creationId xmlns:a16="http://schemas.microsoft.com/office/drawing/2014/main" id="{4BC180E9-17C0-44DB-BE67-341803F4CFB7}"/>
              </a:ext>
            </a:extLst>
          </p:cNvPr>
          <p:cNvSpPr>
            <a:spLocks noGrp="1"/>
          </p:cNvSpPr>
          <p:nvPr>
            <p:ph type="body" sz="quarter" idx="16"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5"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21"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188930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olie mit Headline und Bild">
    <p:spTree>
      <p:nvGrpSpPr>
        <p:cNvPr id="1" name=""/>
        <p:cNvGrpSpPr/>
        <p:nvPr/>
      </p:nvGrpSpPr>
      <p:grpSpPr>
        <a:xfrm>
          <a:off x="0" y="0"/>
          <a:ext cx="0" cy="0"/>
          <a:chOff x="0" y="0"/>
          <a:chExt cx="0" cy="0"/>
        </a:xfrm>
      </p:grpSpPr>
      <p:sp>
        <p:nvSpPr>
          <p:cNvPr id="7" name="Rectangle 6"/>
          <p:cNvSpPr/>
          <p:nvPr userDrawn="1"/>
        </p:nvSpPr>
        <p:spPr>
          <a:xfrm>
            <a:off x="0" y="1600571"/>
            <a:ext cx="12190413" cy="3658447"/>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6" name="Picture Placeholder 5"/>
          <p:cNvSpPr>
            <a:spLocks noGrp="1"/>
          </p:cNvSpPr>
          <p:nvPr>
            <p:ph type="pic" sz="quarter" idx="11"/>
          </p:nvPr>
        </p:nvSpPr>
        <p:spPr>
          <a:xfrm>
            <a:off x="0" y="1600571"/>
            <a:ext cx="12190413"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9" name="Straight Connector 8">
            <a:extLst>
              <a:ext uri="{FF2B5EF4-FFF2-40B4-BE49-F238E27FC236}">
                <a16:creationId xmlns:a16="http://schemas.microsoft.com/office/drawing/2014/main" id="{483A9F27-BD40-9740-8F88-8E41A9C75C4D}"/>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87288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8" name="Untertitel 2"/>
          <p:cNvSpPr>
            <a:spLocks noGrp="1"/>
          </p:cNvSpPr>
          <p:nvPr>
            <p:ph type="subTitle" idx="1"/>
          </p:nvPr>
        </p:nvSpPr>
        <p:spPr bwMode="gray">
          <a:xfrm>
            <a:off x="409577" y="739138"/>
            <a:ext cx="11348419" cy="426661"/>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0"/>
          </p:nvPr>
        </p:nvSpPr>
        <p:spPr/>
        <p:txBody>
          <a:bodyPr/>
          <a:lstStyle/>
          <a:p>
            <a:fld id="{240B8B49-E528-440D-BD5E-1E3B13A66A63}" type="datetime1">
              <a:rPr lang="bg-BG" smtClean="0"/>
              <a:t>30.6.2021 г.</a:t>
            </a:fld>
            <a:endParaRPr lang="de-DE"/>
          </a:p>
        </p:txBody>
      </p:sp>
      <p:sp>
        <p:nvSpPr>
          <p:cNvPr id="11" name="Fußzeilenplatzhalter 10"/>
          <p:cNvSpPr>
            <a:spLocks noGrp="1"/>
          </p:cNvSpPr>
          <p:nvPr>
            <p:ph type="ftr" sz="quarter" idx="11"/>
          </p:nvPr>
        </p:nvSpPr>
        <p:spPr/>
        <p:txBody>
          <a:bodyPr/>
          <a:lstStyle/>
          <a:p>
            <a:r>
              <a:rPr lang="de-DE"/>
              <a:t>Bereichsbezeichnung oder Projekt  //  Titel der Präsentation  //  XX.XX.20XX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9" name="Textplatzhalter 8"/>
          <p:cNvSpPr>
            <a:spLocks noGrp="1"/>
          </p:cNvSpPr>
          <p:nvPr>
            <p:ph type="body" sz="quarter" idx="13"/>
          </p:nvPr>
        </p:nvSpPr>
        <p:spPr bwMode="gray">
          <a:xfrm>
            <a:off x="407195" y="1326455"/>
            <a:ext cx="11350800"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933019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olie mit Headline und Video">
    <p:spTree>
      <p:nvGrpSpPr>
        <p:cNvPr id="1" name=""/>
        <p:cNvGrpSpPr/>
        <p:nvPr/>
      </p:nvGrpSpPr>
      <p:grpSpPr>
        <a:xfrm>
          <a:off x="0" y="0"/>
          <a:ext cx="0" cy="0"/>
          <a:chOff x="0" y="0"/>
          <a:chExt cx="0" cy="0"/>
        </a:xfrm>
      </p:grpSpPr>
      <p:sp>
        <p:nvSpPr>
          <p:cNvPr id="7" name="Rectangle 6"/>
          <p:cNvSpPr/>
          <p:nvPr userDrawn="1"/>
        </p:nvSpPr>
        <p:spPr>
          <a:xfrm>
            <a:off x="0" y="1295700"/>
            <a:ext cx="12190413" cy="4801712"/>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3" name="Media Placeholder 2">
            <a:extLst>
              <a:ext uri="{FF2B5EF4-FFF2-40B4-BE49-F238E27FC236}">
                <a16:creationId xmlns:a16="http://schemas.microsoft.com/office/drawing/2014/main" id="{08449E29-13F3-BC40-9A41-83715958A037}"/>
              </a:ext>
            </a:extLst>
          </p:cNvPr>
          <p:cNvSpPr>
            <a:spLocks noGrp="1"/>
          </p:cNvSpPr>
          <p:nvPr>
            <p:ph type="media" sz="quarter" idx="10"/>
          </p:nvPr>
        </p:nvSpPr>
        <p:spPr>
          <a:xfrm>
            <a:off x="0" y="1295700"/>
            <a:ext cx="12190413" cy="4801712"/>
          </a:xfrm>
          <a:prstGeom prst="rect">
            <a:avLst/>
          </a:prstGeom>
        </p:spPr>
        <p:txBody>
          <a:bodyPr/>
          <a:lstStyle/>
          <a:p>
            <a:endParaRPr lang="de-DE"/>
          </a:p>
        </p:txBody>
      </p:sp>
      <p:cxnSp>
        <p:nvCxnSpPr>
          <p:cNvPr id="8" name="Straight Connector 7">
            <a:extLst>
              <a:ext uri="{FF2B5EF4-FFF2-40B4-BE49-F238E27FC236}">
                <a16:creationId xmlns:a16="http://schemas.microsoft.com/office/drawing/2014/main" id="{BA849E2F-0A29-CB40-AC1F-8164D3B22ACE}"/>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0"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09011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lie mit Headline und Bild 2">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5206"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7" name="Straight Connector 6">
            <a:extLst>
              <a:ext uri="{FF2B5EF4-FFF2-40B4-BE49-F238E27FC236}">
                <a16:creationId xmlns:a16="http://schemas.microsoft.com/office/drawing/2014/main" id="{2A044D97-5B62-BD4F-8BD5-BC25B61CFEEA}"/>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66126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olie mit Headline und Bild 3">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8" name="Straight Connector 7">
            <a:extLst>
              <a:ext uri="{FF2B5EF4-FFF2-40B4-BE49-F238E27FC236}">
                <a16:creationId xmlns:a16="http://schemas.microsoft.com/office/drawing/2014/main" id="{49DEDBE2-5578-0045-8642-014FC4FD110F}"/>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5026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olie mit Headline und Bild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5206" y="0"/>
            <a:ext cx="6095207" cy="6859588"/>
          </a:xfrm>
          <a:prstGeom prst="rect">
            <a:avLst/>
          </a:prstGeom>
        </p:spPr>
        <p:txBody>
          <a:bodyPr/>
          <a:lstStyle>
            <a:lvl1pPr>
              <a:defRPr b="0" i="0">
                <a:latin typeface="Calibri Light" panose="020F0302020204030204" pitchFamily="34" charset="0"/>
              </a:defRPr>
            </a:lvl1pPr>
          </a:lstStyle>
          <a:p>
            <a:endParaRPr lang="uk-UA"/>
          </a:p>
        </p:txBody>
      </p:sp>
      <p:cxnSp>
        <p:nvCxnSpPr>
          <p:cNvPr id="6" name="Straight Connector 5">
            <a:extLst>
              <a:ext uri="{FF2B5EF4-FFF2-40B4-BE49-F238E27FC236}">
                <a16:creationId xmlns:a16="http://schemas.microsoft.com/office/drawing/2014/main" id="{35577CC9-D946-554B-A9C7-4CA74BD7744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545878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5458784"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98370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extLst>
              <p:ext uri="{D42A27DB-BD31-4B8C-83A1-F6EECF244321}">
                <p14:modId xmlns:p14="http://schemas.microsoft.com/office/powerpoint/2010/main" val="926311348"/>
              </p:ext>
            </p:extLst>
          </p:nvPr>
        </p:nvGraphicFramePr>
        <p:xfrm>
          <a:off x="584125" y="1295700"/>
          <a:ext cx="10691332" cy="3931298"/>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1</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2</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3</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670989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extLst>
              <p:ext uri="{D42A27DB-BD31-4B8C-83A1-F6EECF244321}">
                <p14:modId xmlns:p14="http://schemas.microsoft.com/office/powerpoint/2010/main" val="1965901795"/>
              </p:ext>
            </p:extLst>
          </p:nvPr>
        </p:nvGraphicFramePr>
        <p:xfrm>
          <a:off x="584125" y="1295700"/>
          <a:ext cx="10691332" cy="3931298"/>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4</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5</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6</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46028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6"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7"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8"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11395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Folie mit Headline auf dunklem Hintergrun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057658" y="1448135"/>
            <a:ext cx="8079382"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66736" cy="685800"/>
              <a:chOff x="6324600" y="4114799"/>
              <a:chExt cx="366736"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66736"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50451" y="3182898"/>
              <a:ext cx="366736" cy="685800"/>
              <a:chOff x="6324600" y="4114799"/>
              <a:chExt cx="366736"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66736"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ext Placeholder 14">
            <a:extLst>
              <a:ext uri="{FF2B5EF4-FFF2-40B4-BE49-F238E27FC236}">
                <a16:creationId xmlns:a16="http://schemas.microsoft.com/office/drawing/2014/main" id="{82312B3D-9F22-A34F-8380-B812E286AAFB}"/>
              </a:ext>
            </a:extLst>
          </p:cNvPr>
          <p:cNvSpPr>
            <a:spLocks noGrp="1"/>
          </p:cNvSpPr>
          <p:nvPr>
            <p:ph type="body" sz="quarter" idx="11" hasCustomPrompt="1"/>
          </p:nvPr>
        </p:nvSpPr>
        <p:spPr>
          <a:xfrm>
            <a:off x="2133838" y="1549761"/>
            <a:ext cx="7922737"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Tree>
    <p:extLst>
      <p:ext uri="{BB962C8B-B14F-4D97-AF65-F5344CB8AC3E}">
        <p14:creationId xmlns:p14="http://schemas.microsoft.com/office/powerpoint/2010/main" val="416199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Übergangsfolie 1">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133838" y="1448135"/>
            <a:ext cx="7846556"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77618" cy="685800"/>
              <a:chOff x="6324600" y="4114799"/>
              <a:chExt cx="377618"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39569" y="3182898"/>
              <a:ext cx="377618" cy="685800"/>
              <a:chOff x="6324600" y="4114799"/>
              <a:chExt cx="377618"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ext Placeholder 14">
            <a:extLst>
              <a:ext uri="{FF2B5EF4-FFF2-40B4-BE49-F238E27FC236}">
                <a16:creationId xmlns:a16="http://schemas.microsoft.com/office/drawing/2014/main" id="{82312B3D-9F22-A34F-8380-B812E286AAFB}"/>
              </a:ext>
            </a:extLst>
          </p:cNvPr>
          <p:cNvSpPr>
            <a:spLocks noGrp="1"/>
          </p:cNvSpPr>
          <p:nvPr>
            <p:ph type="body" sz="quarter" idx="11" hasCustomPrompt="1"/>
          </p:nvPr>
        </p:nvSpPr>
        <p:spPr>
          <a:xfrm>
            <a:off x="2286198" y="1549761"/>
            <a:ext cx="7541836"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Tree>
    <p:extLst>
      <p:ext uri="{BB962C8B-B14F-4D97-AF65-F5344CB8AC3E}">
        <p14:creationId xmlns:p14="http://schemas.microsoft.com/office/powerpoint/2010/main" val="15666412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Übergangsfolie 2">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05911A55-2BBA-EB47-8B20-A2A4AB24940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7" name="Rectangle 6">
            <a:extLst>
              <a:ext uri="{FF2B5EF4-FFF2-40B4-BE49-F238E27FC236}">
                <a16:creationId xmlns:a16="http://schemas.microsoft.com/office/drawing/2014/main" id="{F47350A4-4503-0C41-B6F0-F348477E1A0F}"/>
              </a:ext>
            </a:extLst>
          </p:cNvPr>
          <p:cNvSpPr/>
          <p:nvPr userDrawn="1"/>
        </p:nvSpPr>
        <p:spPr>
          <a:xfrm>
            <a:off x="795" y="1"/>
            <a:ext cx="12188825"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2397036"/>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6" name="Title 15">
            <a:extLst>
              <a:ext uri="{FF2B5EF4-FFF2-40B4-BE49-F238E27FC236}">
                <a16:creationId xmlns:a16="http://schemas.microsoft.com/office/drawing/2014/main" id="{8D8BFA0A-A4AF-7C4D-9E6D-B254259EAA3B}"/>
              </a:ext>
            </a:extLst>
          </p:cNvPr>
          <p:cNvSpPr>
            <a:spLocks noGrp="1"/>
          </p:cNvSpPr>
          <p:nvPr>
            <p:ph type="title" hasCustomPrompt="1"/>
          </p:nvPr>
        </p:nvSpPr>
        <p:spPr>
          <a:xfrm>
            <a:off x="1555346" y="2623353"/>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spTree>
    <p:extLst>
      <p:ext uri="{BB962C8B-B14F-4D97-AF65-F5344CB8AC3E}">
        <p14:creationId xmlns:p14="http://schemas.microsoft.com/office/powerpoint/2010/main" val="17599864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Übergangsfolie 1">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133838" y="1448135"/>
            <a:ext cx="7846556"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77618" cy="685800"/>
              <a:chOff x="6324600" y="4114799"/>
              <a:chExt cx="377618"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39569" y="3182898"/>
              <a:ext cx="377618" cy="685800"/>
              <a:chOff x="6324600" y="4114799"/>
              <a:chExt cx="377618"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ext Placeholder 14">
            <a:extLst>
              <a:ext uri="{FF2B5EF4-FFF2-40B4-BE49-F238E27FC236}">
                <a16:creationId xmlns:a16="http://schemas.microsoft.com/office/drawing/2014/main" id="{82312B3D-9F22-A34F-8380-B812E286AAFB}"/>
              </a:ext>
            </a:extLst>
          </p:cNvPr>
          <p:cNvSpPr>
            <a:spLocks noGrp="1"/>
          </p:cNvSpPr>
          <p:nvPr>
            <p:ph type="body" sz="quarter" idx="11" hasCustomPrompt="1"/>
          </p:nvPr>
        </p:nvSpPr>
        <p:spPr>
          <a:xfrm>
            <a:off x="2286198" y="1549761"/>
            <a:ext cx="7541836"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Tree>
    <p:extLst>
      <p:ext uri="{BB962C8B-B14F-4D97-AF65-F5344CB8AC3E}">
        <p14:creationId xmlns:p14="http://schemas.microsoft.com/office/powerpoint/2010/main" val="39922404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795" y="0"/>
            <a:ext cx="12290399"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333239991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Übergangsfolie 4">
    <p:spTree>
      <p:nvGrpSpPr>
        <p:cNvPr id="1" name=""/>
        <p:cNvGrpSpPr/>
        <p:nvPr/>
      </p:nvGrpSpPr>
      <p:grpSpPr>
        <a:xfrm>
          <a:off x="0" y="0"/>
          <a:ext cx="0" cy="0"/>
          <a:chOff x="0" y="0"/>
          <a:chExt cx="0" cy="0"/>
        </a:xfrm>
      </p:grpSpPr>
      <p:pic>
        <p:nvPicPr>
          <p:cNvPr id="16" name="Picture Placeholder 3">
            <a:extLst>
              <a:ext uri="{FF2B5EF4-FFF2-40B4-BE49-F238E27FC236}">
                <a16:creationId xmlns:a16="http://schemas.microsoft.com/office/drawing/2014/main" id="{89E4948F-A1B0-A14B-9053-F7DBE1AE29B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7" name="Rectangle 16">
            <a:extLst>
              <a:ext uri="{FF2B5EF4-FFF2-40B4-BE49-F238E27FC236}">
                <a16:creationId xmlns:a16="http://schemas.microsoft.com/office/drawing/2014/main" id="{4C95401D-19A4-A241-BA4A-9471BA3C0F7D}"/>
              </a:ext>
            </a:extLst>
          </p:cNvPr>
          <p:cNvSpPr/>
          <p:nvPr userDrawn="1"/>
        </p:nvSpPr>
        <p:spPr>
          <a:xfrm>
            <a:off x="795" y="1"/>
            <a:ext cx="12188825" cy="6859588"/>
          </a:xfrm>
          <a:prstGeom prst="rect">
            <a:avLst/>
          </a:prstGeom>
          <a:solidFill>
            <a:schemeClr val="tx1">
              <a:alpha val="67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34" name="Group 33">
            <a:extLst>
              <a:ext uri="{FF2B5EF4-FFF2-40B4-BE49-F238E27FC236}">
                <a16:creationId xmlns:a16="http://schemas.microsoft.com/office/drawing/2014/main" id="{E76F4E0C-3C69-1245-93D8-EC665AA8C3D3}"/>
              </a:ext>
            </a:extLst>
          </p:cNvPr>
          <p:cNvGrpSpPr/>
          <p:nvPr userDrawn="1"/>
        </p:nvGrpSpPr>
        <p:grpSpPr>
          <a:xfrm>
            <a:off x="2895640" y="1371917"/>
            <a:ext cx="6399133" cy="914612"/>
            <a:chOff x="5834743" y="2497098"/>
            <a:chExt cx="5114290" cy="1371600"/>
          </a:xfrm>
        </p:grpSpPr>
        <p:grpSp>
          <p:nvGrpSpPr>
            <p:cNvPr id="35" name="Group 34">
              <a:extLst>
                <a:ext uri="{FF2B5EF4-FFF2-40B4-BE49-F238E27FC236}">
                  <a16:creationId xmlns:a16="http://schemas.microsoft.com/office/drawing/2014/main" id="{34798E8F-828A-5C4F-9EB5-C2E4B0F13F18}"/>
                </a:ext>
              </a:extLst>
            </p:cNvPr>
            <p:cNvGrpSpPr/>
            <p:nvPr/>
          </p:nvGrpSpPr>
          <p:grpSpPr>
            <a:xfrm>
              <a:off x="5834743" y="2497098"/>
              <a:ext cx="365306" cy="685800"/>
              <a:chOff x="6324600" y="4114799"/>
              <a:chExt cx="365306" cy="685800"/>
            </a:xfrm>
          </p:grpSpPr>
          <p:cxnSp>
            <p:nvCxnSpPr>
              <p:cNvPr id="39" name="Straight Connector 38">
                <a:extLst>
                  <a:ext uri="{FF2B5EF4-FFF2-40B4-BE49-F238E27FC236}">
                    <a16:creationId xmlns:a16="http://schemas.microsoft.com/office/drawing/2014/main" id="{D2709EF0-84D9-CB48-9492-884964C897A0}"/>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3543028-17C3-4B47-8B54-3B38108BA58B}"/>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B8086CC-23FA-C342-A24A-188E3D3C9090}"/>
                </a:ext>
              </a:extLst>
            </p:cNvPr>
            <p:cNvGrpSpPr/>
            <p:nvPr/>
          </p:nvGrpSpPr>
          <p:grpSpPr>
            <a:xfrm rot="10800000">
              <a:off x="10583726" y="3182898"/>
              <a:ext cx="365307" cy="685800"/>
              <a:chOff x="7692754" y="4114799"/>
              <a:chExt cx="365307" cy="685800"/>
            </a:xfrm>
          </p:grpSpPr>
          <p:cxnSp>
            <p:nvCxnSpPr>
              <p:cNvPr id="37" name="Straight Connector 36">
                <a:extLst>
                  <a:ext uri="{FF2B5EF4-FFF2-40B4-BE49-F238E27FC236}">
                    <a16:creationId xmlns:a16="http://schemas.microsoft.com/office/drawing/2014/main" id="{99576AD2-44B0-EB42-88F0-040678C010EB}"/>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FF17D0-A68D-0242-89C6-52728A0F9551}"/>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1" name="Text Placeholder 14">
            <a:extLst>
              <a:ext uri="{FF2B5EF4-FFF2-40B4-BE49-F238E27FC236}">
                <a16:creationId xmlns:a16="http://schemas.microsoft.com/office/drawing/2014/main" id="{4C2F4E64-32BD-954F-923F-8D5A1DC88F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14" name="Text Placeholder 4">
            <a:extLst>
              <a:ext uri="{FF2B5EF4-FFF2-40B4-BE49-F238E27FC236}">
                <a16:creationId xmlns:a16="http://schemas.microsoft.com/office/drawing/2014/main" id="{A51DE688-1E98-4A4E-B536-DC3F3CA2FCFE}"/>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27889712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ransition Folie 2">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1448135"/>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itle 15">
            <a:extLst>
              <a:ext uri="{FF2B5EF4-FFF2-40B4-BE49-F238E27FC236}">
                <a16:creationId xmlns:a16="http://schemas.microsoft.com/office/drawing/2014/main" id="{F6B74D0B-E242-864E-AA40-4D33FEA306BD}"/>
              </a:ext>
            </a:extLst>
          </p:cNvPr>
          <p:cNvSpPr>
            <a:spLocks noGrp="1"/>
          </p:cNvSpPr>
          <p:nvPr>
            <p:ph type="title" hasCustomPrompt="1"/>
          </p:nvPr>
        </p:nvSpPr>
        <p:spPr>
          <a:xfrm>
            <a:off x="1555346" y="1674452"/>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pic>
        <p:nvPicPr>
          <p:cNvPr id="16" name="Picture 15">
            <a:extLst>
              <a:ext uri="{FF2B5EF4-FFF2-40B4-BE49-F238E27FC236}">
                <a16:creationId xmlns:a16="http://schemas.microsoft.com/office/drawing/2014/main" id="{D62C05F4-D78F-DF49-81A2-9678EBBEBE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3368" y="2057877"/>
            <a:ext cx="8098260" cy="5404928"/>
          </a:xfrm>
          <a:prstGeom prst="rect">
            <a:avLst/>
          </a:prstGeom>
        </p:spPr>
      </p:pic>
    </p:spTree>
    <p:extLst>
      <p:ext uri="{BB962C8B-B14F-4D97-AF65-F5344CB8AC3E}">
        <p14:creationId xmlns:p14="http://schemas.microsoft.com/office/powerpoint/2010/main" val="41469310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ransition Foli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B0474A-B9A0-6C46-AE02-23BD1BEBA3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9334" y="4344407"/>
            <a:ext cx="5942052" cy="2515182"/>
          </a:xfrm>
          <a:prstGeom prst="rect">
            <a:avLst/>
          </a:prstGeom>
        </p:spPr>
      </p:pic>
      <p:grpSp>
        <p:nvGrpSpPr>
          <p:cNvPr id="14" name="Group 13">
            <a:extLst>
              <a:ext uri="{FF2B5EF4-FFF2-40B4-BE49-F238E27FC236}">
                <a16:creationId xmlns:a16="http://schemas.microsoft.com/office/drawing/2014/main" id="{E6672EA4-BC6B-0847-9A5C-EB23DAEAE98F}"/>
              </a:ext>
            </a:extLst>
          </p:cNvPr>
          <p:cNvGrpSpPr/>
          <p:nvPr userDrawn="1"/>
        </p:nvGrpSpPr>
        <p:grpSpPr>
          <a:xfrm>
            <a:off x="2895640" y="1371917"/>
            <a:ext cx="6399133" cy="914612"/>
            <a:chOff x="5834743" y="2497098"/>
            <a:chExt cx="5114290" cy="1371600"/>
          </a:xfrm>
        </p:grpSpPr>
        <p:grpSp>
          <p:nvGrpSpPr>
            <p:cNvPr id="15" name="Group 14">
              <a:extLst>
                <a:ext uri="{FF2B5EF4-FFF2-40B4-BE49-F238E27FC236}">
                  <a16:creationId xmlns:a16="http://schemas.microsoft.com/office/drawing/2014/main" id="{5604AB6E-603B-F74F-ACCA-290417182742}"/>
                </a:ext>
              </a:extLst>
            </p:cNvPr>
            <p:cNvGrpSpPr/>
            <p:nvPr/>
          </p:nvGrpSpPr>
          <p:grpSpPr>
            <a:xfrm>
              <a:off x="5834743" y="2497098"/>
              <a:ext cx="365306" cy="685800"/>
              <a:chOff x="6324600" y="4114799"/>
              <a:chExt cx="365306" cy="685800"/>
            </a:xfrm>
          </p:grpSpPr>
          <p:cxnSp>
            <p:nvCxnSpPr>
              <p:cNvPr id="19" name="Straight Connector 18">
                <a:extLst>
                  <a:ext uri="{FF2B5EF4-FFF2-40B4-BE49-F238E27FC236}">
                    <a16:creationId xmlns:a16="http://schemas.microsoft.com/office/drawing/2014/main" id="{2C60D5DA-529F-4E4E-8265-506C620B1C04}"/>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51D8D6-1C91-4544-BD56-B1FC18C6770F}"/>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4A0AF084-5C69-394D-B165-4FD9E6DF706D}"/>
                </a:ext>
              </a:extLst>
            </p:cNvPr>
            <p:cNvGrpSpPr/>
            <p:nvPr/>
          </p:nvGrpSpPr>
          <p:grpSpPr>
            <a:xfrm rot="10800000">
              <a:off x="10583726" y="3182898"/>
              <a:ext cx="365307" cy="685800"/>
              <a:chOff x="7692754" y="4114799"/>
              <a:chExt cx="365307" cy="685800"/>
            </a:xfrm>
          </p:grpSpPr>
          <p:cxnSp>
            <p:nvCxnSpPr>
              <p:cNvPr id="17" name="Straight Connector 16">
                <a:extLst>
                  <a:ext uri="{FF2B5EF4-FFF2-40B4-BE49-F238E27FC236}">
                    <a16:creationId xmlns:a16="http://schemas.microsoft.com/office/drawing/2014/main" id="{1107CF8C-2994-7E49-9D41-3A66AB79E429}"/>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EA52515-DDEC-8047-B464-4689D8ACC343}"/>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BF0D3C91-EAB4-B040-9325-6D66621D32ED}"/>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22" name="Text Placeholder 4">
            <a:extLst>
              <a:ext uri="{FF2B5EF4-FFF2-40B4-BE49-F238E27FC236}">
                <a16:creationId xmlns:a16="http://schemas.microsoft.com/office/drawing/2014/main" id="{ECF45E9C-09B2-0F46-A319-FE06AF560E54}"/>
              </a:ext>
            </a:extLst>
          </p:cNvPr>
          <p:cNvSpPr>
            <a:spLocks noGrp="1"/>
          </p:cNvSpPr>
          <p:nvPr>
            <p:ph type="body" sz="quarter" idx="12" hasCustomPrompt="1"/>
          </p:nvPr>
        </p:nvSpPr>
        <p:spPr>
          <a:xfrm>
            <a:off x="2895640" y="2667618"/>
            <a:ext cx="6399133" cy="2972488"/>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a:t>
            </a:r>
          </a:p>
          <a:p>
            <a:pPr lvl="0"/>
            <a:endParaRPr lang="en-US"/>
          </a:p>
        </p:txBody>
      </p:sp>
    </p:spTree>
    <p:extLst>
      <p:ext uri="{BB962C8B-B14F-4D97-AF65-F5344CB8AC3E}">
        <p14:creationId xmlns:p14="http://schemas.microsoft.com/office/powerpoint/2010/main" val="33096937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ransition Folie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29A8E5-57C3-394D-A626-06A648E599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0434" r="-54842"/>
          <a:stretch/>
        </p:blipFill>
        <p:spPr>
          <a:xfrm>
            <a:off x="0" y="0"/>
            <a:ext cx="12190413" cy="6859588"/>
          </a:xfrm>
          <a:prstGeom prst="rect">
            <a:avLst/>
          </a:prstGeom>
        </p:spPr>
      </p:pic>
      <p:grpSp>
        <p:nvGrpSpPr>
          <p:cNvPr id="7" name="Group 6">
            <a:extLst>
              <a:ext uri="{FF2B5EF4-FFF2-40B4-BE49-F238E27FC236}">
                <a16:creationId xmlns:a16="http://schemas.microsoft.com/office/drawing/2014/main" id="{E3AD2963-ACB7-6945-8082-47D9F2745445}"/>
              </a:ext>
            </a:extLst>
          </p:cNvPr>
          <p:cNvGrpSpPr/>
          <p:nvPr userDrawn="1"/>
        </p:nvGrpSpPr>
        <p:grpSpPr>
          <a:xfrm>
            <a:off x="1594230" y="2431523"/>
            <a:ext cx="457081" cy="457306"/>
            <a:chOff x="6324600" y="4114799"/>
            <a:chExt cx="685800" cy="685800"/>
          </a:xfrm>
        </p:grpSpPr>
        <p:cxnSp>
          <p:nvCxnSpPr>
            <p:cNvPr id="8" name="Straight Connector 7">
              <a:extLst>
                <a:ext uri="{FF2B5EF4-FFF2-40B4-BE49-F238E27FC236}">
                  <a16:creationId xmlns:a16="http://schemas.microsoft.com/office/drawing/2014/main" id="{F2C368BD-F493-BE4F-B4C6-DDF599FD6A09}"/>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64D3EBA-7E02-AC40-80A7-CEAB83DD4EBF}"/>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7325742-3179-6F4D-BEAA-1CC708847D64}"/>
              </a:ext>
            </a:extLst>
          </p:cNvPr>
          <p:cNvGrpSpPr/>
          <p:nvPr userDrawn="1"/>
        </p:nvGrpSpPr>
        <p:grpSpPr>
          <a:xfrm rot="10800000">
            <a:off x="10139104" y="3970760"/>
            <a:ext cx="457081" cy="457306"/>
            <a:chOff x="6324600" y="4114799"/>
            <a:chExt cx="685800" cy="685800"/>
          </a:xfrm>
        </p:grpSpPr>
        <p:cxnSp>
          <p:nvCxnSpPr>
            <p:cNvPr id="11" name="Straight Connector 10">
              <a:extLst>
                <a:ext uri="{FF2B5EF4-FFF2-40B4-BE49-F238E27FC236}">
                  <a16:creationId xmlns:a16="http://schemas.microsoft.com/office/drawing/2014/main" id="{1FE28308-3F6F-9A4C-B864-560CCD7D2B1C}"/>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8B90EF6-0DB5-834E-BE04-B2217F42333C}"/>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 Placeholder 4">
            <a:extLst>
              <a:ext uri="{FF2B5EF4-FFF2-40B4-BE49-F238E27FC236}">
                <a16:creationId xmlns:a16="http://schemas.microsoft.com/office/drawing/2014/main" id="{A266DED5-47B9-F446-862A-20D8D631AEFE}"/>
              </a:ext>
            </a:extLst>
          </p:cNvPr>
          <p:cNvSpPr>
            <a:spLocks noGrp="1"/>
          </p:cNvSpPr>
          <p:nvPr>
            <p:ph type="body" sz="quarter" idx="12" hasCustomPrompt="1"/>
          </p:nvPr>
        </p:nvSpPr>
        <p:spPr>
          <a:xfrm>
            <a:off x="1752938" y="2515183"/>
            <a:ext cx="8760718" cy="1829223"/>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408730398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bluss/Kontakt Folie hel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8B9E26-7F3C-2945-A96F-6C9F4D20A03A}"/>
              </a:ext>
            </a:extLst>
          </p:cNvPr>
          <p:cNvSpPr txBox="1">
            <a:spLocks noChangeArrowheads="1"/>
          </p:cNvSpPr>
          <p:nvPr userDrawn="1"/>
        </p:nvSpPr>
        <p:spPr>
          <a:xfrm>
            <a:off x="550720" y="914612"/>
            <a:ext cx="11087387" cy="99718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de-DE" sz="4399" b="1" noProof="0">
                <a:solidFill>
                  <a:schemeClr val="accent1"/>
                </a:solidFill>
              </a:rPr>
              <a:t>Interessiert? </a:t>
            </a:r>
            <a:r>
              <a:rPr lang="de-DE" sz="4399" noProof="0">
                <a:solidFill>
                  <a:schemeClr val="tx1"/>
                </a:solidFill>
              </a:rPr>
              <a:t>Nehmen Sie Kontakt auf!</a:t>
            </a:r>
          </a:p>
          <a:p>
            <a:pPr>
              <a:defRPr/>
            </a:pPr>
            <a:endParaRPr lang="de-DE" sz="4399" noProof="0">
              <a:solidFill>
                <a:schemeClr val="tx1"/>
              </a:solidFill>
            </a:endParaRPr>
          </a:p>
          <a:p>
            <a:pPr>
              <a:defRPr/>
            </a:pPr>
            <a:endParaRPr lang="de-DE" sz="4399" noProof="0">
              <a:solidFill>
                <a:schemeClr val="tx1"/>
              </a:solidFill>
            </a:endParaRPr>
          </a:p>
        </p:txBody>
      </p:sp>
      <p:sp>
        <p:nvSpPr>
          <p:cNvPr id="7" name="Text Placeholder 6">
            <a:extLst>
              <a:ext uri="{FF2B5EF4-FFF2-40B4-BE49-F238E27FC236}">
                <a16:creationId xmlns:a16="http://schemas.microsoft.com/office/drawing/2014/main" id="{99A12DE7-EFB8-D64B-9244-0F9688EC6834}"/>
              </a:ext>
            </a:extLst>
          </p:cNvPr>
          <p:cNvSpPr>
            <a:spLocks noGrp="1"/>
          </p:cNvSpPr>
          <p:nvPr>
            <p:ph type="body" sz="quarter" idx="10" hasCustomPrompt="1"/>
          </p:nvPr>
        </p:nvSpPr>
        <p:spPr>
          <a:xfrm>
            <a:off x="576907" y="2743835"/>
            <a:ext cx="4494629" cy="3582229"/>
          </a:xfrm>
        </p:spPr>
        <p:txBody>
          <a:bodyPr/>
          <a:lstStyle>
            <a:lvl1pPr marL="0" indent="0">
              <a:buNone/>
              <a:defRPr>
                <a:latin typeface="+mj-lt"/>
              </a:defRPr>
            </a:lvl1pPr>
            <a:lvl2pPr marL="457063" indent="0">
              <a:buNone/>
              <a:defRPr>
                <a:latin typeface="+mj-lt"/>
              </a:defRPr>
            </a:lvl2pPr>
            <a:lvl3pPr marL="0" indent="0">
              <a:buNone/>
              <a:defRPr>
                <a:solidFill>
                  <a:schemeClr val="tx1"/>
                </a:solidFill>
                <a:latin typeface="+mj-lt"/>
              </a:defRPr>
            </a:lvl3pPr>
            <a:lvl4pPr marL="0" indent="0">
              <a:buNone/>
              <a:defRPr>
                <a:solidFill>
                  <a:schemeClr val="tx1"/>
                </a:solidFill>
                <a:latin typeface="+mj-lt"/>
              </a:defRPr>
            </a:lvl4pPr>
            <a:lvl5pPr marL="0" indent="0">
              <a:buNone/>
              <a:defRPr>
                <a:latin typeface="+mj-lt"/>
              </a:defRPr>
            </a:lvl5pPr>
          </a:lstStyle>
          <a:p>
            <a:pPr lvl="2"/>
            <a:r>
              <a:rPr lang="en-US"/>
              <a:t>Name</a:t>
            </a:r>
          </a:p>
          <a:p>
            <a:pPr lvl="2"/>
            <a:endParaRPr lang="en-US"/>
          </a:p>
          <a:p>
            <a:pPr lvl="3"/>
            <a:r>
              <a:rPr lang="en-US" err="1"/>
              <a:t>Adresse</a:t>
            </a:r>
            <a:endParaRPr lang="en-US"/>
          </a:p>
        </p:txBody>
      </p:sp>
      <p:pic>
        <p:nvPicPr>
          <p:cNvPr id="4" name="Picture 3">
            <a:extLst>
              <a:ext uri="{FF2B5EF4-FFF2-40B4-BE49-F238E27FC236}">
                <a16:creationId xmlns:a16="http://schemas.microsoft.com/office/drawing/2014/main" id="{AA3583F8-F3A1-4F49-8918-ECC00C2075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61295" y="5208206"/>
            <a:ext cx="1117309" cy="1117859"/>
          </a:xfrm>
          <a:prstGeom prst="rect">
            <a:avLst/>
          </a:prstGeom>
        </p:spPr>
      </p:pic>
    </p:spTree>
    <p:extLst>
      <p:ext uri="{BB962C8B-B14F-4D97-AF65-F5344CB8AC3E}">
        <p14:creationId xmlns:p14="http://schemas.microsoft.com/office/powerpoint/2010/main" val="55327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Folie mit Headline und Tex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584124" y="381038"/>
            <a:ext cx="10767514" cy="507949"/>
          </a:xfrm>
          <a:prstGeom prst="rect">
            <a:avLst/>
          </a:prstGeom>
          <a:noFill/>
        </p:spPr>
        <p:txBody>
          <a:bodyPr wrap="square" rtlCol="0" anchor="b">
            <a:spAutoFit/>
          </a:bodyPr>
          <a:lstStyle>
            <a:lvl1pPr>
              <a:defRPr lang="uk-UA" sz="2999" b="0" i="0">
                <a:latin typeface="Calibri Light" panose="020F0302020204030204" pitchFamily="34" charset="0"/>
                <a:ea typeface="Motiva Sans Light" pitchFamily="2" charset="77"/>
                <a:cs typeface="+mn-cs"/>
              </a:defRPr>
            </a:lvl1pPr>
          </a:lstStyle>
          <a:p>
            <a:pPr marL="0" lvl="0"/>
            <a:r>
              <a:rPr lang="en-US" err="1"/>
              <a:t>Überschrift</a:t>
            </a:r>
            <a:r>
              <a:rPr lang="en-US"/>
              <a:t> </a:t>
            </a:r>
            <a:r>
              <a:rPr lang="en-US" err="1"/>
              <a:t>einfügen</a:t>
            </a:r>
            <a:endParaRPr lang="uk-UA"/>
          </a:p>
        </p:txBody>
      </p:sp>
      <p:sp>
        <p:nvSpPr>
          <p:cNvPr id="4" name="Content Placeholder 2">
            <a:extLst>
              <a:ext uri="{FF2B5EF4-FFF2-40B4-BE49-F238E27FC236}">
                <a16:creationId xmlns:a16="http://schemas.microsoft.com/office/drawing/2014/main" id="{907D8EFE-B6C7-8440-B385-551BA14A92F6}"/>
              </a:ext>
            </a:extLst>
          </p:cNvPr>
          <p:cNvSpPr>
            <a:spLocks noGrp="1"/>
          </p:cNvSpPr>
          <p:nvPr>
            <p:ph idx="1" hasCustomPrompt="1"/>
          </p:nvPr>
        </p:nvSpPr>
        <p:spPr>
          <a:xfrm>
            <a:off x="583048" y="1295700"/>
            <a:ext cx="10804810" cy="4352346"/>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err="1"/>
              <a:t>Erste</a:t>
            </a:r>
            <a:r>
              <a:rPr lang="en-US"/>
              <a:t> </a:t>
            </a:r>
            <a:r>
              <a:rPr lang="en-US" err="1"/>
              <a:t>Ebene</a:t>
            </a:r>
            <a:endParaRPr lang="en-US"/>
          </a:p>
          <a:p>
            <a:pPr lvl="1"/>
            <a:r>
              <a:rPr lang="en-US" err="1"/>
              <a:t>Zweite</a:t>
            </a:r>
            <a:r>
              <a:rPr lang="en-US"/>
              <a:t> </a:t>
            </a:r>
            <a:r>
              <a:rPr lang="en-US" err="1"/>
              <a:t>Ebene</a:t>
            </a:r>
            <a:endParaRPr lang="en-US"/>
          </a:p>
          <a:p>
            <a:pPr lvl="2"/>
            <a:r>
              <a:rPr lang="en-US" err="1"/>
              <a:t>Dritte</a:t>
            </a:r>
            <a:r>
              <a:rPr lang="en-US"/>
              <a:t> </a:t>
            </a:r>
            <a:r>
              <a:rPr lang="en-US" err="1"/>
              <a:t>Ebene</a:t>
            </a:r>
            <a:endParaRPr lang="en-US"/>
          </a:p>
          <a:p>
            <a:pPr lvl="3"/>
            <a:r>
              <a:rPr lang="en-US" err="1"/>
              <a:t>Vierte</a:t>
            </a:r>
            <a:r>
              <a:rPr lang="en-US"/>
              <a:t> </a:t>
            </a:r>
            <a:r>
              <a:rPr lang="en-US" err="1"/>
              <a:t>Ebene</a:t>
            </a:r>
            <a:endParaRPr lang="en-US"/>
          </a:p>
          <a:p>
            <a:pPr lvl="4"/>
            <a:r>
              <a:rPr lang="en-US" err="1"/>
              <a:t>Fünfte</a:t>
            </a:r>
            <a:r>
              <a:rPr lang="en-US"/>
              <a:t> </a:t>
            </a:r>
            <a:r>
              <a:rPr lang="en-US" err="1"/>
              <a:t>Ebene</a:t>
            </a:r>
            <a:endParaRPr lang="de-DE"/>
          </a:p>
        </p:txBody>
      </p:sp>
      <p:cxnSp>
        <p:nvCxnSpPr>
          <p:cNvPr id="6" name="Straight Connector 5">
            <a:extLst>
              <a:ext uri="{FF2B5EF4-FFF2-40B4-BE49-F238E27FC236}">
                <a16:creationId xmlns:a16="http://schemas.microsoft.com/office/drawing/2014/main" id="{7DBF77BF-2D65-E840-8322-AB213FBCA782}"/>
              </a:ext>
            </a:extLst>
          </p:cNvPr>
          <p:cNvCxnSpPr/>
          <p:nvPr userDrawn="1"/>
        </p:nvCxnSpPr>
        <p:spPr>
          <a:xfrm>
            <a:off x="469839" y="228653"/>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3108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0">
          <p15:clr>
            <a:srgbClr val="FBAE40"/>
          </p15:clr>
        </p15:guide>
        <p15:guide id="2" pos="433">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Inhalt Folie Einleitung 1">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A2F8F88-B45D-A940-A8AE-C7E46B0A5756}"/>
              </a:ext>
            </a:extLst>
          </p:cNvPr>
          <p:cNvSpPr>
            <a:spLocks noGrp="1"/>
          </p:cNvSpPr>
          <p:nvPr>
            <p:ph type="pic" sz="quarter" idx="10"/>
          </p:nvPr>
        </p:nvSpPr>
        <p:spPr>
          <a:xfrm>
            <a:off x="0" y="0"/>
            <a:ext cx="7913612" cy="6859588"/>
          </a:xfrm>
          <a:prstGeom prst="rect">
            <a:avLst/>
          </a:prstGeom>
          <a:solidFill>
            <a:schemeClr val="accent4"/>
          </a:solidFill>
        </p:spPr>
        <p:txBody>
          <a:bodyPr/>
          <a:lstStyle>
            <a:lvl1pPr marL="0" indent="0">
              <a:buNone/>
              <a:defRPr/>
            </a:lvl1pPr>
          </a:lstStyle>
          <a:p>
            <a:endParaRPr lang="de-DE"/>
          </a:p>
        </p:txBody>
      </p:sp>
      <p:sp>
        <p:nvSpPr>
          <p:cNvPr id="5" name="Rectangle 4">
            <a:extLst>
              <a:ext uri="{FF2B5EF4-FFF2-40B4-BE49-F238E27FC236}">
                <a16:creationId xmlns:a16="http://schemas.microsoft.com/office/drawing/2014/main" id="{A83804B7-1458-F142-9784-389FA4C4E46C}"/>
              </a:ext>
            </a:extLst>
          </p:cNvPr>
          <p:cNvSpPr/>
          <p:nvPr/>
        </p:nvSpPr>
        <p:spPr>
          <a:xfrm>
            <a:off x="7923768" y="0"/>
            <a:ext cx="4266645" cy="6859588"/>
          </a:xfrm>
          <a:prstGeom prst="rect">
            <a:avLst/>
          </a:prstGeom>
          <a:solidFill>
            <a:schemeClr val="accent1">
              <a:alpha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endParaRPr>
          </a:p>
        </p:txBody>
      </p:sp>
      <p:grpSp>
        <p:nvGrpSpPr>
          <p:cNvPr id="17" name="Group 16">
            <a:extLst>
              <a:ext uri="{FF2B5EF4-FFF2-40B4-BE49-F238E27FC236}">
                <a16:creationId xmlns:a16="http://schemas.microsoft.com/office/drawing/2014/main" id="{AB6951F7-B78F-1B49-834C-11B51425A09C}"/>
              </a:ext>
            </a:extLst>
          </p:cNvPr>
          <p:cNvGrpSpPr/>
          <p:nvPr userDrawn="1"/>
        </p:nvGrpSpPr>
        <p:grpSpPr>
          <a:xfrm>
            <a:off x="8425778" y="1194076"/>
            <a:ext cx="3409084" cy="914612"/>
            <a:chOff x="5834743" y="2497098"/>
            <a:chExt cx="5114290" cy="1371600"/>
          </a:xfrm>
        </p:grpSpPr>
        <p:grpSp>
          <p:nvGrpSpPr>
            <p:cNvPr id="18" name="Group 17">
              <a:extLst>
                <a:ext uri="{FF2B5EF4-FFF2-40B4-BE49-F238E27FC236}">
                  <a16:creationId xmlns:a16="http://schemas.microsoft.com/office/drawing/2014/main" id="{ED1846AD-E918-5A48-BD9E-57E3D91B4DEA}"/>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6B05BD64-243B-E049-951D-18A5453210B7}"/>
                  </a:ext>
                </a:extLst>
              </p:cNvPr>
              <p:cNvCxnSpPr/>
              <p:nvPr/>
            </p:nvCxnSpPr>
            <p:spPr>
              <a:xfrm flipV="1">
                <a:off x="6324600"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EA18140-4F1C-4E49-9B18-2E80E543C1A4}"/>
                  </a:ext>
                </a:extLst>
              </p:cNvPr>
              <p:cNvCxnSpPr/>
              <p:nvPr/>
            </p:nvCxnSpPr>
            <p:spPr>
              <a:xfrm>
                <a:off x="6324600"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0535367-B3B0-6E46-B3EF-E299D87FC2DD}"/>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A7346A34-1B12-0543-98EC-2788286C7FB7}"/>
                  </a:ext>
                </a:extLst>
              </p:cNvPr>
              <p:cNvCxnSpPr/>
              <p:nvPr/>
            </p:nvCxnSpPr>
            <p:spPr>
              <a:xfrm flipV="1">
                <a:off x="7692754"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D8033C6-E42A-FB42-922F-752449007676}"/>
                  </a:ext>
                </a:extLst>
              </p:cNvPr>
              <p:cNvCxnSpPr/>
              <p:nvPr/>
            </p:nvCxnSpPr>
            <p:spPr>
              <a:xfrm>
                <a:off x="7692754"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2A6E46C7-CF9B-BC46-92E0-48B11AF4E9E8}"/>
              </a:ext>
            </a:extLst>
          </p:cNvPr>
          <p:cNvSpPr>
            <a:spLocks noGrp="1"/>
          </p:cNvSpPr>
          <p:nvPr>
            <p:ph type="body" sz="quarter" idx="11" hasCustomPrompt="1"/>
          </p:nvPr>
        </p:nvSpPr>
        <p:spPr>
          <a:xfrm>
            <a:off x="8524946" y="1295705"/>
            <a:ext cx="3153302" cy="678702"/>
          </a:xfrm>
          <a:prstGeom prst="rect">
            <a:avLst/>
          </a:prstGeom>
        </p:spPr>
        <p:txBody>
          <a:bodyPr anchor="ctr"/>
          <a:lstStyle>
            <a:lvl1pPr marL="0" indent="0" algn="ctr">
              <a:buNone/>
              <a:defRPr sz="3599">
                <a:solidFill>
                  <a:schemeClr val="tx2"/>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4CF1EF8-7968-EC44-82E0-A2C542A26E1F}"/>
              </a:ext>
            </a:extLst>
          </p:cNvPr>
          <p:cNvSpPr>
            <a:spLocks noGrp="1"/>
          </p:cNvSpPr>
          <p:nvPr>
            <p:ph type="body" sz="quarter" idx="13" hasCustomPrompt="1"/>
          </p:nvPr>
        </p:nvSpPr>
        <p:spPr>
          <a:xfrm>
            <a:off x="8524243" y="2515182"/>
            <a:ext cx="3153541" cy="4115753"/>
          </a:xfrm>
        </p:spPr>
        <p:txBody>
          <a:bodyPr/>
          <a:lstStyle>
            <a:lvl1pPr marL="0" indent="0">
              <a:buNone/>
              <a:defRPr/>
            </a:lvl1pPr>
          </a:lstStyle>
          <a:p>
            <a:pPr lvl="0"/>
            <a:r>
              <a:rPr lang="en-US"/>
              <a:t>Text </a:t>
            </a:r>
            <a:r>
              <a:rPr lang="en-US" err="1"/>
              <a:t>hinzufügen</a:t>
            </a:r>
            <a:endParaRPr lang="en-US"/>
          </a:p>
        </p:txBody>
      </p:sp>
    </p:spTree>
    <p:extLst>
      <p:ext uri="{BB962C8B-B14F-4D97-AF65-F5344CB8AC3E}">
        <p14:creationId xmlns:p14="http://schemas.microsoft.com/office/powerpoint/2010/main" val="419881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nhalt Folie Einleitung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9633C1-C2AF-B44B-91C0-7C104ABA605C}"/>
              </a:ext>
            </a:extLst>
          </p:cNvPr>
          <p:cNvSpPr/>
          <p:nvPr userDrawn="1"/>
        </p:nvSpPr>
        <p:spPr>
          <a:xfrm>
            <a:off x="6095206" y="1"/>
            <a:ext cx="6094413" cy="6859588"/>
          </a:xfrm>
          <a:prstGeom prst="rect">
            <a:avLst/>
          </a:prstGeom>
          <a:solidFill>
            <a:schemeClr val="accent1">
              <a:alpha val="2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23B91884-13CF-954D-9600-2C10DDD441D7}"/>
              </a:ext>
            </a:extLst>
          </p:cNvPr>
          <p:cNvGrpSpPr/>
          <p:nvPr userDrawn="1"/>
        </p:nvGrpSpPr>
        <p:grpSpPr>
          <a:xfrm>
            <a:off x="1259864" y="1371917"/>
            <a:ext cx="3409084" cy="914612"/>
            <a:chOff x="5834743" y="2497098"/>
            <a:chExt cx="5114290" cy="1371600"/>
          </a:xfrm>
        </p:grpSpPr>
        <p:grpSp>
          <p:nvGrpSpPr>
            <p:cNvPr id="18" name="Group 17">
              <a:extLst>
                <a:ext uri="{FF2B5EF4-FFF2-40B4-BE49-F238E27FC236}">
                  <a16:creationId xmlns:a16="http://schemas.microsoft.com/office/drawing/2014/main" id="{A02DF09B-65CB-E540-9911-4F6C41ABF596}"/>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0AD6C437-FA93-E344-B35E-85D220EE29D5}"/>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2209CB-2B54-F048-837D-498251630D4B}"/>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AECA584E-CC25-A545-AB86-36C3AA8FDEB2}"/>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7403D452-0E4C-4346-AB3B-444D58DF0BED}"/>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A6E899-20F3-774C-A6C0-F7586739AE4A}"/>
                  </a:ext>
                </a:extLst>
              </p:cNvPr>
              <p:cNvCxnSpPr/>
              <p:nvPr/>
            </p:nvCxnSpPr>
            <p:spPr>
              <a:xfrm>
                <a:off x="7692754"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3DEFAA35-4CB3-1F45-BAEE-476D20B15A84}"/>
              </a:ext>
            </a:extLst>
          </p:cNvPr>
          <p:cNvSpPr>
            <a:spLocks noGrp="1"/>
          </p:cNvSpPr>
          <p:nvPr>
            <p:ph type="body" sz="quarter" idx="11" hasCustomPrompt="1"/>
          </p:nvPr>
        </p:nvSpPr>
        <p:spPr>
          <a:xfrm>
            <a:off x="1359032" y="1473546"/>
            <a:ext cx="3153302"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7FF0F13-041E-044E-AD33-922C3CB375C4}"/>
              </a:ext>
            </a:extLst>
          </p:cNvPr>
          <p:cNvSpPr>
            <a:spLocks noGrp="1"/>
          </p:cNvSpPr>
          <p:nvPr>
            <p:ph type="body" sz="quarter" idx="12" hasCustomPrompt="1"/>
          </p:nvPr>
        </p:nvSpPr>
        <p:spPr>
          <a:xfrm>
            <a:off x="1359032" y="2896270"/>
            <a:ext cx="3153302" cy="3277359"/>
          </a:xfrm>
        </p:spPr>
        <p:txBody>
          <a:bodyPr/>
          <a:lstStyle>
            <a:lvl1pPr marL="0" indent="0">
              <a:buNone/>
              <a:defRPr/>
            </a:lvl1pPr>
          </a:lstStyle>
          <a:p>
            <a:pPr lvl="0"/>
            <a:r>
              <a:rPr lang="en-US"/>
              <a:t>Text </a:t>
            </a:r>
            <a:r>
              <a:rPr lang="en-US" err="1"/>
              <a:t>hinzufügen</a:t>
            </a:r>
            <a:endParaRPr lang="en-US"/>
          </a:p>
        </p:txBody>
      </p:sp>
      <p:pic>
        <p:nvPicPr>
          <p:cNvPr id="15" name="Picture 14">
            <a:extLst>
              <a:ext uri="{FF2B5EF4-FFF2-40B4-BE49-F238E27FC236}">
                <a16:creationId xmlns:a16="http://schemas.microsoft.com/office/drawing/2014/main" id="{922533DE-A10F-0E47-B4B7-C014A0A72A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207" y="0"/>
            <a:ext cx="6094413" cy="6859588"/>
          </a:xfrm>
          <a:prstGeom prst="rect">
            <a:avLst/>
          </a:prstGeom>
        </p:spPr>
      </p:pic>
    </p:spTree>
    <p:extLst>
      <p:ext uri="{BB962C8B-B14F-4D97-AF65-F5344CB8AC3E}">
        <p14:creationId xmlns:p14="http://schemas.microsoft.com/office/powerpoint/2010/main" val="781714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32656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Übergangsfolie 2">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05911A55-2BBA-EB47-8B20-A2A4AB24940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7" name="Rectangle 6">
            <a:extLst>
              <a:ext uri="{FF2B5EF4-FFF2-40B4-BE49-F238E27FC236}">
                <a16:creationId xmlns:a16="http://schemas.microsoft.com/office/drawing/2014/main" id="{F47350A4-4503-0C41-B6F0-F348477E1A0F}"/>
              </a:ext>
            </a:extLst>
          </p:cNvPr>
          <p:cNvSpPr/>
          <p:nvPr userDrawn="1"/>
        </p:nvSpPr>
        <p:spPr>
          <a:xfrm>
            <a:off x="795" y="1"/>
            <a:ext cx="12188825"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2397036"/>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6" name="Title 15">
            <a:extLst>
              <a:ext uri="{FF2B5EF4-FFF2-40B4-BE49-F238E27FC236}">
                <a16:creationId xmlns:a16="http://schemas.microsoft.com/office/drawing/2014/main" id="{8D8BFA0A-A4AF-7C4D-9E6D-B254259EAA3B}"/>
              </a:ext>
            </a:extLst>
          </p:cNvPr>
          <p:cNvSpPr>
            <a:spLocks noGrp="1"/>
          </p:cNvSpPr>
          <p:nvPr>
            <p:ph type="title" hasCustomPrompt="1"/>
          </p:nvPr>
        </p:nvSpPr>
        <p:spPr>
          <a:xfrm>
            <a:off x="1555346" y="2623353"/>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spTree>
    <p:extLst>
      <p:ext uri="{BB962C8B-B14F-4D97-AF65-F5344CB8AC3E}">
        <p14:creationId xmlns:p14="http://schemas.microsoft.com/office/powerpoint/2010/main" val="16826710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923297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olie mit Headline und Text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0AA62B-161A-A447-9506-712B9E2416E1}"/>
              </a:ext>
            </a:extLst>
          </p:cNvPr>
          <p:cNvSpPr>
            <a:spLocks noGrp="1"/>
          </p:cNvSpPr>
          <p:nvPr>
            <p:ph type="body" sz="quarter" idx="10"/>
          </p:nvPr>
        </p:nvSpPr>
        <p:spPr>
          <a:xfrm>
            <a:off x="583048" y="1371918"/>
            <a:ext cx="11074104" cy="4496841"/>
          </a:xfrm>
          <a:prstGeom prst="rect">
            <a:avLst/>
          </a:prstGeom>
        </p:spPr>
        <p:txBody>
          <a:bodyPr/>
          <a:lstStyle>
            <a:lvl1pPr marL="0" indent="0">
              <a:lnSpc>
                <a:spcPct val="150000"/>
              </a:lnSpc>
              <a:spcBef>
                <a:spcPts val="0"/>
              </a:spcBef>
              <a:spcAft>
                <a:spcPts val="600"/>
              </a:spcAft>
              <a:buNone/>
              <a:defRPr sz="1999" baseline="0">
                <a:latin typeface="Calibri Light" panose="020F0302020204030204" pitchFamily="34" charset="0"/>
              </a:defRPr>
            </a:lvl1pPr>
            <a:lvl2pPr marL="457130" indent="0" algn="l">
              <a:buNone/>
              <a:defRPr>
                <a:latin typeface="+mj-lt"/>
              </a:defRPr>
            </a:lvl2pPr>
            <a:lvl3pPr marL="914263" indent="0" algn="l">
              <a:buNone/>
              <a:defRPr>
                <a:latin typeface="+mj-lt"/>
              </a:defRPr>
            </a:lvl3pPr>
            <a:lvl4pPr marL="1371393" indent="0" algn="l">
              <a:buNone/>
              <a:defRPr>
                <a:latin typeface="+mj-lt"/>
              </a:defRPr>
            </a:lvl4pPr>
            <a:lvl5pPr marL="1828526" indent="0" algn="l">
              <a:buNone/>
              <a:defRPr>
                <a:latin typeface="+mj-lt"/>
              </a:defRPr>
            </a:lvl5pPr>
          </a:lstStyle>
          <a:p>
            <a:pPr lvl="0"/>
            <a:r>
              <a:rPr lang="en-US"/>
              <a:t>Edit Master text styles</a:t>
            </a:r>
          </a:p>
          <a:p>
            <a:pPr lvl="0"/>
            <a:r>
              <a:rPr lang="en-US"/>
              <a:t>Second level</a:t>
            </a:r>
          </a:p>
          <a:p>
            <a:pPr lvl="0"/>
            <a:r>
              <a:rPr lang="en-US"/>
              <a:t>Third level</a:t>
            </a:r>
          </a:p>
          <a:p>
            <a:pPr lvl="0"/>
            <a:r>
              <a:rPr lang="en-US"/>
              <a:t>Fourth level</a:t>
            </a:r>
          </a:p>
          <a:p>
            <a:pPr lvl="0"/>
            <a:r>
              <a:rPr lang="en-US"/>
              <a:t>Fifth level</a:t>
            </a:r>
            <a:endParaRPr lang="de-DE"/>
          </a:p>
        </p:txBody>
      </p:sp>
      <p:cxnSp>
        <p:nvCxnSpPr>
          <p:cNvPr id="9" name="Straight Connector 8">
            <a:extLst>
              <a:ext uri="{FF2B5EF4-FFF2-40B4-BE49-F238E27FC236}">
                <a16:creationId xmlns:a16="http://schemas.microsoft.com/office/drawing/2014/main" id="{6EE2682B-B675-864A-B498-70CE40CBA5C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03673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olie mit Headline und 2 Spalten Tex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CD522D1-DAF9-B945-9DC0-B15E95C61E20}"/>
              </a:ext>
            </a:extLst>
          </p:cNvPr>
          <p:cNvSpPr>
            <a:spLocks noGrp="1"/>
          </p:cNvSpPr>
          <p:nvPr>
            <p:ph type="body" sz="quarter" idx="10"/>
          </p:nvPr>
        </p:nvSpPr>
        <p:spPr>
          <a:xfrm>
            <a:off x="547520" y="1371918"/>
            <a:ext cx="6856214" cy="393683"/>
          </a:xfrm>
          <a:prstGeom prst="rect">
            <a:avLst/>
          </a:prstGeom>
        </p:spPr>
        <p:txBody>
          <a:bodyPr/>
          <a:lstStyle/>
          <a:p>
            <a:pPr lvl="0"/>
            <a:r>
              <a:rPr lang="en-US"/>
              <a:t>Edit Master text styles</a:t>
            </a:r>
          </a:p>
        </p:txBody>
      </p:sp>
      <p:sp>
        <p:nvSpPr>
          <p:cNvPr id="16" name="Text Placeholder 15">
            <a:extLst>
              <a:ext uri="{FF2B5EF4-FFF2-40B4-BE49-F238E27FC236}">
                <a16:creationId xmlns:a16="http://schemas.microsoft.com/office/drawing/2014/main" id="{32B8415E-3DE5-E348-B901-3DE5D2DA6E66}"/>
              </a:ext>
            </a:extLst>
          </p:cNvPr>
          <p:cNvSpPr>
            <a:spLocks noGrp="1"/>
          </p:cNvSpPr>
          <p:nvPr>
            <p:ph type="body" sz="quarter" idx="12"/>
          </p:nvPr>
        </p:nvSpPr>
        <p:spPr>
          <a:xfrm>
            <a:off x="547520" y="1989599"/>
            <a:ext cx="5475475" cy="503354"/>
          </a:xfrm>
          <a:noFill/>
        </p:spPr>
        <p:txBody>
          <a:bodyPr anchor="ctr"/>
          <a:lstStyle>
            <a:lvl1pPr marL="0" indent="0">
              <a:buNone/>
              <a:defRPr sz="1799"/>
            </a:lvl1pPr>
          </a:lstStyle>
          <a:p>
            <a:pPr lvl="0"/>
            <a:r>
              <a:rPr lang="en-US"/>
              <a:t>Edit Master text style</a:t>
            </a:r>
          </a:p>
        </p:txBody>
      </p:sp>
      <p:sp>
        <p:nvSpPr>
          <p:cNvPr id="17" name="Text Placeholder 15">
            <a:extLst>
              <a:ext uri="{FF2B5EF4-FFF2-40B4-BE49-F238E27FC236}">
                <a16:creationId xmlns:a16="http://schemas.microsoft.com/office/drawing/2014/main" id="{927901D7-F7D8-4F48-8944-D0F24461E752}"/>
              </a:ext>
            </a:extLst>
          </p:cNvPr>
          <p:cNvSpPr>
            <a:spLocks noGrp="1"/>
          </p:cNvSpPr>
          <p:nvPr>
            <p:ph type="body" sz="quarter" idx="13"/>
          </p:nvPr>
        </p:nvSpPr>
        <p:spPr>
          <a:xfrm>
            <a:off x="6173770" y="1989599"/>
            <a:ext cx="5475475" cy="503354"/>
          </a:xfrm>
          <a:noFill/>
        </p:spPr>
        <p:txBody>
          <a:bodyPr anchor="ctr"/>
          <a:lstStyle>
            <a:lvl1pPr marL="0" indent="0">
              <a:buNone/>
              <a:defRPr sz="1799"/>
            </a:lvl1pPr>
          </a:lstStyle>
          <a:p>
            <a:pPr lvl="0"/>
            <a:r>
              <a:rPr lang="en-US"/>
              <a:t>Edit Master text style</a:t>
            </a:r>
          </a:p>
        </p:txBody>
      </p:sp>
      <p:sp>
        <p:nvSpPr>
          <p:cNvPr id="19" name="Text Placeholder 18">
            <a:extLst>
              <a:ext uri="{FF2B5EF4-FFF2-40B4-BE49-F238E27FC236}">
                <a16:creationId xmlns:a16="http://schemas.microsoft.com/office/drawing/2014/main" id="{621D45F5-F1E3-D740-A2F1-B02164615BF7}"/>
              </a:ext>
            </a:extLst>
          </p:cNvPr>
          <p:cNvSpPr>
            <a:spLocks noGrp="1"/>
          </p:cNvSpPr>
          <p:nvPr>
            <p:ph type="body" sz="quarter" idx="14" hasCustomPrompt="1"/>
          </p:nvPr>
        </p:nvSpPr>
        <p:spPr>
          <a:xfrm>
            <a:off x="54752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sp>
        <p:nvSpPr>
          <p:cNvPr id="20" name="Text Placeholder 18">
            <a:extLst>
              <a:ext uri="{FF2B5EF4-FFF2-40B4-BE49-F238E27FC236}">
                <a16:creationId xmlns:a16="http://schemas.microsoft.com/office/drawing/2014/main" id="{FCC6084D-3019-8841-A33F-DF3163FC126D}"/>
              </a:ext>
            </a:extLst>
          </p:cNvPr>
          <p:cNvSpPr>
            <a:spLocks noGrp="1"/>
          </p:cNvSpPr>
          <p:nvPr>
            <p:ph type="body" sz="quarter" idx="15" hasCustomPrompt="1"/>
          </p:nvPr>
        </p:nvSpPr>
        <p:spPr>
          <a:xfrm>
            <a:off x="617377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cxnSp>
        <p:nvCxnSpPr>
          <p:cNvPr id="9" name="Straight Connector 8">
            <a:extLst>
              <a:ext uri="{FF2B5EF4-FFF2-40B4-BE49-F238E27FC236}">
                <a16:creationId xmlns:a16="http://schemas.microsoft.com/office/drawing/2014/main" id="{CB3A0C89-282D-8344-A845-7B6D56F958F4}"/>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2" name="Textplatzhalter 9">
            <a:extLst>
              <a:ext uri="{FF2B5EF4-FFF2-40B4-BE49-F238E27FC236}">
                <a16:creationId xmlns:a16="http://schemas.microsoft.com/office/drawing/2014/main" id="{4BC180E9-17C0-44DB-BE67-341803F4CFB7}"/>
              </a:ext>
            </a:extLst>
          </p:cNvPr>
          <p:cNvSpPr>
            <a:spLocks noGrp="1"/>
          </p:cNvSpPr>
          <p:nvPr>
            <p:ph type="body" sz="quarter" idx="16"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5"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21"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94298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olie mit Headline und Bild">
    <p:spTree>
      <p:nvGrpSpPr>
        <p:cNvPr id="1" name=""/>
        <p:cNvGrpSpPr/>
        <p:nvPr/>
      </p:nvGrpSpPr>
      <p:grpSpPr>
        <a:xfrm>
          <a:off x="0" y="0"/>
          <a:ext cx="0" cy="0"/>
          <a:chOff x="0" y="0"/>
          <a:chExt cx="0" cy="0"/>
        </a:xfrm>
      </p:grpSpPr>
      <p:sp>
        <p:nvSpPr>
          <p:cNvPr id="7" name="Rectangle 6"/>
          <p:cNvSpPr/>
          <p:nvPr userDrawn="1"/>
        </p:nvSpPr>
        <p:spPr>
          <a:xfrm>
            <a:off x="0" y="1600571"/>
            <a:ext cx="12190413" cy="3658447"/>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6" name="Picture Placeholder 5"/>
          <p:cNvSpPr>
            <a:spLocks noGrp="1"/>
          </p:cNvSpPr>
          <p:nvPr>
            <p:ph type="pic" sz="quarter" idx="11"/>
          </p:nvPr>
        </p:nvSpPr>
        <p:spPr>
          <a:xfrm>
            <a:off x="0" y="1600571"/>
            <a:ext cx="12190413"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9" name="Straight Connector 8">
            <a:extLst>
              <a:ext uri="{FF2B5EF4-FFF2-40B4-BE49-F238E27FC236}">
                <a16:creationId xmlns:a16="http://schemas.microsoft.com/office/drawing/2014/main" id="{483A9F27-BD40-9740-8F88-8E41A9C75C4D}"/>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20863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lie mit Headline und Video">
    <p:spTree>
      <p:nvGrpSpPr>
        <p:cNvPr id="1" name=""/>
        <p:cNvGrpSpPr/>
        <p:nvPr/>
      </p:nvGrpSpPr>
      <p:grpSpPr>
        <a:xfrm>
          <a:off x="0" y="0"/>
          <a:ext cx="0" cy="0"/>
          <a:chOff x="0" y="0"/>
          <a:chExt cx="0" cy="0"/>
        </a:xfrm>
      </p:grpSpPr>
      <p:sp>
        <p:nvSpPr>
          <p:cNvPr id="7" name="Rectangle 6"/>
          <p:cNvSpPr/>
          <p:nvPr userDrawn="1"/>
        </p:nvSpPr>
        <p:spPr>
          <a:xfrm>
            <a:off x="0" y="1295700"/>
            <a:ext cx="12190413" cy="4801712"/>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3" name="Media Placeholder 2">
            <a:extLst>
              <a:ext uri="{FF2B5EF4-FFF2-40B4-BE49-F238E27FC236}">
                <a16:creationId xmlns:a16="http://schemas.microsoft.com/office/drawing/2014/main" id="{08449E29-13F3-BC40-9A41-83715958A037}"/>
              </a:ext>
            </a:extLst>
          </p:cNvPr>
          <p:cNvSpPr>
            <a:spLocks noGrp="1"/>
          </p:cNvSpPr>
          <p:nvPr>
            <p:ph type="media" sz="quarter" idx="10"/>
          </p:nvPr>
        </p:nvSpPr>
        <p:spPr>
          <a:xfrm>
            <a:off x="0" y="1295700"/>
            <a:ext cx="12190413" cy="4801712"/>
          </a:xfrm>
          <a:prstGeom prst="rect">
            <a:avLst/>
          </a:prstGeom>
        </p:spPr>
        <p:txBody>
          <a:bodyPr/>
          <a:lstStyle/>
          <a:p>
            <a:endParaRPr lang="de-DE"/>
          </a:p>
        </p:txBody>
      </p:sp>
      <p:cxnSp>
        <p:nvCxnSpPr>
          <p:cNvPr id="8" name="Straight Connector 7">
            <a:extLst>
              <a:ext uri="{FF2B5EF4-FFF2-40B4-BE49-F238E27FC236}">
                <a16:creationId xmlns:a16="http://schemas.microsoft.com/office/drawing/2014/main" id="{BA849E2F-0A29-CB40-AC1F-8164D3B22ACE}"/>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0"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636461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olie mit Headline und Bild 2">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5206"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7" name="Straight Connector 6">
            <a:extLst>
              <a:ext uri="{FF2B5EF4-FFF2-40B4-BE49-F238E27FC236}">
                <a16:creationId xmlns:a16="http://schemas.microsoft.com/office/drawing/2014/main" id="{2A044D97-5B62-BD4F-8BD5-BC25B61CFEEA}"/>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86865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lie mit Headline und Bild 3">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8" name="Straight Connector 7">
            <a:extLst>
              <a:ext uri="{FF2B5EF4-FFF2-40B4-BE49-F238E27FC236}">
                <a16:creationId xmlns:a16="http://schemas.microsoft.com/office/drawing/2014/main" id="{49DEDBE2-5578-0045-8642-014FC4FD110F}"/>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7131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lie mit Headline und Bild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5206" y="0"/>
            <a:ext cx="6095207" cy="6859588"/>
          </a:xfrm>
          <a:prstGeom prst="rect">
            <a:avLst/>
          </a:prstGeom>
        </p:spPr>
        <p:txBody>
          <a:bodyPr/>
          <a:lstStyle>
            <a:lvl1pPr>
              <a:defRPr b="0" i="0">
                <a:latin typeface="Calibri Light" panose="020F0302020204030204" pitchFamily="34" charset="0"/>
              </a:defRPr>
            </a:lvl1pPr>
          </a:lstStyle>
          <a:p>
            <a:endParaRPr lang="uk-UA"/>
          </a:p>
        </p:txBody>
      </p:sp>
      <p:cxnSp>
        <p:nvCxnSpPr>
          <p:cNvPr id="6" name="Straight Connector 5">
            <a:extLst>
              <a:ext uri="{FF2B5EF4-FFF2-40B4-BE49-F238E27FC236}">
                <a16:creationId xmlns:a16="http://schemas.microsoft.com/office/drawing/2014/main" id="{35577CC9-D946-554B-A9C7-4CA74BD7744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545878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5458784"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84213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extLst>
              <p:ext uri="{D42A27DB-BD31-4B8C-83A1-F6EECF244321}">
                <p14:modId xmlns:p14="http://schemas.microsoft.com/office/powerpoint/2010/main" val="1916639065"/>
              </p:ext>
            </p:extLst>
          </p:nvPr>
        </p:nvGraphicFramePr>
        <p:xfrm>
          <a:off x="584125" y="1295700"/>
          <a:ext cx="10691333" cy="3931299"/>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Beechcraft fur das res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18812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6"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7"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8"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562346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795" y="0"/>
            <a:ext cx="12290399"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407481165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Leere Folie mit Headline">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screen">
            <a:extLst>
              <a:ext uri="{28A0092B-C50C-407E-A947-70E740481C1C}">
                <a14:useLocalDpi xmlns:a14="http://schemas.microsoft.com/office/drawing/2010/main"/>
              </a:ext>
            </a:extLst>
          </a:blip>
          <a:srcRect l="3806" t="13541" r="2433"/>
          <a:stretch/>
        </p:blipFill>
        <p:spPr>
          <a:xfrm>
            <a:off x="0" y="0"/>
            <a:ext cx="12190413" cy="6326064"/>
          </a:xfrm>
          <a:prstGeom prst="rect">
            <a:avLst/>
          </a:prstGeom>
        </p:spPr>
      </p:pic>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7" name="Datumsplatzhalter 4">
            <a:extLst>
              <a:ext uri="{FF2B5EF4-FFF2-40B4-BE49-F238E27FC236}">
                <a16:creationId xmlns:a16="http://schemas.microsoft.com/office/drawing/2014/main" id="{71A2F9DD-6098-4674-93E8-7C8C942AC490}"/>
              </a:ext>
            </a:extLst>
          </p:cNvPr>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9" name="Fußzeilenplatzhalter 5">
            <a:extLst>
              <a:ext uri="{FF2B5EF4-FFF2-40B4-BE49-F238E27FC236}">
                <a16:creationId xmlns:a16="http://schemas.microsoft.com/office/drawing/2014/main" id="{F14CCA71-29B7-46E2-BB3F-56F8A18CC445}"/>
              </a:ext>
            </a:extLst>
          </p:cNvPr>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0" name="Foliennummernplatzhalter 6">
            <a:extLst>
              <a:ext uri="{FF2B5EF4-FFF2-40B4-BE49-F238E27FC236}">
                <a16:creationId xmlns:a16="http://schemas.microsoft.com/office/drawing/2014/main" id="{FFFCB292-2BBE-42AB-A05C-3B2CF564E768}"/>
              </a:ext>
            </a:extLst>
          </p:cNvPr>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53073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0">
          <p15:clr>
            <a:srgbClr val="FBAE40"/>
          </p15:clr>
        </p15:guide>
        <p15:guide id="2" pos="289">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Inhalt Folie Einleitung 1">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A2F8F88-B45D-A940-A8AE-C7E46B0A5756}"/>
              </a:ext>
            </a:extLst>
          </p:cNvPr>
          <p:cNvSpPr>
            <a:spLocks noGrp="1"/>
          </p:cNvSpPr>
          <p:nvPr>
            <p:ph type="pic" sz="quarter" idx="10"/>
          </p:nvPr>
        </p:nvSpPr>
        <p:spPr>
          <a:xfrm>
            <a:off x="1" y="0"/>
            <a:ext cx="7913612" cy="6859588"/>
          </a:xfrm>
          <a:prstGeom prst="rect">
            <a:avLst/>
          </a:prstGeom>
          <a:solidFill>
            <a:schemeClr val="accent4"/>
          </a:solidFill>
        </p:spPr>
        <p:txBody>
          <a:bodyPr/>
          <a:lstStyle>
            <a:lvl1pPr marL="0" indent="0">
              <a:buNone/>
              <a:defRPr/>
            </a:lvl1pPr>
          </a:lstStyle>
          <a:p>
            <a:endParaRPr lang="de-DE"/>
          </a:p>
        </p:txBody>
      </p:sp>
      <p:sp>
        <p:nvSpPr>
          <p:cNvPr id="5" name="Rectangle 4">
            <a:extLst>
              <a:ext uri="{FF2B5EF4-FFF2-40B4-BE49-F238E27FC236}">
                <a16:creationId xmlns:a16="http://schemas.microsoft.com/office/drawing/2014/main" id="{A83804B7-1458-F142-9784-389FA4C4E46C}"/>
              </a:ext>
            </a:extLst>
          </p:cNvPr>
          <p:cNvSpPr/>
          <p:nvPr/>
        </p:nvSpPr>
        <p:spPr>
          <a:xfrm>
            <a:off x="7923768" y="0"/>
            <a:ext cx="4266645" cy="6859588"/>
          </a:xfrm>
          <a:prstGeom prst="rect">
            <a:avLst/>
          </a:prstGeom>
          <a:solidFill>
            <a:schemeClr val="accent1">
              <a:alpha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a:solidFill>
                <a:schemeClr val="tx1"/>
              </a:solidFill>
            </a:endParaRPr>
          </a:p>
        </p:txBody>
      </p:sp>
      <p:grpSp>
        <p:nvGrpSpPr>
          <p:cNvPr id="17" name="Group 16">
            <a:extLst>
              <a:ext uri="{FF2B5EF4-FFF2-40B4-BE49-F238E27FC236}">
                <a16:creationId xmlns:a16="http://schemas.microsoft.com/office/drawing/2014/main" id="{AB6951F7-B78F-1B49-834C-11B51425A09C}"/>
              </a:ext>
            </a:extLst>
          </p:cNvPr>
          <p:cNvGrpSpPr/>
          <p:nvPr userDrawn="1"/>
        </p:nvGrpSpPr>
        <p:grpSpPr>
          <a:xfrm>
            <a:off x="8425778" y="1194076"/>
            <a:ext cx="3409084" cy="914612"/>
            <a:chOff x="5834743" y="2497098"/>
            <a:chExt cx="5114290" cy="1371600"/>
          </a:xfrm>
        </p:grpSpPr>
        <p:grpSp>
          <p:nvGrpSpPr>
            <p:cNvPr id="18" name="Group 17">
              <a:extLst>
                <a:ext uri="{FF2B5EF4-FFF2-40B4-BE49-F238E27FC236}">
                  <a16:creationId xmlns:a16="http://schemas.microsoft.com/office/drawing/2014/main" id="{ED1846AD-E918-5A48-BD9E-57E3D91B4DEA}"/>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6B05BD64-243B-E049-951D-18A5453210B7}"/>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EA18140-4F1C-4E49-9B18-2E80E543C1A4}"/>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0535367-B3B0-6E46-B3EF-E299D87FC2DD}"/>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A7346A34-1B12-0543-98EC-2788286C7FB7}"/>
                  </a:ext>
                </a:extLst>
              </p:cNvPr>
              <p:cNvCxnSpPr/>
              <p:nvPr/>
            </p:nvCxnSpPr>
            <p:spPr>
              <a:xfrm flipV="1">
                <a:off x="7692754"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D8033C6-E42A-FB42-922F-752449007676}"/>
                  </a:ext>
                </a:extLst>
              </p:cNvPr>
              <p:cNvCxnSpPr/>
              <p:nvPr/>
            </p:nvCxnSpPr>
            <p:spPr>
              <a:xfrm>
                <a:off x="7692754"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2A6E46C7-CF9B-BC46-92E0-48B11AF4E9E8}"/>
              </a:ext>
            </a:extLst>
          </p:cNvPr>
          <p:cNvSpPr>
            <a:spLocks noGrp="1"/>
          </p:cNvSpPr>
          <p:nvPr>
            <p:ph type="body" sz="quarter" idx="11" hasCustomPrompt="1"/>
          </p:nvPr>
        </p:nvSpPr>
        <p:spPr>
          <a:xfrm>
            <a:off x="8524946" y="1295707"/>
            <a:ext cx="3153302" cy="678702"/>
          </a:xfrm>
          <a:prstGeom prst="rect">
            <a:avLst/>
          </a:prstGeom>
        </p:spPr>
        <p:txBody>
          <a:bodyPr anchor="ctr"/>
          <a:lstStyle>
            <a:lvl1pPr marL="0" indent="0" algn="ctr">
              <a:buNone/>
              <a:defRPr sz="3599">
                <a:solidFill>
                  <a:schemeClr val="bg2"/>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4CF1EF8-7968-EC44-82E0-A2C542A26E1F}"/>
              </a:ext>
            </a:extLst>
          </p:cNvPr>
          <p:cNvSpPr>
            <a:spLocks noGrp="1"/>
          </p:cNvSpPr>
          <p:nvPr>
            <p:ph type="body" sz="quarter" idx="13" hasCustomPrompt="1"/>
          </p:nvPr>
        </p:nvSpPr>
        <p:spPr>
          <a:xfrm>
            <a:off x="8524244" y="2515182"/>
            <a:ext cx="3153541" cy="4115753"/>
          </a:xfrm>
        </p:spPr>
        <p:txBody>
          <a:bodyPr/>
          <a:lstStyle>
            <a:lvl1pPr marL="0" indent="0">
              <a:buNone/>
              <a:defRPr/>
            </a:lvl1pPr>
          </a:lstStyle>
          <a:p>
            <a:pPr lvl="0"/>
            <a:r>
              <a:rPr lang="en-US"/>
              <a:t>Text </a:t>
            </a:r>
            <a:r>
              <a:rPr lang="en-US" err="1"/>
              <a:t>hinzufügen</a:t>
            </a:r>
            <a:endParaRPr lang="en-US"/>
          </a:p>
        </p:txBody>
      </p:sp>
    </p:spTree>
    <p:extLst>
      <p:ext uri="{BB962C8B-B14F-4D97-AF65-F5344CB8AC3E}">
        <p14:creationId xmlns:p14="http://schemas.microsoft.com/office/powerpoint/2010/main" val="1601039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halt Folie Einleitung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9633C1-C2AF-B44B-91C0-7C104ABA605C}"/>
              </a:ext>
            </a:extLst>
          </p:cNvPr>
          <p:cNvSpPr/>
          <p:nvPr userDrawn="1"/>
        </p:nvSpPr>
        <p:spPr>
          <a:xfrm>
            <a:off x="6095206" y="1"/>
            <a:ext cx="6094413" cy="6859588"/>
          </a:xfrm>
          <a:prstGeom prst="rect">
            <a:avLst/>
          </a:prstGeom>
          <a:solidFill>
            <a:schemeClr val="accent1">
              <a:alpha val="2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23B91884-13CF-954D-9600-2C10DDD441D7}"/>
              </a:ext>
            </a:extLst>
          </p:cNvPr>
          <p:cNvGrpSpPr/>
          <p:nvPr userDrawn="1"/>
        </p:nvGrpSpPr>
        <p:grpSpPr>
          <a:xfrm>
            <a:off x="1259864" y="1371917"/>
            <a:ext cx="3409084" cy="914612"/>
            <a:chOff x="5834743" y="2497098"/>
            <a:chExt cx="5114290" cy="1371600"/>
          </a:xfrm>
        </p:grpSpPr>
        <p:grpSp>
          <p:nvGrpSpPr>
            <p:cNvPr id="18" name="Group 17">
              <a:extLst>
                <a:ext uri="{FF2B5EF4-FFF2-40B4-BE49-F238E27FC236}">
                  <a16:creationId xmlns:a16="http://schemas.microsoft.com/office/drawing/2014/main" id="{A02DF09B-65CB-E540-9911-4F6C41ABF596}"/>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0AD6C437-FA93-E344-B35E-85D220EE29D5}"/>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2209CB-2B54-F048-837D-498251630D4B}"/>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AECA584E-CC25-A545-AB86-36C3AA8FDEB2}"/>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7403D452-0E4C-4346-AB3B-444D58DF0BED}"/>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A6E899-20F3-774C-A6C0-F7586739AE4A}"/>
                  </a:ext>
                </a:extLst>
              </p:cNvPr>
              <p:cNvCxnSpPr/>
              <p:nvPr/>
            </p:nvCxnSpPr>
            <p:spPr>
              <a:xfrm>
                <a:off x="7692754"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3DEFAA35-4CB3-1F45-BAEE-476D20B15A84}"/>
              </a:ext>
            </a:extLst>
          </p:cNvPr>
          <p:cNvSpPr>
            <a:spLocks noGrp="1"/>
          </p:cNvSpPr>
          <p:nvPr>
            <p:ph type="body" sz="quarter" idx="11" hasCustomPrompt="1"/>
          </p:nvPr>
        </p:nvSpPr>
        <p:spPr>
          <a:xfrm>
            <a:off x="1359033" y="1473547"/>
            <a:ext cx="3153302"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7FF0F13-041E-044E-AD33-922C3CB375C4}"/>
              </a:ext>
            </a:extLst>
          </p:cNvPr>
          <p:cNvSpPr>
            <a:spLocks noGrp="1"/>
          </p:cNvSpPr>
          <p:nvPr>
            <p:ph type="body" sz="quarter" idx="12" hasCustomPrompt="1"/>
          </p:nvPr>
        </p:nvSpPr>
        <p:spPr>
          <a:xfrm>
            <a:off x="1359033" y="2896270"/>
            <a:ext cx="3153302" cy="3277359"/>
          </a:xfrm>
        </p:spPr>
        <p:txBody>
          <a:bodyPr/>
          <a:lstStyle>
            <a:lvl1pPr marL="0" indent="0">
              <a:buNone/>
              <a:defRPr/>
            </a:lvl1pPr>
          </a:lstStyle>
          <a:p>
            <a:pPr lvl="0"/>
            <a:r>
              <a:rPr lang="en-US"/>
              <a:t>Text </a:t>
            </a:r>
            <a:r>
              <a:rPr lang="en-US" err="1"/>
              <a:t>hinzufügen</a:t>
            </a:r>
            <a:endParaRPr lang="en-US"/>
          </a:p>
        </p:txBody>
      </p:sp>
      <p:pic>
        <p:nvPicPr>
          <p:cNvPr id="15" name="Picture 14">
            <a:extLst>
              <a:ext uri="{FF2B5EF4-FFF2-40B4-BE49-F238E27FC236}">
                <a16:creationId xmlns:a16="http://schemas.microsoft.com/office/drawing/2014/main" id="{922533DE-A10F-0E47-B4B7-C014A0A72A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207" y="0"/>
            <a:ext cx="6094413" cy="6859588"/>
          </a:xfrm>
          <a:prstGeom prst="rect">
            <a:avLst/>
          </a:prstGeom>
        </p:spPr>
      </p:pic>
    </p:spTree>
    <p:extLst>
      <p:ext uri="{BB962C8B-B14F-4D97-AF65-F5344CB8AC3E}">
        <p14:creationId xmlns:p14="http://schemas.microsoft.com/office/powerpoint/2010/main" val="113647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406969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31"/>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92235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olie mit Headline und Text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0AA62B-161A-A447-9506-712B9E2416E1}"/>
              </a:ext>
            </a:extLst>
          </p:cNvPr>
          <p:cNvSpPr>
            <a:spLocks noGrp="1"/>
          </p:cNvSpPr>
          <p:nvPr>
            <p:ph type="body" sz="quarter" idx="10"/>
          </p:nvPr>
        </p:nvSpPr>
        <p:spPr>
          <a:xfrm>
            <a:off x="583048" y="1371918"/>
            <a:ext cx="11074104" cy="4496841"/>
          </a:xfrm>
          <a:prstGeom prst="rect">
            <a:avLst/>
          </a:prstGeom>
        </p:spPr>
        <p:txBody>
          <a:bodyPr/>
          <a:lstStyle>
            <a:lvl1pPr marL="0" indent="0">
              <a:lnSpc>
                <a:spcPct val="150000"/>
              </a:lnSpc>
              <a:spcBef>
                <a:spcPts val="0"/>
              </a:spcBef>
              <a:spcAft>
                <a:spcPts val="600"/>
              </a:spcAft>
              <a:buNone/>
              <a:defRPr sz="1999" baseline="0">
                <a:latin typeface="Calibri Light" panose="020F0302020204030204" pitchFamily="34" charset="0"/>
              </a:defRPr>
            </a:lvl1pPr>
            <a:lvl2pPr marL="457084" indent="0" algn="l">
              <a:buNone/>
              <a:defRPr>
                <a:latin typeface="+mj-lt"/>
              </a:defRPr>
            </a:lvl2pPr>
            <a:lvl3pPr marL="914172" indent="0" algn="l">
              <a:buNone/>
              <a:defRPr>
                <a:latin typeface="+mj-lt"/>
              </a:defRPr>
            </a:lvl3pPr>
            <a:lvl4pPr marL="1371256" indent="0" algn="l">
              <a:buNone/>
              <a:defRPr>
                <a:latin typeface="+mj-lt"/>
              </a:defRPr>
            </a:lvl4pPr>
            <a:lvl5pPr marL="1828343" indent="0" algn="l">
              <a:buNone/>
              <a:defRPr>
                <a:latin typeface="+mj-lt"/>
              </a:defRPr>
            </a:lvl5pPr>
          </a:lstStyle>
          <a:p>
            <a:pPr lvl="0"/>
            <a:r>
              <a:rPr lang="en-US"/>
              <a:t>Edit Master text styles</a:t>
            </a:r>
          </a:p>
          <a:p>
            <a:pPr lvl="0"/>
            <a:r>
              <a:rPr lang="en-US"/>
              <a:t>Second level</a:t>
            </a:r>
          </a:p>
          <a:p>
            <a:pPr lvl="0"/>
            <a:r>
              <a:rPr lang="en-US"/>
              <a:t>Third level</a:t>
            </a:r>
          </a:p>
          <a:p>
            <a:pPr lvl="0"/>
            <a:r>
              <a:rPr lang="en-US"/>
              <a:t>Fourth level</a:t>
            </a:r>
          </a:p>
          <a:p>
            <a:pPr lvl="0"/>
            <a:r>
              <a:rPr lang="en-US"/>
              <a:t>Fifth level</a:t>
            </a:r>
            <a:endParaRPr lang="de-DE"/>
          </a:p>
        </p:txBody>
      </p:sp>
      <p:cxnSp>
        <p:nvCxnSpPr>
          <p:cNvPr id="9" name="Straight Connector 8">
            <a:extLst>
              <a:ext uri="{FF2B5EF4-FFF2-40B4-BE49-F238E27FC236}">
                <a16:creationId xmlns:a16="http://schemas.microsoft.com/office/drawing/2014/main" id="{6EE2682B-B675-864A-B498-70CE40CBA5C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294900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lie mit Headline und 2 Spalten Tex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CD522D1-DAF9-B945-9DC0-B15E95C61E20}"/>
              </a:ext>
            </a:extLst>
          </p:cNvPr>
          <p:cNvSpPr>
            <a:spLocks noGrp="1"/>
          </p:cNvSpPr>
          <p:nvPr>
            <p:ph type="body" sz="quarter" idx="10"/>
          </p:nvPr>
        </p:nvSpPr>
        <p:spPr>
          <a:xfrm>
            <a:off x="547521" y="1371918"/>
            <a:ext cx="6856214" cy="393683"/>
          </a:xfrm>
          <a:prstGeom prst="rect">
            <a:avLst/>
          </a:prstGeom>
        </p:spPr>
        <p:txBody>
          <a:bodyPr/>
          <a:lstStyle/>
          <a:p>
            <a:pPr lvl="0"/>
            <a:r>
              <a:rPr lang="en-US"/>
              <a:t>Edit Master text styles</a:t>
            </a:r>
          </a:p>
        </p:txBody>
      </p:sp>
      <p:sp>
        <p:nvSpPr>
          <p:cNvPr id="16" name="Text Placeholder 15">
            <a:extLst>
              <a:ext uri="{FF2B5EF4-FFF2-40B4-BE49-F238E27FC236}">
                <a16:creationId xmlns:a16="http://schemas.microsoft.com/office/drawing/2014/main" id="{32B8415E-3DE5-E348-B901-3DE5D2DA6E66}"/>
              </a:ext>
            </a:extLst>
          </p:cNvPr>
          <p:cNvSpPr>
            <a:spLocks noGrp="1"/>
          </p:cNvSpPr>
          <p:nvPr>
            <p:ph type="body" sz="quarter" idx="12"/>
          </p:nvPr>
        </p:nvSpPr>
        <p:spPr>
          <a:xfrm>
            <a:off x="547520" y="1989601"/>
            <a:ext cx="5475475" cy="503354"/>
          </a:xfrm>
          <a:noFill/>
        </p:spPr>
        <p:txBody>
          <a:bodyPr anchor="ctr"/>
          <a:lstStyle>
            <a:lvl1pPr marL="0" indent="0">
              <a:buNone/>
              <a:defRPr sz="1799"/>
            </a:lvl1pPr>
          </a:lstStyle>
          <a:p>
            <a:pPr lvl="0"/>
            <a:r>
              <a:rPr lang="en-US"/>
              <a:t>Edit Master text style</a:t>
            </a:r>
          </a:p>
        </p:txBody>
      </p:sp>
      <p:sp>
        <p:nvSpPr>
          <p:cNvPr id="17" name="Text Placeholder 15">
            <a:extLst>
              <a:ext uri="{FF2B5EF4-FFF2-40B4-BE49-F238E27FC236}">
                <a16:creationId xmlns:a16="http://schemas.microsoft.com/office/drawing/2014/main" id="{927901D7-F7D8-4F48-8944-D0F24461E752}"/>
              </a:ext>
            </a:extLst>
          </p:cNvPr>
          <p:cNvSpPr>
            <a:spLocks noGrp="1"/>
          </p:cNvSpPr>
          <p:nvPr>
            <p:ph type="body" sz="quarter" idx="13"/>
          </p:nvPr>
        </p:nvSpPr>
        <p:spPr>
          <a:xfrm>
            <a:off x="6173770" y="1989601"/>
            <a:ext cx="5475475" cy="503354"/>
          </a:xfrm>
          <a:noFill/>
        </p:spPr>
        <p:txBody>
          <a:bodyPr anchor="ctr"/>
          <a:lstStyle>
            <a:lvl1pPr marL="0" indent="0">
              <a:buNone/>
              <a:defRPr sz="1799"/>
            </a:lvl1pPr>
          </a:lstStyle>
          <a:p>
            <a:pPr lvl="0"/>
            <a:r>
              <a:rPr lang="en-US"/>
              <a:t>Edit Master text style</a:t>
            </a:r>
          </a:p>
        </p:txBody>
      </p:sp>
      <p:sp>
        <p:nvSpPr>
          <p:cNvPr id="19" name="Text Placeholder 18">
            <a:extLst>
              <a:ext uri="{FF2B5EF4-FFF2-40B4-BE49-F238E27FC236}">
                <a16:creationId xmlns:a16="http://schemas.microsoft.com/office/drawing/2014/main" id="{621D45F5-F1E3-D740-A2F1-B02164615BF7}"/>
              </a:ext>
            </a:extLst>
          </p:cNvPr>
          <p:cNvSpPr>
            <a:spLocks noGrp="1"/>
          </p:cNvSpPr>
          <p:nvPr>
            <p:ph type="body" sz="quarter" idx="14" hasCustomPrompt="1"/>
          </p:nvPr>
        </p:nvSpPr>
        <p:spPr>
          <a:xfrm>
            <a:off x="547520" y="2565699"/>
            <a:ext cx="5475475" cy="3412861"/>
          </a:xfrm>
          <a:noFill/>
          <a:ln>
            <a:noFill/>
          </a:ln>
        </p:spPr>
        <p:txBody>
          <a:bodyPr>
            <a:normAutofit/>
          </a:bodyPr>
          <a:lstStyle>
            <a:lvl1pPr marL="0" indent="0">
              <a:buNone/>
              <a:defRPr sz="1500"/>
            </a:lvl1pPr>
            <a:lvl3pPr marL="914172" indent="0">
              <a:buNone/>
              <a:defRPr/>
            </a:lvl3pPr>
            <a:lvl4pPr marL="1371256" indent="0">
              <a:buNone/>
              <a:defRPr/>
            </a:lvl4pPr>
            <a:lvl5pPr marL="1828343" indent="0">
              <a:buNone/>
              <a:defRPr/>
            </a:lvl5pPr>
          </a:lstStyle>
          <a:p>
            <a:pPr lvl="0"/>
            <a:r>
              <a:rPr lang="en-US"/>
              <a:t>Text </a:t>
            </a:r>
            <a:r>
              <a:rPr lang="en-US" err="1"/>
              <a:t>hinzufügen</a:t>
            </a:r>
            <a:endParaRPr lang="en-US"/>
          </a:p>
        </p:txBody>
      </p:sp>
      <p:sp>
        <p:nvSpPr>
          <p:cNvPr id="20" name="Text Placeholder 18">
            <a:extLst>
              <a:ext uri="{FF2B5EF4-FFF2-40B4-BE49-F238E27FC236}">
                <a16:creationId xmlns:a16="http://schemas.microsoft.com/office/drawing/2014/main" id="{FCC6084D-3019-8841-A33F-DF3163FC126D}"/>
              </a:ext>
            </a:extLst>
          </p:cNvPr>
          <p:cNvSpPr>
            <a:spLocks noGrp="1"/>
          </p:cNvSpPr>
          <p:nvPr>
            <p:ph type="body" sz="quarter" idx="15" hasCustomPrompt="1"/>
          </p:nvPr>
        </p:nvSpPr>
        <p:spPr>
          <a:xfrm>
            <a:off x="6173770" y="2565699"/>
            <a:ext cx="5475475" cy="3412861"/>
          </a:xfrm>
          <a:noFill/>
          <a:ln>
            <a:noFill/>
          </a:ln>
        </p:spPr>
        <p:txBody>
          <a:bodyPr>
            <a:normAutofit/>
          </a:bodyPr>
          <a:lstStyle>
            <a:lvl1pPr marL="0" indent="0">
              <a:buNone/>
              <a:defRPr sz="1500"/>
            </a:lvl1pPr>
            <a:lvl3pPr marL="914172" indent="0">
              <a:buNone/>
              <a:defRPr/>
            </a:lvl3pPr>
            <a:lvl4pPr marL="1371256" indent="0">
              <a:buNone/>
              <a:defRPr/>
            </a:lvl4pPr>
            <a:lvl5pPr marL="1828343" indent="0">
              <a:buNone/>
              <a:defRPr/>
            </a:lvl5pPr>
          </a:lstStyle>
          <a:p>
            <a:pPr lvl="0"/>
            <a:r>
              <a:rPr lang="en-US"/>
              <a:t>Text </a:t>
            </a:r>
            <a:r>
              <a:rPr lang="en-US" err="1"/>
              <a:t>hinzufügen</a:t>
            </a:r>
            <a:endParaRPr lang="en-US"/>
          </a:p>
        </p:txBody>
      </p:sp>
      <p:cxnSp>
        <p:nvCxnSpPr>
          <p:cNvPr id="9" name="Straight Connector 8">
            <a:extLst>
              <a:ext uri="{FF2B5EF4-FFF2-40B4-BE49-F238E27FC236}">
                <a16:creationId xmlns:a16="http://schemas.microsoft.com/office/drawing/2014/main" id="{CB3A0C89-282D-8344-A845-7B6D56F958F4}"/>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2" name="Textplatzhalter 9">
            <a:extLst>
              <a:ext uri="{FF2B5EF4-FFF2-40B4-BE49-F238E27FC236}">
                <a16:creationId xmlns:a16="http://schemas.microsoft.com/office/drawing/2014/main" id="{4BC180E9-17C0-44DB-BE67-341803F4CFB7}"/>
              </a:ext>
            </a:extLst>
          </p:cNvPr>
          <p:cNvSpPr>
            <a:spLocks noGrp="1"/>
          </p:cNvSpPr>
          <p:nvPr>
            <p:ph type="body" sz="quarter" idx="16"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5"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21"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66359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olie mit Headline und Bild">
    <p:spTree>
      <p:nvGrpSpPr>
        <p:cNvPr id="1" name=""/>
        <p:cNvGrpSpPr/>
        <p:nvPr/>
      </p:nvGrpSpPr>
      <p:grpSpPr>
        <a:xfrm>
          <a:off x="0" y="0"/>
          <a:ext cx="0" cy="0"/>
          <a:chOff x="0" y="0"/>
          <a:chExt cx="0" cy="0"/>
        </a:xfrm>
      </p:grpSpPr>
      <p:sp>
        <p:nvSpPr>
          <p:cNvPr id="7" name="Rectangle 6"/>
          <p:cNvSpPr/>
          <p:nvPr userDrawn="1"/>
        </p:nvSpPr>
        <p:spPr>
          <a:xfrm>
            <a:off x="0" y="1600571"/>
            <a:ext cx="12190413" cy="3658447"/>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6" name="Picture Placeholder 5"/>
          <p:cNvSpPr>
            <a:spLocks noGrp="1"/>
          </p:cNvSpPr>
          <p:nvPr>
            <p:ph type="pic" sz="quarter" idx="11"/>
          </p:nvPr>
        </p:nvSpPr>
        <p:spPr>
          <a:xfrm>
            <a:off x="0" y="1600571"/>
            <a:ext cx="12190413"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9" name="Straight Connector 8">
            <a:extLst>
              <a:ext uri="{FF2B5EF4-FFF2-40B4-BE49-F238E27FC236}">
                <a16:creationId xmlns:a16="http://schemas.microsoft.com/office/drawing/2014/main" id="{483A9F27-BD40-9740-8F88-8E41A9C75C4D}"/>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50447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lie mit Headline und Video">
    <p:spTree>
      <p:nvGrpSpPr>
        <p:cNvPr id="1" name=""/>
        <p:cNvGrpSpPr/>
        <p:nvPr/>
      </p:nvGrpSpPr>
      <p:grpSpPr>
        <a:xfrm>
          <a:off x="0" y="0"/>
          <a:ext cx="0" cy="0"/>
          <a:chOff x="0" y="0"/>
          <a:chExt cx="0" cy="0"/>
        </a:xfrm>
      </p:grpSpPr>
      <p:sp>
        <p:nvSpPr>
          <p:cNvPr id="7" name="Rectangle 6"/>
          <p:cNvSpPr/>
          <p:nvPr userDrawn="1"/>
        </p:nvSpPr>
        <p:spPr>
          <a:xfrm>
            <a:off x="0" y="1295700"/>
            <a:ext cx="12190413" cy="4801712"/>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3" name="Media Placeholder 2">
            <a:extLst>
              <a:ext uri="{FF2B5EF4-FFF2-40B4-BE49-F238E27FC236}">
                <a16:creationId xmlns:a16="http://schemas.microsoft.com/office/drawing/2014/main" id="{08449E29-13F3-BC40-9A41-83715958A037}"/>
              </a:ext>
            </a:extLst>
          </p:cNvPr>
          <p:cNvSpPr>
            <a:spLocks noGrp="1"/>
          </p:cNvSpPr>
          <p:nvPr>
            <p:ph type="media" sz="quarter" idx="10"/>
          </p:nvPr>
        </p:nvSpPr>
        <p:spPr>
          <a:xfrm>
            <a:off x="0" y="1295700"/>
            <a:ext cx="12190413" cy="4801712"/>
          </a:xfrm>
          <a:prstGeom prst="rect">
            <a:avLst/>
          </a:prstGeom>
        </p:spPr>
        <p:txBody>
          <a:bodyPr/>
          <a:lstStyle/>
          <a:p>
            <a:endParaRPr lang="de-DE"/>
          </a:p>
        </p:txBody>
      </p:sp>
      <p:cxnSp>
        <p:nvCxnSpPr>
          <p:cNvPr id="8" name="Straight Connector 7">
            <a:extLst>
              <a:ext uri="{FF2B5EF4-FFF2-40B4-BE49-F238E27FC236}">
                <a16:creationId xmlns:a16="http://schemas.microsoft.com/office/drawing/2014/main" id="{BA849E2F-0A29-CB40-AC1F-8164D3B22ACE}"/>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0"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83840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olie mit Headline und Bild 2">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5206"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7" name="Straight Connector 6">
            <a:extLst>
              <a:ext uri="{FF2B5EF4-FFF2-40B4-BE49-F238E27FC236}">
                <a16:creationId xmlns:a16="http://schemas.microsoft.com/office/drawing/2014/main" id="{2A044D97-5B62-BD4F-8BD5-BC25B61CFEEA}"/>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74345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Übergangsfolie 4">
    <p:spTree>
      <p:nvGrpSpPr>
        <p:cNvPr id="1" name=""/>
        <p:cNvGrpSpPr/>
        <p:nvPr/>
      </p:nvGrpSpPr>
      <p:grpSpPr>
        <a:xfrm>
          <a:off x="0" y="0"/>
          <a:ext cx="0" cy="0"/>
          <a:chOff x="0" y="0"/>
          <a:chExt cx="0" cy="0"/>
        </a:xfrm>
      </p:grpSpPr>
      <p:pic>
        <p:nvPicPr>
          <p:cNvPr id="16" name="Picture Placeholder 3">
            <a:extLst>
              <a:ext uri="{FF2B5EF4-FFF2-40B4-BE49-F238E27FC236}">
                <a16:creationId xmlns:a16="http://schemas.microsoft.com/office/drawing/2014/main" id="{89E4948F-A1B0-A14B-9053-F7DBE1AE29B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7" name="Rectangle 16">
            <a:extLst>
              <a:ext uri="{FF2B5EF4-FFF2-40B4-BE49-F238E27FC236}">
                <a16:creationId xmlns:a16="http://schemas.microsoft.com/office/drawing/2014/main" id="{4C95401D-19A4-A241-BA4A-9471BA3C0F7D}"/>
              </a:ext>
            </a:extLst>
          </p:cNvPr>
          <p:cNvSpPr/>
          <p:nvPr userDrawn="1"/>
        </p:nvSpPr>
        <p:spPr>
          <a:xfrm>
            <a:off x="795" y="1"/>
            <a:ext cx="12188825" cy="6859588"/>
          </a:xfrm>
          <a:prstGeom prst="rect">
            <a:avLst/>
          </a:prstGeom>
          <a:solidFill>
            <a:schemeClr val="tx1">
              <a:alpha val="67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34" name="Group 33">
            <a:extLst>
              <a:ext uri="{FF2B5EF4-FFF2-40B4-BE49-F238E27FC236}">
                <a16:creationId xmlns:a16="http://schemas.microsoft.com/office/drawing/2014/main" id="{E76F4E0C-3C69-1245-93D8-EC665AA8C3D3}"/>
              </a:ext>
            </a:extLst>
          </p:cNvPr>
          <p:cNvGrpSpPr/>
          <p:nvPr userDrawn="1"/>
        </p:nvGrpSpPr>
        <p:grpSpPr>
          <a:xfrm>
            <a:off x="2895640" y="1371917"/>
            <a:ext cx="6399133" cy="914612"/>
            <a:chOff x="5834743" y="2497098"/>
            <a:chExt cx="5114290" cy="1371600"/>
          </a:xfrm>
        </p:grpSpPr>
        <p:grpSp>
          <p:nvGrpSpPr>
            <p:cNvPr id="35" name="Group 34">
              <a:extLst>
                <a:ext uri="{FF2B5EF4-FFF2-40B4-BE49-F238E27FC236}">
                  <a16:creationId xmlns:a16="http://schemas.microsoft.com/office/drawing/2014/main" id="{34798E8F-828A-5C4F-9EB5-C2E4B0F13F18}"/>
                </a:ext>
              </a:extLst>
            </p:cNvPr>
            <p:cNvGrpSpPr/>
            <p:nvPr/>
          </p:nvGrpSpPr>
          <p:grpSpPr>
            <a:xfrm>
              <a:off x="5834743" y="2497098"/>
              <a:ext cx="365306" cy="685800"/>
              <a:chOff x="6324600" y="4114799"/>
              <a:chExt cx="365306" cy="685800"/>
            </a:xfrm>
          </p:grpSpPr>
          <p:cxnSp>
            <p:nvCxnSpPr>
              <p:cNvPr id="39" name="Straight Connector 38">
                <a:extLst>
                  <a:ext uri="{FF2B5EF4-FFF2-40B4-BE49-F238E27FC236}">
                    <a16:creationId xmlns:a16="http://schemas.microsoft.com/office/drawing/2014/main" id="{D2709EF0-84D9-CB48-9492-884964C897A0}"/>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3543028-17C3-4B47-8B54-3B38108BA58B}"/>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B8086CC-23FA-C342-A24A-188E3D3C9090}"/>
                </a:ext>
              </a:extLst>
            </p:cNvPr>
            <p:cNvGrpSpPr/>
            <p:nvPr/>
          </p:nvGrpSpPr>
          <p:grpSpPr>
            <a:xfrm rot="10800000">
              <a:off x="10583726" y="3182898"/>
              <a:ext cx="365307" cy="685800"/>
              <a:chOff x="7692754" y="4114799"/>
              <a:chExt cx="365307" cy="685800"/>
            </a:xfrm>
          </p:grpSpPr>
          <p:cxnSp>
            <p:nvCxnSpPr>
              <p:cNvPr id="37" name="Straight Connector 36">
                <a:extLst>
                  <a:ext uri="{FF2B5EF4-FFF2-40B4-BE49-F238E27FC236}">
                    <a16:creationId xmlns:a16="http://schemas.microsoft.com/office/drawing/2014/main" id="{99576AD2-44B0-EB42-88F0-040678C010EB}"/>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FF17D0-A68D-0242-89C6-52728A0F9551}"/>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1" name="Text Placeholder 14">
            <a:extLst>
              <a:ext uri="{FF2B5EF4-FFF2-40B4-BE49-F238E27FC236}">
                <a16:creationId xmlns:a16="http://schemas.microsoft.com/office/drawing/2014/main" id="{4C2F4E64-32BD-954F-923F-8D5A1DC88F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14" name="Text Placeholder 4">
            <a:extLst>
              <a:ext uri="{FF2B5EF4-FFF2-40B4-BE49-F238E27FC236}">
                <a16:creationId xmlns:a16="http://schemas.microsoft.com/office/drawing/2014/main" id="{A51DE688-1E98-4A4E-B536-DC3F3CA2FCFE}"/>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34153265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olie mit Headline und Bild 3">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8" name="Straight Connector 7">
            <a:extLst>
              <a:ext uri="{FF2B5EF4-FFF2-40B4-BE49-F238E27FC236}">
                <a16:creationId xmlns:a16="http://schemas.microsoft.com/office/drawing/2014/main" id="{49DEDBE2-5578-0045-8642-014FC4FD110F}"/>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037183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Folie mit Headline und Bild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5206" y="0"/>
            <a:ext cx="6095207" cy="6859588"/>
          </a:xfrm>
          <a:prstGeom prst="rect">
            <a:avLst/>
          </a:prstGeom>
        </p:spPr>
        <p:txBody>
          <a:bodyPr/>
          <a:lstStyle>
            <a:lvl1pPr>
              <a:defRPr b="0" i="0">
                <a:latin typeface="Calibri Light" panose="020F0302020204030204" pitchFamily="34" charset="0"/>
              </a:defRPr>
            </a:lvl1pPr>
          </a:lstStyle>
          <a:p>
            <a:endParaRPr lang="uk-UA"/>
          </a:p>
        </p:txBody>
      </p:sp>
      <p:cxnSp>
        <p:nvCxnSpPr>
          <p:cNvPr id="6" name="Straight Connector 5">
            <a:extLst>
              <a:ext uri="{FF2B5EF4-FFF2-40B4-BE49-F238E27FC236}">
                <a16:creationId xmlns:a16="http://schemas.microsoft.com/office/drawing/2014/main" id="{35577CC9-D946-554B-A9C7-4CA74BD7744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3" y="376625"/>
            <a:ext cx="545878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3" y="838394"/>
            <a:ext cx="5458784"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62911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31"/>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nvGraphicFramePr>
        <p:xfrm>
          <a:off x="584126" y="1295700"/>
          <a:ext cx="10691332" cy="3996781"/>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148306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6"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7"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8"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73390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795" y="0"/>
            <a:ext cx="12290399"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10546693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820738" y="2942627"/>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818526" y="137929"/>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527" y="1195138"/>
            <a:ext cx="1944748" cy="711778"/>
          </a:xfrm>
          <a:prstGeom prst="rect">
            <a:avLst/>
          </a:prstGeom>
        </p:spPr>
      </p:pic>
      <p:sp>
        <p:nvSpPr>
          <p:cNvPr id="3" name="Untertitel 2"/>
          <p:cNvSpPr>
            <a:spLocks noGrp="1"/>
          </p:cNvSpPr>
          <p:nvPr userDrawn="1">
            <p:ph type="subTitle" idx="1"/>
          </p:nvPr>
        </p:nvSpPr>
        <p:spPr bwMode="gray">
          <a:xfrm>
            <a:off x="1247745" y="3307315"/>
            <a:ext cx="10120342" cy="2299646"/>
          </a:xfrm>
        </p:spPr>
        <p:txBody>
          <a:bodyPr anchor="ctr"/>
          <a:lstStyle>
            <a:lvl1pPr marL="0" indent="0" algn="l">
              <a:lnSpc>
                <a:spcPct val="90000"/>
              </a:lnSpc>
              <a:spcAft>
                <a:spcPts val="1500"/>
              </a:spcAft>
              <a:buNone/>
              <a:defRPr sz="5000"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Formatvorlage des Untertitelmasters durch Klicken bearbeiten</a:t>
            </a:r>
          </a:p>
        </p:txBody>
      </p:sp>
      <p:grpSp>
        <p:nvGrpSpPr>
          <p:cNvPr id="8" name="Gruppieren 7"/>
          <p:cNvGrpSpPr/>
          <p:nvPr userDrawn="1"/>
        </p:nvGrpSpPr>
        <p:grpSpPr bwMode="gray">
          <a:xfrm>
            <a:off x="-3089741" y="0"/>
            <a:ext cx="2694276" cy="2908553"/>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Folie zurücksetzen:</a:t>
              </a:r>
            </a:p>
            <a:p>
              <a:pPr algn="l"/>
              <a:endParaRPr lang="de-DE" sz="1200" b="1"/>
            </a:p>
            <a:p>
              <a:pPr marL="0" indent="0" algn="l">
                <a:buClr>
                  <a:schemeClr val="bg1"/>
                </a:buClr>
                <a:buFont typeface="+mj-lt"/>
                <a:buNone/>
              </a:pPr>
              <a:r>
                <a:rPr lang="de-DE" sz="1000" b="0"/>
                <a:t>Falls sich auf einer durch ein Folienlayout definierten Folie Platzhalter verschieben oder ungewünschte Veränderungen in der Schriftgestaltung auftreten, klicke mit der rechten</a:t>
              </a:r>
              <a:r>
                <a:rPr lang="de-DE" sz="1000" b="0" baseline="0"/>
                <a:t> Maustaste</a:t>
              </a:r>
              <a:r>
                <a:rPr lang="de-DE" sz="1000" b="0"/>
                <a:t>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25"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681"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5" name="Gerade Verbindung 19"/>
          <p:cNvCxnSpPr/>
          <p:nvPr userDrawn="1"/>
        </p:nvCxnSpPr>
        <p:spPr bwMode="gray">
          <a:xfrm flipV="1">
            <a:off x="11757819"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3875"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7" name="Gerade Verbindung 19"/>
          <p:cNvCxnSpPr/>
          <p:nvPr userDrawn="1"/>
        </p:nvCxnSpPr>
        <p:spPr bwMode="gray">
          <a:xfrm rot="5400000" flipV="1">
            <a:off x="12236452" y="139433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4" y="1376338"/>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5,5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4" y="6192019"/>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7,83</a:t>
            </a:r>
          </a:p>
        </p:txBody>
      </p:sp>
    </p:spTree>
    <p:extLst>
      <p:ext uri="{BB962C8B-B14F-4D97-AF65-F5344CB8AC3E}">
        <p14:creationId xmlns:p14="http://schemas.microsoft.com/office/powerpoint/2010/main" val="1324107192"/>
      </p:ext>
    </p:extLst>
  </p:cSld>
  <p:clrMapOvr>
    <a:masterClrMapping/>
  </p:clrMapOvr>
  <p:transition advClick="0" advTm="0">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ransition Folie 2">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1448135"/>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itle 15">
            <a:extLst>
              <a:ext uri="{FF2B5EF4-FFF2-40B4-BE49-F238E27FC236}">
                <a16:creationId xmlns:a16="http://schemas.microsoft.com/office/drawing/2014/main" id="{F6B74D0B-E242-864E-AA40-4D33FEA306BD}"/>
              </a:ext>
            </a:extLst>
          </p:cNvPr>
          <p:cNvSpPr>
            <a:spLocks noGrp="1"/>
          </p:cNvSpPr>
          <p:nvPr>
            <p:ph type="title" hasCustomPrompt="1"/>
          </p:nvPr>
        </p:nvSpPr>
        <p:spPr>
          <a:xfrm>
            <a:off x="1555346" y="1674452"/>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pic>
        <p:nvPicPr>
          <p:cNvPr id="16" name="Picture 15">
            <a:extLst>
              <a:ext uri="{FF2B5EF4-FFF2-40B4-BE49-F238E27FC236}">
                <a16:creationId xmlns:a16="http://schemas.microsoft.com/office/drawing/2014/main" id="{D62C05F4-D78F-DF49-81A2-9678EBBEBE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3368" y="2057877"/>
            <a:ext cx="8098260" cy="5404928"/>
          </a:xfrm>
          <a:prstGeom prst="rect">
            <a:avLst/>
          </a:prstGeom>
        </p:spPr>
      </p:pic>
    </p:spTree>
    <p:extLst>
      <p:ext uri="{BB962C8B-B14F-4D97-AF65-F5344CB8AC3E}">
        <p14:creationId xmlns:p14="http://schemas.microsoft.com/office/powerpoint/2010/main" val="29694165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ransition Foli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B0474A-B9A0-6C46-AE02-23BD1BEBA3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9334" y="4344407"/>
            <a:ext cx="5942052" cy="2515182"/>
          </a:xfrm>
          <a:prstGeom prst="rect">
            <a:avLst/>
          </a:prstGeom>
        </p:spPr>
      </p:pic>
      <p:grpSp>
        <p:nvGrpSpPr>
          <p:cNvPr id="14" name="Group 13">
            <a:extLst>
              <a:ext uri="{FF2B5EF4-FFF2-40B4-BE49-F238E27FC236}">
                <a16:creationId xmlns:a16="http://schemas.microsoft.com/office/drawing/2014/main" id="{E6672EA4-BC6B-0847-9A5C-EB23DAEAE98F}"/>
              </a:ext>
            </a:extLst>
          </p:cNvPr>
          <p:cNvGrpSpPr/>
          <p:nvPr userDrawn="1"/>
        </p:nvGrpSpPr>
        <p:grpSpPr>
          <a:xfrm>
            <a:off x="2895640" y="1371917"/>
            <a:ext cx="6399133" cy="914612"/>
            <a:chOff x="5834743" y="2497098"/>
            <a:chExt cx="5114290" cy="1371600"/>
          </a:xfrm>
        </p:grpSpPr>
        <p:grpSp>
          <p:nvGrpSpPr>
            <p:cNvPr id="15" name="Group 14">
              <a:extLst>
                <a:ext uri="{FF2B5EF4-FFF2-40B4-BE49-F238E27FC236}">
                  <a16:creationId xmlns:a16="http://schemas.microsoft.com/office/drawing/2014/main" id="{5604AB6E-603B-F74F-ACCA-290417182742}"/>
                </a:ext>
              </a:extLst>
            </p:cNvPr>
            <p:cNvGrpSpPr/>
            <p:nvPr/>
          </p:nvGrpSpPr>
          <p:grpSpPr>
            <a:xfrm>
              <a:off x="5834743" y="2497098"/>
              <a:ext cx="365306" cy="685800"/>
              <a:chOff x="6324600" y="4114799"/>
              <a:chExt cx="365306" cy="685800"/>
            </a:xfrm>
          </p:grpSpPr>
          <p:cxnSp>
            <p:nvCxnSpPr>
              <p:cNvPr id="19" name="Straight Connector 18">
                <a:extLst>
                  <a:ext uri="{FF2B5EF4-FFF2-40B4-BE49-F238E27FC236}">
                    <a16:creationId xmlns:a16="http://schemas.microsoft.com/office/drawing/2014/main" id="{2C60D5DA-529F-4E4E-8265-506C620B1C04}"/>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51D8D6-1C91-4544-BD56-B1FC18C6770F}"/>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4A0AF084-5C69-394D-B165-4FD9E6DF706D}"/>
                </a:ext>
              </a:extLst>
            </p:cNvPr>
            <p:cNvGrpSpPr/>
            <p:nvPr/>
          </p:nvGrpSpPr>
          <p:grpSpPr>
            <a:xfrm rot="10800000">
              <a:off x="10583726" y="3182898"/>
              <a:ext cx="365307" cy="685800"/>
              <a:chOff x="7692754" y="4114799"/>
              <a:chExt cx="365307" cy="685800"/>
            </a:xfrm>
          </p:grpSpPr>
          <p:cxnSp>
            <p:nvCxnSpPr>
              <p:cNvPr id="17" name="Straight Connector 16">
                <a:extLst>
                  <a:ext uri="{FF2B5EF4-FFF2-40B4-BE49-F238E27FC236}">
                    <a16:creationId xmlns:a16="http://schemas.microsoft.com/office/drawing/2014/main" id="{1107CF8C-2994-7E49-9D41-3A66AB79E429}"/>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EA52515-DDEC-8047-B464-4689D8ACC343}"/>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BF0D3C91-EAB4-B040-9325-6D66621D32ED}"/>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22" name="Text Placeholder 4">
            <a:extLst>
              <a:ext uri="{FF2B5EF4-FFF2-40B4-BE49-F238E27FC236}">
                <a16:creationId xmlns:a16="http://schemas.microsoft.com/office/drawing/2014/main" id="{ECF45E9C-09B2-0F46-A319-FE06AF560E54}"/>
              </a:ext>
            </a:extLst>
          </p:cNvPr>
          <p:cNvSpPr>
            <a:spLocks noGrp="1"/>
          </p:cNvSpPr>
          <p:nvPr>
            <p:ph type="body" sz="quarter" idx="12" hasCustomPrompt="1"/>
          </p:nvPr>
        </p:nvSpPr>
        <p:spPr>
          <a:xfrm>
            <a:off x="2895640" y="2667618"/>
            <a:ext cx="6399133" cy="2972488"/>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a:t>
            </a:r>
          </a:p>
          <a:p>
            <a:pPr lvl="0"/>
            <a:endParaRPr lang="en-US"/>
          </a:p>
        </p:txBody>
      </p:sp>
    </p:spTree>
    <p:extLst>
      <p:ext uri="{BB962C8B-B14F-4D97-AF65-F5344CB8AC3E}">
        <p14:creationId xmlns:p14="http://schemas.microsoft.com/office/powerpoint/2010/main" val="666980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ansition Folie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29A8E5-57C3-394D-A626-06A648E599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0434" r="-54842"/>
          <a:stretch/>
        </p:blipFill>
        <p:spPr>
          <a:xfrm>
            <a:off x="0" y="0"/>
            <a:ext cx="12190413" cy="6859588"/>
          </a:xfrm>
          <a:prstGeom prst="rect">
            <a:avLst/>
          </a:prstGeom>
        </p:spPr>
      </p:pic>
      <p:grpSp>
        <p:nvGrpSpPr>
          <p:cNvPr id="7" name="Group 6">
            <a:extLst>
              <a:ext uri="{FF2B5EF4-FFF2-40B4-BE49-F238E27FC236}">
                <a16:creationId xmlns:a16="http://schemas.microsoft.com/office/drawing/2014/main" id="{E3AD2963-ACB7-6945-8082-47D9F2745445}"/>
              </a:ext>
            </a:extLst>
          </p:cNvPr>
          <p:cNvGrpSpPr/>
          <p:nvPr userDrawn="1"/>
        </p:nvGrpSpPr>
        <p:grpSpPr>
          <a:xfrm>
            <a:off x="1594230" y="2431523"/>
            <a:ext cx="457081" cy="457306"/>
            <a:chOff x="6324600" y="4114799"/>
            <a:chExt cx="685800" cy="685800"/>
          </a:xfrm>
        </p:grpSpPr>
        <p:cxnSp>
          <p:nvCxnSpPr>
            <p:cNvPr id="8" name="Straight Connector 7">
              <a:extLst>
                <a:ext uri="{FF2B5EF4-FFF2-40B4-BE49-F238E27FC236}">
                  <a16:creationId xmlns:a16="http://schemas.microsoft.com/office/drawing/2014/main" id="{F2C368BD-F493-BE4F-B4C6-DDF599FD6A09}"/>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64D3EBA-7E02-AC40-80A7-CEAB83DD4EBF}"/>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7325742-3179-6F4D-BEAA-1CC708847D64}"/>
              </a:ext>
            </a:extLst>
          </p:cNvPr>
          <p:cNvGrpSpPr/>
          <p:nvPr userDrawn="1"/>
        </p:nvGrpSpPr>
        <p:grpSpPr>
          <a:xfrm rot="10800000">
            <a:off x="10139104" y="3970760"/>
            <a:ext cx="457081" cy="457306"/>
            <a:chOff x="6324600" y="4114799"/>
            <a:chExt cx="685800" cy="685800"/>
          </a:xfrm>
        </p:grpSpPr>
        <p:cxnSp>
          <p:nvCxnSpPr>
            <p:cNvPr id="11" name="Straight Connector 10">
              <a:extLst>
                <a:ext uri="{FF2B5EF4-FFF2-40B4-BE49-F238E27FC236}">
                  <a16:creationId xmlns:a16="http://schemas.microsoft.com/office/drawing/2014/main" id="{1FE28308-3F6F-9A4C-B864-560CCD7D2B1C}"/>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8B90EF6-0DB5-834E-BE04-B2217F42333C}"/>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 Placeholder 4">
            <a:extLst>
              <a:ext uri="{FF2B5EF4-FFF2-40B4-BE49-F238E27FC236}">
                <a16:creationId xmlns:a16="http://schemas.microsoft.com/office/drawing/2014/main" id="{A266DED5-47B9-F446-862A-20D8D631AEFE}"/>
              </a:ext>
            </a:extLst>
          </p:cNvPr>
          <p:cNvSpPr>
            <a:spLocks noGrp="1"/>
          </p:cNvSpPr>
          <p:nvPr>
            <p:ph type="body" sz="quarter" idx="12" hasCustomPrompt="1"/>
          </p:nvPr>
        </p:nvSpPr>
        <p:spPr>
          <a:xfrm>
            <a:off x="1752938" y="2515183"/>
            <a:ext cx="8760718" cy="1829223"/>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31140354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7" name="Hintergrun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8" y="787"/>
            <a:ext cx="12188977" cy="6858014"/>
          </a:xfrm>
          <a:prstGeom prst="rect">
            <a:avLst/>
          </a:prstGeom>
        </p:spPr>
      </p:pic>
      <p:sp>
        <p:nvSpPr>
          <p:cNvPr id="2" name="Fußzeilenplatzhalter 1"/>
          <p:cNvSpPr>
            <a:spLocks noGrp="1"/>
          </p:cNvSpPr>
          <p:nvPr>
            <p:ph type="ftr" sz="quarter" idx="10"/>
          </p:nvPr>
        </p:nvSpPr>
        <p:spPr/>
        <p:txBody>
          <a:bodyPr/>
          <a:lstStyle/>
          <a:p>
            <a:r>
              <a:rPr lang="de-DE"/>
              <a:t>Schwarz Group // Corporate Presentation //</a:t>
            </a:r>
          </a:p>
        </p:txBody>
      </p:sp>
      <p:sp>
        <p:nvSpPr>
          <p:cNvPr id="10" name="Foliennummernplatzhalter 11"/>
          <p:cNvSpPr>
            <a:spLocks noGrp="1"/>
          </p:cNvSpPr>
          <p:nvPr>
            <p:ph type="sldNum" sz="quarter" idx="12"/>
          </p:nvPr>
        </p:nvSpPr>
        <p:spPr>
          <a:xfrm>
            <a:off x="11394280" y="6427788"/>
            <a:ext cx="362744" cy="256383"/>
          </a:xfrm>
        </p:spPr>
        <p:txBody>
          <a:bodyPr/>
          <a:lstStyle/>
          <a:p>
            <a:fld id="{0C7C1E0B-BD27-42F8-BC6B-2F0636970842}" type="slidenum">
              <a:rPr lang="de-DE" smtClean="0"/>
              <a:pPr/>
              <a:t>‹#›</a:t>
            </a:fld>
            <a:endParaRPr lang="de-DE"/>
          </a:p>
        </p:txBody>
      </p:sp>
    </p:spTree>
    <p:extLst>
      <p:ext uri="{BB962C8B-B14F-4D97-AF65-F5344CB8AC3E}">
        <p14:creationId xmlns:p14="http://schemas.microsoft.com/office/powerpoint/2010/main" val="2131181627"/>
      </p:ext>
    </p:extLst>
  </p:cSld>
  <p:clrMapOvr>
    <a:masterClrMapping/>
  </p:clrMapOvr>
  <p:transition>
    <p:fade/>
  </p:transition>
  <p:extLst>
    <p:ext uri="{DCECCB84-F9BA-43D5-87BE-67443E8EF086}">
      <p15:sldGuideLst xmlns:p15="http://schemas.microsoft.com/office/powerpoint/2012/main">
        <p15:guide id="1" pos="543">
          <p15:clr>
            <a:srgbClr val="FBAE40"/>
          </p15:clr>
        </p15:guide>
        <p15:guide id="2" pos="669">
          <p15:clr>
            <a:srgbClr val="FBAE40"/>
          </p15:clr>
        </p15:guide>
        <p15:guide id="3" orient="horz" pos="377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bluss/Kontakt Folie hel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8B9E26-7F3C-2945-A96F-6C9F4D20A03A}"/>
              </a:ext>
            </a:extLst>
          </p:cNvPr>
          <p:cNvSpPr txBox="1">
            <a:spLocks noChangeArrowheads="1"/>
          </p:cNvSpPr>
          <p:nvPr userDrawn="1"/>
        </p:nvSpPr>
        <p:spPr>
          <a:xfrm>
            <a:off x="550720" y="914612"/>
            <a:ext cx="11087387" cy="99718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de-DE" sz="4399" b="1" noProof="0">
                <a:solidFill>
                  <a:schemeClr val="accent1"/>
                </a:solidFill>
              </a:rPr>
              <a:t>Interessiert? </a:t>
            </a:r>
            <a:r>
              <a:rPr lang="de-DE" sz="4399" noProof="0">
                <a:solidFill>
                  <a:schemeClr val="tx1"/>
                </a:solidFill>
              </a:rPr>
              <a:t>Nehmen Sie Kontakt auf!</a:t>
            </a:r>
          </a:p>
          <a:p>
            <a:pPr>
              <a:defRPr/>
            </a:pPr>
            <a:endParaRPr lang="de-DE" sz="4399" noProof="0">
              <a:solidFill>
                <a:schemeClr val="tx1"/>
              </a:solidFill>
            </a:endParaRPr>
          </a:p>
          <a:p>
            <a:pPr>
              <a:defRPr/>
            </a:pPr>
            <a:endParaRPr lang="de-DE" sz="4399" noProof="0">
              <a:solidFill>
                <a:schemeClr val="tx1"/>
              </a:solidFill>
            </a:endParaRPr>
          </a:p>
        </p:txBody>
      </p:sp>
      <p:sp>
        <p:nvSpPr>
          <p:cNvPr id="7" name="Text Placeholder 6">
            <a:extLst>
              <a:ext uri="{FF2B5EF4-FFF2-40B4-BE49-F238E27FC236}">
                <a16:creationId xmlns:a16="http://schemas.microsoft.com/office/drawing/2014/main" id="{99A12DE7-EFB8-D64B-9244-0F9688EC6834}"/>
              </a:ext>
            </a:extLst>
          </p:cNvPr>
          <p:cNvSpPr>
            <a:spLocks noGrp="1"/>
          </p:cNvSpPr>
          <p:nvPr>
            <p:ph type="body" sz="quarter" idx="10" hasCustomPrompt="1"/>
          </p:nvPr>
        </p:nvSpPr>
        <p:spPr>
          <a:xfrm>
            <a:off x="576907" y="2743835"/>
            <a:ext cx="4494629" cy="3582229"/>
          </a:xfrm>
        </p:spPr>
        <p:txBody>
          <a:bodyPr/>
          <a:lstStyle>
            <a:lvl1pPr marL="0" indent="0">
              <a:buNone/>
              <a:defRPr>
                <a:latin typeface="+mj-lt"/>
              </a:defRPr>
            </a:lvl1pPr>
            <a:lvl2pPr marL="457063" indent="0">
              <a:buNone/>
              <a:defRPr>
                <a:latin typeface="+mj-lt"/>
              </a:defRPr>
            </a:lvl2pPr>
            <a:lvl3pPr marL="0" indent="0">
              <a:buNone/>
              <a:defRPr>
                <a:solidFill>
                  <a:schemeClr val="tx1"/>
                </a:solidFill>
                <a:latin typeface="+mj-lt"/>
              </a:defRPr>
            </a:lvl3pPr>
            <a:lvl4pPr marL="0" indent="0">
              <a:buNone/>
              <a:defRPr>
                <a:solidFill>
                  <a:schemeClr val="tx1"/>
                </a:solidFill>
                <a:latin typeface="+mj-lt"/>
              </a:defRPr>
            </a:lvl4pPr>
            <a:lvl5pPr marL="0" indent="0">
              <a:buNone/>
              <a:defRPr>
                <a:latin typeface="+mj-lt"/>
              </a:defRPr>
            </a:lvl5pPr>
          </a:lstStyle>
          <a:p>
            <a:pPr lvl="2"/>
            <a:r>
              <a:rPr lang="en-US"/>
              <a:t>Name</a:t>
            </a:r>
          </a:p>
          <a:p>
            <a:pPr lvl="2"/>
            <a:endParaRPr lang="en-US"/>
          </a:p>
          <a:p>
            <a:pPr lvl="3"/>
            <a:r>
              <a:rPr lang="en-US" err="1"/>
              <a:t>Adresse</a:t>
            </a:r>
            <a:endParaRPr lang="en-US"/>
          </a:p>
        </p:txBody>
      </p:sp>
      <p:pic>
        <p:nvPicPr>
          <p:cNvPr id="4" name="Picture 3">
            <a:extLst>
              <a:ext uri="{FF2B5EF4-FFF2-40B4-BE49-F238E27FC236}">
                <a16:creationId xmlns:a16="http://schemas.microsoft.com/office/drawing/2014/main" id="{AA3583F8-F3A1-4F49-8918-ECC00C2075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61295" y="5208206"/>
            <a:ext cx="1117309" cy="1117859"/>
          </a:xfrm>
          <a:prstGeom prst="rect">
            <a:avLst/>
          </a:prstGeom>
        </p:spPr>
      </p:pic>
    </p:spTree>
    <p:extLst>
      <p:ext uri="{BB962C8B-B14F-4D97-AF65-F5344CB8AC3E}">
        <p14:creationId xmlns:p14="http://schemas.microsoft.com/office/powerpoint/2010/main" val="371078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Slide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AEA4169-AAED-984C-A173-6E4009B858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1" y="0"/>
            <a:ext cx="12189972" cy="6859588"/>
          </a:xfrm>
          <a:prstGeom prst="rect">
            <a:avLst/>
          </a:prstGeom>
        </p:spPr>
      </p:pic>
      <p:pic>
        <p:nvPicPr>
          <p:cNvPr id="15" name="Picture 14">
            <a:extLst>
              <a:ext uri="{FF2B5EF4-FFF2-40B4-BE49-F238E27FC236}">
                <a16:creationId xmlns:a16="http://schemas.microsoft.com/office/drawing/2014/main" id="{83250CC3-9E5F-6147-8D7D-8BA86A7BC9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8377" y="381088"/>
            <a:ext cx="914162" cy="914612"/>
          </a:xfrm>
          <a:prstGeom prst="rect">
            <a:avLst/>
          </a:prstGeom>
        </p:spPr>
      </p:pic>
      <p:cxnSp>
        <p:nvCxnSpPr>
          <p:cNvPr id="14" name="Straight Connector 13">
            <a:extLst>
              <a:ext uri="{FF2B5EF4-FFF2-40B4-BE49-F238E27FC236}">
                <a16:creationId xmlns:a16="http://schemas.microsoft.com/office/drawing/2014/main" id="{1A59C648-DDF7-1C44-B00E-6775F38596A5}"/>
              </a:ext>
            </a:extLst>
          </p:cNvPr>
          <p:cNvCxnSpPr/>
          <p:nvPr userDrawn="1"/>
        </p:nvCxnSpPr>
        <p:spPr>
          <a:xfrm>
            <a:off x="4215301" y="2999679"/>
            <a:ext cx="0" cy="100619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27B54B81-6995-D64E-82D8-813FA459B943}"/>
              </a:ext>
            </a:extLst>
          </p:cNvPr>
          <p:cNvSpPr>
            <a:spLocks noGrp="1"/>
          </p:cNvSpPr>
          <p:nvPr>
            <p:ph type="body" sz="quarter" idx="10" hasCustomPrompt="1"/>
          </p:nvPr>
        </p:nvSpPr>
        <p:spPr>
          <a:xfrm>
            <a:off x="4418448" y="2962549"/>
            <a:ext cx="6703060" cy="685959"/>
          </a:xfrm>
          <a:prstGeom prst="rect">
            <a:avLst/>
          </a:prstGeom>
        </p:spPr>
        <p:txBody>
          <a:bodyPr/>
          <a:lstStyle>
            <a:lvl1pPr marL="0" indent="0">
              <a:buNone/>
              <a:defRPr sz="4399">
                <a:solidFill>
                  <a:schemeClr val="accent1"/>
                </a:solidFill>
                <a:latin typeface="+mj-lt"/>
              </a:defRPr>
            </a:lvl1pPr>
            <a:lvl2pPr marL="457063" indent="0">
              <a:buNone/>
              <a:defRPr/>
            </a:lvl2pPr>
            <a:lvl3pPr marL="914126" indent="0">
              <a:buNone/>
              <a:defRPr/>
            </a:lvl3pPr>
            <a:lvl4pPr marL="1371189" indent="0">
              <a:buNone/>
              <a:defRPr/>
            </a:lvl4pPr>
            <a:lvl5pPr marL="1828251" indent="0">
              <a:buNone/>
              <a:defRPr/>
            </a:lvl5pPr>
          </a:lstStyle>
          <a:p>
            <a:pPr lvl="0"/>
            <a:r>
              <a:rPr lang="en-US"/>
              <a:t>Click to add headline</a:t>
            </a:r>
          </a:p>
        </p:txBody>
      </p:sp>
      <p:sp>
        <p:nvSpPr>
          <p:cNvPr id="17" name="Text Placeholder 10">
            <a:extLst>
              <a:ext uri="{FF2B5EF4-FFF2-40B4-BE49-F238E27FC236}">
                <a16:creationId xmlns:a16="http://schemas.microsoft.com/office/drawing/2014/main" id="{422690FB-4AE4-804E-9B4A-80F66E091880}"/>
              </a:ext>
            </a:extLst>
          </p:cNvPr>
          <p:cNvSpPr>
            <a:spLocks noGrp="1"/>
          </p:cNvSpPr>
          <p:nvPr>
            <p:ph type="body" sz="quarter" idx="11" hasCustomPrompt="1"/>
          </p:nvPr>
        </p:nvSpPr>
        <p:spPr>
          <a:xfrm>
            <a:off x="4419243" y="3648920"/>
            <a:ext cx="6627674" cy="357271"/>
          </a:xfrm>
          <a:prstGeom prst="rect">
            <a:avLst/>
          </a:prstGeom>
        </p:spPr>
        <p:txBody>
          <a:bodyPr/>
          <a:lstStyle>
            <a:lvl1pPr marL="0" indent="0">
              <a:buNone/>
              <a:defRPr>
                <a:solidFill>
                  <a:schemeClr val="bg2"/>
                </a:solidFill>
                <a:latin typeface="+mj-lt"/>
              </a:defRPr>
            </a:lvl1pPr>
            <a:lvl2pPr marL="457063" indent="0">
              <a:buNone/>
              <a:defRPr/>
            </a:lvl2pPr>
            <a:lvl3pPr marL="914126" indent="0">
              <a:buNone/>
              <a:defRPr/>
            </a:lvl3pPr>
            <a:lvl4pPr marL="1371189" indent="0">
              <a:buNone/>
              <a:defRPr/>
            </a:lvl4pPr>
            <a:lvl5pPr marL="1828251" indent="0">
              <a:buNone/>
              <a:defRPr/>
            </a:lvl5pPr>
          </a:lstStyle>
          <a:p>
            <a:pPr lvl="0"/>
            <a:r>
              <a:rPr lang="en-US"/>
              <a:t>Click to add subline</a:t>
            </a:r>
          </a:p>
        </p:txBody>
      </p:sp>
      <p:sp>
        <p:nvSpPr>
          <p:cNvPr id="18" name="Text Placeholder 2">
            <a:extLst>
              <a:ext uri="{FF2B5EF4-FFF2-40B4-BE49-F238E27FC236}">
                <a16:creationId xmlns:a16="http://schemas.microsoft.com/office/drawing/2014/main" id="{2D2C33AD-59E2-9548-BB22-D4136013FA72}"/>
              </a:ext>
            </a:extLst>
          </p:cNvPr>
          <p:cNvSpPr>
            <a:spLocks noGrp="1"/>
          </p:cNvSpPr>
          <p:nvPr>
            <p:ph type="body" sz="quarter" idx="12" hasCustomPrompt="1"/>
          </p:nvPr>
        </p:nvSpPr>
        <p:spPr>
          <a:xfrm>
            <a:off x="4418448" y="4344406"/>
            <a:ext cx="4343857" cy="210785"/>
          </a:xfrm>
          <a:prstGeom prst="rect">
            <a:avLst/>
          </a:prstGeom>
        </p:spPr>
        <p:txBody>
          <a:bodyPr/>
          <a:lstStyle>
            <a:lvl1pPr marL="0" indent="0">
              <a:buNone/>
              <a:defRPr sz="1200">
                <a:solidFill>
                  <a:schemeClr val="bg2"/>
                </a:solidFill>
              </a:defRPr>
            </a:lvl1pPr>
          </a:lstStyle>
          <a:p>
            <a:pPr lvl="0"/>
            <a:r>
              <a:rPr lang="en-US"/>
              <a:t>Click to add name and date</a:t>
            </a:r>
            <a:endParaRPr lang="de-DE"/>
          </a:p>
        </p:txBody>
      </p:sp>
    </p:spTree>
    <p:extLst>
      <p:ext uri="{BB962C8B-B14F-4D97-AF65-F5344CB8AC3E}">
        <p14:creationId xmlns:p14="http://schemas.microsoft.com/office/powerpoint/2010/main" val="282672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Inhalt Folie Einleitung 1">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A2F8F88-B45D-A940-A8AE-C7E46B0A5756}"/>
              </a:ext>
            </a:extLst>
          </p:cNvPr>
          <p:cNvSpPr>
            <a:spLocks noGrp="1"/>
          </p:cNvSpPr>
          <p:nvPr>
            <p:ph type="pic" sz="quarter" idx="10"/>
          </p:nvPr>
        </p:nvSpPr>
        <p:spPr>
          <a:xfrm>
            <a:off x="0" y="0"/>
            <a:ext cx="7913612" cy="6859588"/>
          </a:xfrm>
          <a:prstGeom prst="rect">
            <a:avLst/>
          </a:prstGeom>
          <a:solidFill>
            <a:schemeClr val="accent4"/>
          </a:solidFill>
        </p:spPr>
        <p:txBody>
          <a:bodyPr/>
          <a:lstStyle>
            <a:lvl1pPr marL="0" indent="0">
              <a:buNone/>
              <a:defRPr/>
            </a:lvl1pPr>
          </a:lstStyle>
          <a:p>
            <a:endParaRPr lang="de-DE"/>
          </a:p>
        </p:txBody>
      </p:sp>
      <p:sp>
        <p:nvSpPr>
          <p:cNvPr id="5" name="Rectangle 4">
            <a:extLst>
              <a:ext uri="{FF2B5EF4-FFF2-40B4-BE49-F238E27FC236}">
                <a16:creationId xmlns:a16="http://schemas.microsoft.com/office/drawing/2014/main" id="{A83804B7-1458-F142-9784-389FA4C4E46C}"/>
              </a:ext>
            </a:extLst>
          </p:cNvPr>
          <p:cNvSpPr/>
          <p:nvPr/>
        </p:nvSpPr>
        <p:spPr>
          <a:xfrm>
            <a:off x="7923768" y="0"/>
            <a:ext cx="4266645" cy="6859588"/>
          </a:xfrm>
          <a:prstGeom prst="rect">
            <a:avLst/>
          </a:prstGeom>
          <a:solidFill>
            <a:schemeClr val="accent1">
              <a:alpha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endParaRPr>
          </a:p>
        </p:txBody>
      </p:sp>
      <p:grpSp>
        <p:nvGrpSpPr>
          <p:cNvPr id="17" name="Group 16">
            <a:extLst>
              <a:ext uri="{FF2B5EF4-FFF2-40B4-BE49-F238E27FC236}">
                <a16:creationId xmlns:a16="http://schemas.microsoft.com/office/drawing/2014/main" id="{AB6951F7-B78F-1B49-834C-11B51425A09C}"/>
              </a:ext>
            </a:extLst>
          </p:cNvPr>
          <p:cNvGrpSpPr/>
          <p:nvPr userDrawn="1"/>
        </p:nvGrpSpPr>
        <p:grpSpPr>
          <a:xfrm>
            <a:off x="8425778" y="1194076"/>
            <a:ext cx="3409084" cy="914612"/>
            <a:chOff x="5834743" y="2497098"/>
            <a:chExt cx="5114290" cy="1371600"/>
          </a:xfrm>
        </p:grpSpPr>
        <p:grpSp>
          <p:nvGrpSpPr>
            <p:cNvPr id="18" name="Group 17">
              <a:extLst>
                <a:ext uri="{FF2B5EF4-FFF2-40B4-BE49-F238E27FC236}">
                  <a16:creationId xmlns:a16="http://schemas.microsoft.com/office/drawing/2014/main" id="{ED1846AD-E918-5A48-BD9E-57E3D91B4DEA}"/>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6B05BD64-243B-E049-951D-18A5453210B7}"/>
                  </a:ext>
                </a:extLst>
              </p:cNvPr>
              <p:cNvCxnSpPr/>
              <p:nvPr/>
            </p:nvCxnSpPr>
            <p:spPr>
              <a:xfrm flipV="1">
                <a:off x="6324600"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EA18140-4F1C-4E49-9B18-2E80E543C1A4}"/>
                  </a:ext>
                </a:extLst>
              </p:cNvPr>
              <p:cNvCxnSpPr/>
              <p:nvPr/>
            </p:nvCxnSpPr>
            <p:spPr>
              <a:xfrm>
                <a:off x="6324600"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0535367-B3B0-6E46-B3EF-E299D87FC2DD}"/>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A7346A34-1B12-0543-98EC-2788286C7FB7}"/>
                  </a:ext>
                </a:extLst>
              </p:cNvPr>
              <p:cNvCxnSpPr/>
              <p:nvPr/>
            </p:nvCxnSpPr>
            <p:spPr>
              <a:xfrm flipV="1">
                <a:off x="7692754"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D8033C6-E42A-FB42-922F-752449007676}"/>
                  </a:ext>
                </a:extLst>
              </p:cNvPr>
              <p:cNvCxnSpPr/>
              <p:nvPr/>
            </p:nvCxnSpPr>
            <p:spPr>
              <a:xfrm>
                <a:off x="7692754"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2A6E46C7-CF9B-BC46-92E0-48B11AF4E9E8}"/>
              </a:ext>
            </a:extLst>
          </p:cNvPr>
          <p:cNvSpPr>
            <a:spLocks noGrp="1"/>
          </p:cNvSpPr>
          <p:nvPr>
            <p:ph type="body" sz="quarter" idx="11" hasCustomPrompt="1"/>
          </p:nvPr>
        </p:nvSpPr>
        <p:spPr>
          <a:xfrm>
            <a:off x="8524946" y="1295705"/>
            <a:ext cx="3153302" cy="678702"/>
          </a:xfrm>
          <a:prstGeom prst="rect">
            <a:avLst/>
          </a:prstGeom>
        </p:spPr>
        <p:txBody>
          <a:bodyPr anchor="ctr"/>
          <a:lstStyle>
            <a:lvl1pPr marL="0" indent="0" algn="ctr">
              <a:buNone/>
              <a:defRPr sz="3599">
                <a:solidFill>
                  <a:schemeClr val="tx2"/>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4CF1EF8-7968-EC44-82E0-A2C542A26E1F}"/>
              </a:ext>
            </a:extLst>
          </p:cNvPr>
          <p:cNvSpPr>
            <a:spLocks noGrp="1"/>
          </p:cNvSpPr>
          <p:nvPr>
            <p:ph type="body" sz="quarter" idx="13" hasCustomPrompt="1"/>
          </p:nvPr>
        </p:nvSpPr>
        <p:spPr>
          <a:xfrm>
            <a:off x="8524243" y="2515182"/>
            <a:ext cx="3153541" cy="4115753"/>
          </a:xfrm>
        </p:spPr>
        <p:txBody>
          <a:bodyPr/>
          <a:lstStyle>
            <a:lvl1pPr marL="0" indent="0">
              <a:buNone/>
              <a:defRPr/>
            </a:lvl1pPr>
          </a:lstStyle>
          <a:p>
            <a:pPr lvl="0"/>
            <a:r>
              <a:rPr lang="en-US"/>
              <a:t>Text </a:t>
            </a:r>
            <a:r>
              <a:rPr lang="en-US" err="1"/>
              <a:t>hinzufügen</a:t>
            </a:r>
            <a:endParaRPr lang="en-US"/>
          </a:p>
        </p:txBody>
      </p:sp>
    </p:spTree>
    <p:extLst>
      <p:ext uri="{BB962C8B-B14F-4D97-AF65-F5344CB8AC3E}">
        <p14:creationId xmlns:p14="http://schemas.microsoft.com/office/powerpoint/2010/main" val="276044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Folie Einleitung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9633C1-C2AF-B44B-91C0-7C104ABA605C}"/>
              </a:ext>
            </a:extLst>
          </p:cNvPr>
          <p:cNvSpPr/>
          <p:nvPr userDrawn="1"/>
        </p:nvSpPr>
        <p:spPr>
          <a:xfrm>
            <a:off x="6095206" y="1"/>
            <a:ext cx="6094413" cy="6859588"/>
          </a:xfrm>
          <a:prstGeom prst="rect">
            <a:avLst/>
          </a:prstGeom>
          <a:solidFill>
            <a:schemeClr val="accent1">
              <a:alpha val="2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23B91884-13CF-954D-9600-2C10DDD441D7}"/>
              </a:ext>
            </a:extLst>
          </p:cNvPr>
          <p:cNvGrpSpPr/>
          <p:nvPr userDrawn="1"/>
        </p:nvGrpSpPr>
        <p:grpSpPr>
          <a:xfrm>
            <a:off x="1259864" y="1371917"/>
            <a:ext cx="3409084" cy="914612"/>
            <a:chOff x="5834743" y="2497098"/>
            <a:chExt cx="5114290" cy="1371600"/>
          </a:xfrm>
        </p:grpSpPr>
        <p:grpSp>
          <p:nvGrpSpPr>
            <p:cNvPr id="18" name="Group 17">
              <a:extLst>
                <a:ext uri="{FF2B5EF4-FFF2-40B4-BE49-F238E27FC236}">
                  <a16:creationId xmlns:a16="http://schemas.microsoft.com/office/drawing/2014/main" id="{A02DF09B-65CB-E540-9911-4F6C41ABF596}"/>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0AD6C437-FA93-E344-B35E-85D220EE29D5}"/>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2209CB-2B54-F048-837D-498251630D4B}"/>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AECA584E-CC25-A545-AB86-36C3AA8FDEB2}"/>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7403D452-0E4C-4346-AB3B-444D58DF0BED}"/>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A6E899-20F3-774C-A6C0-F7586739AE4A}"/>
                  </a:ext>
                </a:extLst>
              </p:cNvPr>
              <p:cNvCxnSpPr/>
              <p:nvPr/>
            </p:nvCxnSpPr>
            <p:spPr>
              <a:xfrm>
                <a:off x="7692754"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3DEFAA35-4CB3-1F45-BAEE-476D20B15A84}"/>
              </a:ext>
            </a:extLst>
          </p:cNvPr>
          <p:cNvSpPr>
            <a:spLocks noGrp="1"/>
          </p:cNvSpPr>
          <p:nvPr>
            <p:ph type="body" sz="quarter" idx="11" hasCustomPrompt="1"/>
          </p:nvPr>
        </p:nvSpPr>
        <p:spPr>
          <a:xfrm>
            <a:off x="1359032" y="1473546"/>
            <a:ext cx="3153302"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7FF0F13-041E-044E-AD33-922C3CB375C4}"/>
              </a:ext>
            </a:extLst>
          </p:cNvPr>
          <p:cNvSpPr>
            <a:spLocks noGrp="1"/>
          </p:cNvSpPr>
          <p:nvPr>
            <p:ph type="body" sz="quarter" idx="12" hasCustomPrompt="1"/>
          </p:nvPr>
        </p:nvSpPr>
        <p:spPr>
          <a:xfrm>
            <a:off x="1359032" y="2896270"/>
            <a:ext cx="3153302" cy="3277359"/>
          </a:xfrm>
        </p:spPr>
        <p:txBody>
          <a:bodyPr/>
          <a:lstStyle>
            <a:lvl1pPr marL="0" indent="0">
              <a:buNone/>
              <a:defRPr/>
            </a:lvl1pPr>
          </a:lstStyle>
          <a:p>
            <a:pPr lvl="0"/>
            <a:r>
              <a:rPr lang="en-US"/>
              <a:t>Text </a:t>
            </a:r>
            <a:r>
              <a:rPr lang="en-US" err="1"/>
              <a:t>hinzufügen</a:t>
            </a:r>
            <a:endParaRPr lang="en-US"/>
          </a:p>
        </p:txBody>
      </p:sp>
      <p:pic>
        <p:nvPicPr>
          <p:cNvPr id="15" name="Picture 14">
            <a:extLst>
              <a:ext uri="{FF2B5EF4-FFF2-40B4-BE49-F238E27FC236}">
                <a16:creationId xmlns:a16="http://schemas.microsoft.com/office/drawing/2014/main" id="{922533DE-A10F-0E47-B4B7-C014A0A72A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207" y="0"/>
            <a:ext cx="6094413" cy="6859588"/>
          </a:xfrm>
          <a:prstGeom prst="rect">
            <a:avLst/>
          </a:prstGeom>
        </p:spPr>
      </p:pic>
    </p:spTree>
    <p:extLst>
      <p:ext uri="{BB962C8B-B14F-4D97-AF65-F5344CB8AC3E}">
        <p14:creationId xmlns:p14="http://schemas.microsoft.com/office/powerpoint/2010/main" val="34665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38749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67798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lie mit Headline und Text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0AA62B-161A-A447-9506-712B9E2416E1}"/>
              </a:ext>
            </a:extLst>
          </p:cNvPr>
          <p:cNvSpPr>
            <a:spLocks noGrp="1"/>
          </p:cNvSpPr>
          <p:nvPr>
            <p:ph type="body" sz="quarter" idx="10"/>
          </p:nvPr>
        </p:nvSpPr>
        <p:spPr>
          <a:xfrm>
            <a:off x="583048" y="1371918"/>
            <a:ext cx="11074104" cy="4496841"/>
          </a:xfrm>
          <a:prstGeom prst="rect">
            <a:avLst/>
          </a:prstGeom>
        </p:spPr>
        <p:txBody>
          <a:bodyPr/>
          <a:lstStyle>
            <a:lvl1pPr marL="0" indent="0">
              <a:lnSpc>
                <a:spcPct val="150000"/>
              </a:lnSpc>
              <a:spcBef>
                <a:spcPts val="0"/>
              </a:spcBef>
              <a:spcAft>
                <a:spcPts val="600"/>
              </a:spcAft>
              <a:buNone/>
              <a:defRPr sz="1999" baseline="0">
                <a:latin typeface="Calibri Light" panose="020F0302020204030204" pitchFamily="34" charset="0"/>
              </a:defRPr>
            </a:lvl1pPr>
            <a:lvl2pPr marL="457130" indent="0" algn="l">
              <a:buNone/>
              <a:defRPr>
                <a:latin typeface="+mj-lt"/>
              </a:defRPr>
            </a:lvl2pPr>
            <a:lvl3pPr marL="914263" indent="0" algn="l">
              <a:buNone/>
              <a:defRPr>
                <a:latin typeface="+mj-lt"/>
              </a:defRPr>
            </a:lvl3pPr>
            <a:lvl4pPr marL="1371393" indent="0" algn="l">
              <a:buNone/>
              <a:defRPr>
                <a:latin typeface="+mj-lt"/>
              </a:defRPr>
            </a:lvl4pPr>
            <a:lvl5pPr marL="1828526" indent="0" algn="l">
              <a:buNone/>
              <a:defRPr>
                <a:latin typeface="+mj-lt"/>
              </a:defRPr>
            </a:lvl5pPr>
          </a:lstStyle>
          <a:p>
            <a:pPr lvl="0"/>
            <a:r>
              <a:rPr lang="en-US"/>
              <a:t>Edit Master text styles</a:t>
            </a:r>
          </a:p>
          <a:p>
            <a:pPr lvl="0"/>
            <a:r>
              <a:rPr lang="en-US"/>
              <a:t>Second level</a:t>
            </a:r>
          </a:p>
          <a:p>
            <a:pPr lvl="0"/>
            <a:r>
              <a:rPr lang="en-US"/>
              <a:t>Third level</a:t>
            </a:r>
          </a:p>
          <a:p>
            <a:pPr lvl="0"/>
            <a:r>
              <a:rPr lang="en-US"/>
              <a:t>Fourth level</a:t>
            </a:r>
          </a:p>
          <a:p>
            <a:pPr lvl="0"/>
            <a:r>
              <a:rPr lang="en-US"/>
              <a:t>Fifth level</a:t>
            </a:r>
            <a:endParaRPr lang="de-DE"/>
          </a:p>
        </p:txBody>
      </p:sp>
      <p:cxnSp>
        <p:nvCxnSpPr>
          <p:cNvPr id="9" name="Straight Connector 8">
            <a:extLst>
              <a:ext uri="{FF2B5EF4-FFF2-40B4-BE49-F238E27FC236}">
                <a16:creationId xmlns:a16="http://schemas.microsoft.com/office/drawing/2014/main" id="{6EE2682B-B675-864A-B498-70CE40CBA5C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40356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lie mit Headline und 2 Spalten Tex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CD522D1-DAF9-B945-9DC0-B15E95C61E20}"/>
              </a:ext>
            </a:extLst>
          </p:cNvPr>
          <p:cNvSpPr>
            <a:spLocks noGrp="1"/>
          </p:cNvSpPr>
          <p:nvPr>
            <p:ph type="body" sz="quarter" idx="10"/>
          </p:nvPr>
        </p:nvSpPr>
        <p:spPr>
          <a:xfrm>
            <a:off x="547520" y="1371918"/>
            <a:ext cx="6856214" cy="393683"/>
          </a:xfrm>
          <a:prstGeom prst="rect">
            <a:avLst/>
          </a:prstGeom>
        </p:spPr>
        <p:txBody>
          <a:bodyPr/>
          <a:lstStyle/>
          <a:p>
            <a:pPr lvl="0"/>
            <a:r>
              <a:rPr lang="en-US"/>
              <a:t>Edit Master text styles</a:t>
            </a:r>
          </a:p>
        </p:txBody>
      </p:sp>
      <p:sp>
        <p:nvSpPr>
          <p:cNvPr id="16" name="Text Placeholder 15">
            <a:extLst>
              <a:ext uri="{FF2B5EF4-FFF2-40B4-BE49-F238E27FC236}">
                <a16:creationId xmlns:a16="http://schemas.microsoft.com/office/drawing/2014/main" id="{32B8415E-3DE5-E348-B901-3DE5D2DA6E66}"/>
              </a:ext>
            </a:extLst>
          </p:cNvPr>
          <p:cNvSpPr>
            <a:spLocks noGrp="1"/>
          </p:cNvSpPr>
          <p:nvPr>
            <p:ph type="body" sz="quarter" idx="12"/>
          </p:nvPr>
        </p:nvSpPr>
        <p:spPr>
          <a:xfrm>
            <a:off x="547520" y="1989599"/>
            <a:ext cx="5475475" cy="503354"/>
          </a:xfrm>
          <a:noFill/>
        </p:spPr>
        <p:txBody>
          <a:bodyPr anchor="ctr"/>
          <a:lstStyle>
            <a:lvl1pPr marL="0" indent="0">
              <a:buNone/>
              <a:defRPr sz="1799"/>
            </a:lvl1pPr>
          </a:lstStyle>
          <a:p>
            <a:pPr lvl="0"/>
            <a:r>
              <a:rPr lang="en-US"/>
              <a:t>Edit Master text style</a:t>
            </a:r>
          </a:p>
        </p:txBody>
      </p:sp>
      <p:sp>
        <p:nvSpPr>
          <p:cNvPr id="17" name="Text Placeholder 15">
            <a:extLst>
              <a:ext uri="{FF2B5EF4-FFF2-40B4-BE49-F238E27FC236}">
                <a16:creationId xmlns:a16="http://schemas.microsoft.com/office/drawing/2014/main" id="{927901D7-F7D8-4F48-8944-D0F24461E752}"/>
              </a:ext>
            </a:extLst>
          </p:cNvPr>
          <p:cNvSpPr>
            <a:spLocks noGrp="1"/>
          </p:cNvSpPr>
          <p:nvPr>
            <p:ph type="body" sz="quarter" idx="13"/>
          </p:nvPr>
        </p:nvSpPr>
        <p:spPr>
          <a:xfrm>
            <a:off x="6173770" y="1989599"/>
            <a:ext cx="5475475" cy="503354"/>
          </a:xfrm>
          <a:noFill/>
        </p:spPr>
        <p:txBody>
          <a:bodyPr anchor="ctr"/>
          <a:lstStyle>
            <a:lvl1pPr marL="0" indent="0">
              <a:buNone/>
              <a:defRPr sz="1799"/>
            </a:lvl1pPr>
          </a:lstStyle>
          <a:p>
            <a:pPr lvl="0"/>
            <a:r>
              <a:rPr lang="en-US"/>
              <a:t>Edit Master text style</a:t>
            </a:r>
          </a:p>
        </p:txBody>
      </p:sp>
      <p:sp>
        <p:nvSpPr>
          <p:cNvPr id="19" name="Text Placeholder 18">
            <a:extLst>
              <a:ext uri="{FF2B5EF4-FFF2-40B4-BE49-F238E27FC236}">
                <a16:creationId xmlns:a16="http://schemas.microsoft.com/office/drawing/2014/main" id="{621D45F5-F1E3-D740-A2F1-B02164615BF7}"/>
              </a:ext>
            </a:extLst>
          </p:cNvPr>
          <p:cNvSpPr>
            <a:spLocks noGrp="1"/>
          </p:cNvSpPr>
          <p:nvPr>
            <p:ph type="body" sz="quarter" idx="14" hasCustomPrompt="1"/>
          </p:nvPr>
        </p:nvSpPr>
        <p:spPr>
          <a:xfrm>
            <a:off x="54752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sp>
        <p:nvSpPr>
          <p:cNvPr id="20" name="Text Placeholder 18">
            <a:extLst>
              <a:ext uri="{FF2B5EF4-FFF2-40B4-BE49-F238E27FC236}">
                <a16:creationId xmlns:a16="http://schemas.microsoft.com/office/drawing/2014/main" id="{FCC6084D-3019-8841-A33F-DF3163FC126D}"/>
              </a:ext>
            </a:extLst>
          </p:cNvPr>
          <p:cNvSpPr>
            <a:spLocks noGrp="1"/>
          </p:cNvSpPr>
          <p:nvPr>
            <p:ph type="body" sz="quarter" idx="15" hasCustomPrompt="1"/>
          </p:nvPr>
        </p:nvSpPr>
        <p:spPr>
          <a:xfrm>
            <a:off x="617377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cxnSp>
        <p:nvCxnSpPr>
          <p:cNvPr id="9" name="Straight Connector 8">
            <a:extLst>
              <a:ext uri="{FF2B5EF4-FFF2-40B4-BE49-F238E27FC236}">
                <a16:creationId xmlns:a16="http://schemas.microsoft.com/office/drawing/2014/main" id="{CB3A0C89-282D-8344-A845-7B6D56F958F4}"/>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2" name="Textplatzhalter 9">
            <a:extLst>
              <a:ext uri="{FF2B5EF4-FFF2-40B4-BE49-F238E27FC236}">
                <a16:creationId xmlns:a16="http://schemas.microsoft.com/office/drawing/2014/main" id="{4BC180E9-17C0-44DB-BE67-341803F4CFB7}"/>
              </a:ext>
            </a:extLst>
          </p:cNvPr>
          <p:cNvSpPr>
            <a:spLocks noGrp="1"/>
          </p:cNvSpPr>
          <p:nvPr>
            <p:ph type="body" sz="quarter" idx="16"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5"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21"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13079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lie mit Headline und Bild">
    <p:spTree>
      <p:nvGrpSpPr>
        <p:cNvPr id="1" name=""/>
        <p:cNvGrpSpPr/>
        <p:nvPr/>
      </p:nvGrpSpPr>
      <p:grpSpPr>
        <a:xfrm>
          <a:off x="0" y="0"/>
          <a:ext cx="0" cy="0"/>
          <a:chOff x="0" y="0"/>
          <a:chExt cx="0" cy="0"/>
        </a:xfrm>
      </p:grpSpPr>
      <p:sp>
        <p:nvSpPr>
          <p:cNvPr id="7" name="Rectangle 6"/>
          <p:cNvSpPr/>
          <p:nvPr userDrawn="1"/>
        </p:nvSpPr>
        <p:spPr>
          <a:xfrm>
            <a:off x="0" y="1600571"/>
            <a:ext cx="12190413" cy="3658447"/>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6" name="Picture Placeholder 5"/>
          <p:cNvSpPr>
            <a:spLocks noGrp="1"/>
          </p:cNvSpPr>
          <p:nvPr>
            <p:ph type="pic" sz="quarter" idx="11"/>
          </p:nvPr>
        </p:nvSpPr>
        <p:spPr>
          <a:xfrm>
            <a:off x="0" y="1600571"/>
            <a:ext cx="12190413"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9" name="Straight Connector 8">
            <a:extLst>
              <a:ext uri="{FF2B5EF4-FFF2-40B4-BE49-F238E27FC236}">
                <a16:creationId xmlns:a16="http://schemas.microsoft.com/office/drawing/2014/main" id="{483A9F27-BD40-9740-8F88-8E41A9C75C4D}"/>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75087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lie mit Headline und Video">
    <p:spTree>
      <p:nvGrpSpPr>
        <p:cNvPr id="1" name=""/>
        <p:cNvGrpSpPr/>
        <p:nvPr/>
      </p:nvGrpSpPr>
      <p:grpSpPr>
        <a:xfrm>
          <a:off x="0" y="0"/>
          <a:ext cx="0" cy="0"/>
          <a:chOff x="0" y="0"/>
          <a:chExt cx="0" cy="0"/>
        </a:xfrm>
      </p:grpSpPr>
      <p:sp>
        <p:nvSpPr>
          <p:cNvPr id="7" name="Rectangle 6"/>
          <p:cNvSpPr/>
          <p:nvPr userDrawn="1"/>
        </p:nvSpPr>
        <p:spPr>
          <a:xfrm>
            <a:off x="0" y="1295700"/>
            <a:ext cx="12190413" cy="4801712"/>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3" name="Media Placeholder 2">
            <a:extLst>
              <a:ext uri="{FF2B5EF4-FFF2-40B4-BE49-F238E27FC236}">
                <a16:creationId xmlns:a16="http://schemas.microsoft.com/office/drawing/2014/main" id="{08449E29-13F3-BC40-9A41-83715958A037}"/>
              </a:ext>
            </a:extLst>
          </p:cNvPr>
          <p:cNvSpPr>
            <a:spLocks noGrp="1"/>
          </p:cNvSpPr>
          <p:nvPr>
            <p:ph type="media" sz="quarter" idx="10"/>
          </p:nvPr>
        </p:nvSpPr>
        <p:spPr>
          <a:xfrm>
            <a:off x="0" y="1295700"/>
            <a:ext cx="12190413" cy="4801712"/>
          </a:xfrm>
          <a:prstGeom prst="rect">
            <a:avLst/>
          </a:prstGeom>
        </p:spPr>
        <p:txBody>
          <a:bodyPr/>
          <a:lstStyle/>
          <a:p>
            <a:endParaRPr lang="de-DE"/>
          </a:p>
        </p:txBody>
      </p:sp>
      <p:cxnSp>
        <p:nvCxnSpPr>
          <p:cNvPr id="8" name="Straight Connector 7">
            <a:extLst>
              <a:ext uri="{FF2B5EF4-FFF2-40B4-BE49-F238E27FC236}">
                <a16:creationId xmlns:a16="http://schemas.microsoft.com/office/drawing/2014/main" id="{BA849E2F-0A29-CB40-AC1F-8164D3B22ACE}"/>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0"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01428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hell">
    <p:spTree>
      <p:nvGrpSpPr>
        <p:cNvPr id="1" name=""/>
        <p:cNvGrpSpPr/>
        <p:nvPr/>
      </p:nvGrpSpPr>
      <p:grpSpPr>
        <a:xfrm>
          <a:off x="0" y="0"/>
          <a:ext cx="0" cy="0"/>
          <a:chOff x="0" y="0"/>
          <a:chExt cx="0" cy="0"/>
        </a:xfrm>
      </p:grpSpPr>
      <p:pic>
        <p:nvPicPr>
          <p:cNvPr id="6" name="Hintergrun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8" y="787"/>
            <a:ext cx="12188977" cy="6858014"/>
          </a:xfrm>
          <a:prstGeom prst="rect">
            <a:avLst/>
          </a:prstGeom>
        </p:spPr>
      </p:pic>
      <p:sp>
        <p:nvSpPr>
          <p:cNvPr id="8" name="Untertitel 2"/>
          <p:cNvSpPr>
            <a:spLocks noGrp="1"/>
          </p:cNvSpPr>
          <p:nvPr>
            <p:ph type="subTitle" idx="1"/>
          </p:nvPr>
        </p:nvSpPr>
        <p:spPr bwMode="gray">
          <a:xfrm>
            <a:off x="431800" y="739136"/>
            <a:ext cx="11325224" cy="244319"/>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15" name="Titel 14"/>
          <p:cNvSpPr>
            <a:spLocks noGrp="1"/>
          </p:cNvSpPr>
          <p:nvPr>
            <p:ph type="title"/>
          </p:nvPr>
        </p:nvSpPr>
        <p:spPr/>
        <p:txBody>
          <a:bodyPr/>
          <a:lstStyle/>
          <a:p>
            <a:r>
              <a:rPr lang="de-DE"/>
              <a:t>Titelmasterformat durch Klicken bearbeiten</a:t>
            </a:r>
          </a:p>
        </p:txBody>
      </p:sp>
      <p:sp>
        <p:nvSpPr>
          <p:cNvPr id="17" name="Inhaltsplatzhalter 16"/>
          <p:cNvSpPr>
            <a:spLocks noGrp="1"/>
          </p:cNvSpPr>
          <p:nvPr>
            <p:ph sz="quarter" idx="13"/>
          </p:nvPr>
        </p:nvSpPr>
        <p:spPr>
          <a:xfrm>
            <a:off x="431801" y="1412875"/>
            <a:ext cx="5591174" cy="5014913"/>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m</a:t>
            </a:r>
          </a:p>
        </p:txBody>
      </p:sp>
    </p:spTree>
    <p:extLst>
      <p:ext uri="{BB962C8B-B14F-4D97-AF65-F5344CB8AC3E}">
        <p14:creationId xmlns:p14="http://schemas.microsoft.com/office/powerpoint/2010/main" val="1800856563"/>
      </p:ext>
    </p:extLst>
  </p:cSld>
  <p:clrMapOvr>
    <a:masterClrMapping/>
  </p:clrMapOvr>
  <p:transition>
    <p:fade/>
  </p:transition>
  <p:extLst>
    <p:ext uri="{DCECCB84-F9BA-43D5-87BE-67443E8EF086}">
      <p15:sldGuideLst xmlns:p15="http://schemas.microsoft.com/office/powerpoint/2012/main">
        <p15:guide id="1" pos="3794" userDrawn="1">
          <p15:clr>
            <a:srgbClr val="FBAE40"/>
          </p15:clr>
        </p15:guide>
        <p15:guide id="2" pos="3885" userDrawn="1">
          <p15:clr>
            <a:srgbClr val="FBAE40"/>
          </p15:clr>
        </p15:guide>
        <p15:guide id="3" pos="2590" userDrawn="1">
          <p15:clr>
            <a:srgbClr val="FBAE40"/>
          </p15:clr>
        </p15:guide>
        <p15:guide id="4" pos="2680" userDrawn="1">
          <p15:clr>
            <a:srgbClr val="FBAE40"/>
          </p15:clr>
        </p15:guide>
        <p15:guide id="5" pos="4998" userDrawn="1">
          <p15:clr>
            <a:srgbClr val="FBAE40"/>
          </p15:clr>
        </p15:guide>
        <p15:guide id="6" pos="5088" userDrawn="1">
          <p15:clr>
            <a:srgbClr val="FBAE40"/>
          </p15:clr>
        </p15:guide>
        <p15:guide id="7" pos="2080" userDrawn="1">
          <p15:clr>
            <a:srgbClr val="FBAE40"/>
          </p15:clr>
        </p15:guide>
        <p15:guide id="8" pos="1988" userDrawn="1">
          <p15:clr>
            <a:srgbClr val="FBAE40"/>
          </p15:clr>
        </p15:guide>
        <p15:guide id="9" pos="5600" userDrawn="1">
          <p15:clr>
            <a:srgbClr val="FBAE40"/>
          </p15:clr>
        </p15:guide>
        <p15:guide id="10" pos="5690" userDrawn="1">
          <p15:clr>
            <a:srgbClr val="FBAE40"/>
          </p15:clr>
        </p15:guide>
        <p15:guide id="11" pos="1386" userDrawn="1">
          <p15:clr>
            <a:srgbClr val="FBAE40"/>
          </p15:clr>
        </p15:guide>
        <p15:guide id="12" pos="1476" userDrawn="1">
          <p15:clr>
            <a:srgbClr val="FBAE40"/>
          </p15:clr>
        </p15:guide>
        <p15:guide id="13" pos="6203" userDrawn="1">
          <p15:clr>
            <a:srgbClr val="FBAE40"/>
          </p15:clr>
        </p15:guide>
        <p15:guide id="14" pos="6293" userDrawn="1">
          <p15:clr>
            <a:srgbClr val="FBAE40"/>
          </p15:clr>
        </p15:guide>
        <p15:guide id="15" orient="horz" pos="2423" userDrawn="1">
          <p15:clr>
            <a:srgbClr val="FBAE40"/>
          </p15:clr>
        </p15:guide>
        <p15:guide id="16" orient="horz" pos="2514" userDrawn="1">
          <p15:clr>
            <a:srgbClr val="FBAE40"/>
          </p15:clr>
        </p15:guide>
        <p15:guide id="17" orient="horz" pos="1881" userDrawn="1">
          <p15:clr>
            <a:srgbClr val="FBAE40"/>
          </p15:clr>
        </p15:guide>
        <p15:guide id="18" orient="horz" pos="1971" userDrawn="1">
          <p15:clr>
            <a:srgbClr val="FBAE40"/>
          </p15:clr>
        </p15:guide>
        <p15:guide id="19" orient="horz" pos="3056" userDrawn="1">
          <p15:clr>
            <a:srgbClr val="FBAE40"/>
          </p15:clr>
        </p15:guide>
        <p15:guide id="20" orient="horz" pos="2966" userDrawn="1">
          <p15:clr>
            <a:srgbClr val="FBAE40"/>
          </p15:clr>
        </p15:guide>
        <p15:guide id="21" pos="3839" userDrawn="1">
          <p15:clr>
            <a:srgbClr val="9FCC3B"/>
          </p15:clr>
        </p15:guide>
        <p15:guide id="22" orient="horz" pos="2160" userDrawn="1">
          <p15:clr>
            <a:srgbClr val="9FCC3B"/>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lie mit Headline und Bild 2">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5206"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7" name="Straight Connector 6">
            <a:extLst>
              <a:ext uri="{FF2B5EF4-FFF2-40B4-BE49-F238E27FC236}">
                <a16:creationId xmlns:a16="http://schemas.microsoft.com/office/drawing/2014/main" id="{2A044D97-5B62-BD4F-8BD5-BC25B61CFEEA}"/>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12383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lie mit Headline und Bild 3">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8" name="Straight Connector 7">
            <a:extLst>
              <a:ext uri="{FF2B5EF4-FFF2-40B4-BE49-F238E27FC236}">
                <a16:creationId xmlns:a16="http://schemas.microsoft.com/office/drawing/2014/main" id="{49DEDBE2-5578-0045-8642-014FC4FD110F}"/>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99767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lie mit Headline und Bild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5206" y="0"/>
            <a:ext cx="6095207" cy="6859588"/>
          </a:xfrm>
          <a:prstGeom prst="rect">
            <a:avLst/>
          </a:prstGeom>
        </p:spPr>
        <p:txBody>
          <a:bodyPr/>
          <a:lstStyle>
            <a:lvl1pPr>
              <a:defRPr b="0" i="0">
                <a:latin typeface="Calibri Light" panose="020F0302020204030204" pitchFamily="34" charset="0"/>
              </a:defRPr>
            </a:lvl1pPr>
          </a:lstStyle>
          <a:p>
            <a:endParaRPr lang="uk-UA"/>
          </a:p>
        </p:txBody>
      </p:sp>
      <p:cxnSp>
        <p:nvCxnSpPr>
          <p:cNvPr id="6" name="Straight Connector 5">
            <a:extLst>
              <a:ext uri="{FF2B5EF4-FFF2-40B4-BE49-F238E27FC236}">
                <a16:creationId xmlns:a16="http://schemas.microsoft.com/office/drawing/2014/main" id="{35577CC9-D946-554B-A9C7-4CA74BD7744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545878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5458784"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42677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extLst>
              <p:ext uri="{D42A27DB-BD31-4B8C-83A1-F6EECF244321}">
                <p14:modId xmlns:p14="http://schemas.microsoft.com/office/powerpoint/2010/main" val="389938657"/>
              </p:ext>
            </p:extLst>
          </p:nvPr>
        </p:nvGraphicFramePr>
        <p:xfrm>
          <a:off x="584125" y="1295700"/>
          <a:ext cx="10691333" cy="3931299"/>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Beechcraft fur das res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02940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6"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7"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8"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34670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Übergangsfolie 1">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133838" y="1448135"/>
            <a:ext cx="7846556"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77618" cy="685800"/>
              <a:chOff x="6324600" y="4114799"/>
              <a:chExt cx="377618"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39569" y="3182898"/>
              <a:ext cx="377618" cy="685800"/>
              <a:chOff x="6324600" y="4114799"/>
              <a:chExt cx="377618"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 name="Group 16">
            <a:extLst>
              <a:ext uri="{FF2B5EF4-FFF2-40B4-BE49-F238E27FC236}">
                <a16:creationId xmlns:a16="http://schemas.microsoft.com/office/drawing/2014/main" id="{4BC4B8AB-CBB3-4F2E-85FA-03C23A52330E}"/>
              </a:ext>
            </a:extLst>
          </p:cNvPr>
          <p:cNvGrpSpPr/>
          <p:nvPr userDrawn="1"/>
        </p:nvGrpSpPr>
        <p:grpSpPr>
          <a:xfrm>
            <a:off x="4285928" y="2972488"/>
            <a:ext cx="3618558" cy="914612"/>
            <a:chOff x="5834743" y="2497098"/>
            <a:chExt cx="5114290" cy="1371600"/>
          </a:xfrm>
        </p:grpSpPr>
        <p:grpSp>
          <p:nvGrpSpPr>
            <p:cNvPr id="14" name="Group 17">
              <a:extLst>
                <a:ext uri="{FF2B5EF4-FFF2-40B4-BE49-F238E27FC236}">
                  <a16:creationId xmlns:a16="http://schemas.microsoft.com/office/drawing/2014/main" id="{9CCFB22D-3FD0-4D4A-8104-18AD9D710C36}"/>
                </a:ext>
              </a:extLst>
            </p:cNvPr>
            <p:cNvGrpSpPr/>
            <p:nvPr/>
          </p:nvGrpSpPr>
          <p:grpSpPr>
            <a:xfrm>
              <a:off x="5834743" y="2497098"/>
              <a:ext cx="365306" cy="685800"/>
              <a:chOff x="6324600" y="4114799"/>
              <a:chExt cx="365306" cy="685800"/>
            </a:xfrm>
          </p:grpSpPr>
          <p:cxnSp>
            <p:nvCxnSpPr>
              <p:cNvPr id="19" name="Straight Connector 21">
                <a:extLst>
                  <a:ext uri="{FF2B5EF4-FFF2-40B4-BE49-F238E27FC236}">
                    <a16:creationId xmlns:a16="http://schemas.microsoft.com/office/drawing/2014/main" id="{4DEAA939-E664-4369-9C35-393EA182CDAC}"/>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22">
                <a:extLst>
                  <a:ext uri="{FF2B5EF4-FFF2-40B4-BE49-F238E27FC236}">
                    <a16:creationId xmlns:a16="http://schemas.microsoft.com/office/drawing/2014/main" id="{1E9AEF9E-4AFF-4B6D-B597-9B03090D05C2}"/>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8">
              <a:extLst>
                <a:ext uri="{FF2B5EF4-FFF2-40B4-BE49-F238E27FC236}">
                  <a16:creationId xmlns:a16="http://schemas.microsoft.com/office/drawing/2014/main" id="{655CB61A-B0C7-47CF-A1B5-92C047B0F5C9}"/>
                </a:ext>
              </a:extLst>
            </p:cNvPr>
            <p:cNvGrpSpPr/>
            <p:nvPr/>
          </p:nvGrpSpPr>
          <p:grpSpPr>
            <a:xfrm rot="10800000">
              <a:off x="10583726" y="3182898"/>
              <a:ext cx="365307" cy="685800"/>
              <a:chOff x="7692754" y="4114799"/>
              <a:chExt cx="365307" cy="685800"/>
            </a:xfrm>
          </p:grpSpPr>
          <p:cxnSp>
            <p:nvCxnSpPr>
              <p:cNvPr id="17" name="Straight Connector 19">
                <a:extLst>
                  <a:ext uri="{FF2B5EF4-FFF2-40B4-BE49-F238E27FC236}">
                    <a16:creationId xmlns:a16="http://schemas.microsoft.com/office/drawing/2014/main" id="{539DFF58-38EA-49DF-ADA0-552F682F90A4}"/>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20">
                <a:extLst>
                  <a:ext uri="{FF2B5EF4-FFF2-40B4-BE49-F238E27FC236}">
                    <a16:creationId xmlns:a16="http://schemas.microsoft.com/office/drawing/2014/main" id="{520BCE1B-1763-49A4-A5B2-96EB937E9DDF}"/>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9BCE7011-A5B4-453B-B840-1CA40F61F9C9}"/>
              </a:ext>
            </a:extLst>
          </p:cNvPr>
          <p:cNvSpPr>
            <a:spLocks noGrp="1"/>
          </p:cNvSpPr>
          <p:nvPr>
            <p:ph type="body" sz="quarter" idx="11" hasCustomPrompt="1"/>
          </p:nvPr>
        </p:nvSpPr>
        <p:spPr>
          <a:xfrm>
            <a:off x="4350545" y="3090444"/>
            <a:ext cx="3489323" cy="678702"/>
          </a:xfrm>
          <a:prstGeom prst="rect">
            <a:avLst/>
          </a:prstGeom>
        </p:spPr>
        <p:txBody>
          <a:bodyPr anchor="ctr">
            <a:normAutofit/>
          </a:bodyPr>
          <a:lstStyle>
            <a:lvl1pPr marL="0" indent="0" algn="ctr">
              <a:buNone/>
              <a:defRPr sz="2799">
                <a:solidFill>
                  <a:schemeClr val="accent1"/>
                </a:solidFill>
                <a:latin typeface="+mj-lt"/>
              </a:defRPr>
            </a:lvl1pPr>
          </a:lstStyle>
          <a:p>
            <a:pPr lvl="0"/>
            <a:r>
              <a:rPr lang="en-US" err="1"/>
              <a:t>Titel</a:t>
            </a:r>
            <a:r>
              <a:rPr lang="en-US"/>
              <a:t> </a:t>
            </a:r>
            <a:r>
              <a:rPr lang="en-US" err="1"/>
              <a:t>hinzufügen</a:t>
            </a:r>
            <a:endParaRPr lang="en-US"/>
          </a:p>
        </p:txBody>
      </p:sp>
    </p:spTree>
    <p:extLst>
      <p:ext uri="{BB962C8B-B14F-4D97-AF65-F5344CB8AC3E}">
        <p14:creationId xmlns:p14="http://schemas.microsoft.com/office/powerpoint/2010/main" val="12849851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Übergangsfolie 2">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05911A55-2BBA-EB47-8B20-A2A4AB24940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7" name="Rectangle 6">
            <a:extLst>
              <a:ext uri="{FF2B5EF4-FFF2-40B4-BE49-F238E27FC236}">
                <a16:creationId xmlns:a16="http://schemas.microsoft.com/office/drawing/2014/main" id="{F47350A4-4503-0C41-B6F0-F348477E1A0F}"/>
              </a:ext>
            </a:extLst>
          </p:cNvPr>
          <p:cNvSpPr/>
          <p:nvPr userDrawn="1"/>
        </p:nvSpPr>
        <p:spPr>
          <a:xfrm>
            <a:off x="795" y="1"/>
            <a:ext cx="12188825"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2397036"/>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6" name="Title 15">
            <a:extLst>
              <a:ext uri="{FF2B5EF4-FFF2-40B4-BE49-F238E27FC236}">
                <a16:creationId xmlns:a16="http://schemas.microsoft.com/office/drawing/2014/main" id="{8D8BFA0A-A4AF-7C4D-9E6D-B254259EAA3B}"/>
              </a:ext>
            </a:extLst>
          </p:cNvPr>
          <p:cNvSpPr>
            <a:spLocks noGrp="1"/>
          </p:cNvSpPr>
          <p:nvPr>
            <p:ph type="title" hasCustomPrompt="1"/>
          </p:nvPr>
        </p:nvSpPr>
        <p:spPr>
          <a:xfrm>
            <a:off x="1555346" y="2623353"/>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spTree>
    <p:extLst>
      <p:ext uri="{BB962C8B-B14F-4D97-AF65-F5344CB8AC3E}">
        <p14:creationId xmlns:p14="http://schemas.microsoft.com/office/powerpoint/2010/main" val="26915862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27" b="15539"/>
          <a:stretch/>
        </p:blipFill>
        <p:spPr>
          <a:xfrm>
            <a:off x="1" y="0"/>
            <a:ext cx="12305366" cy="6961212"/>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1" y="0"/>
            <a:ext cx="12305365"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15516501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Übergangsfolie 3">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E3173FE-0AB7-458D-BC40-D96AECD05231}"/>
              </a:ext>
            </a:extLst>
          </p:cNvPr>
          <p:cNvGraphicFramePr>
            <a:graphicFrameLocks noChangeAspect="1"/>
          </p:cNvGraphicFramePr>
          <p:nvPr userDrawn="1">
            <p:custDataLst>
              <p:tags r:id="rId2"/>
            </p:custDataLst>
            <p:extLst>
              <p:ext uri="{D42A27DB-BD31-4B8C-83A1-F6EECF244321}">
                <p14:modId xmlns:p14="http://schemas.microsoft.com/office/powerpoint/2010/main" val="3513133666"/>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4" imgW="347" imgH="348" progId="TCLayout.ActiveDocument.1">
                  <p:embed/>
                </p:oleObj>
              </mc:Choice>
              <mc:Fallback>
                <p:oleObj name="think-cell Folie" r:id="rId4" imgW="347" imgH="348" progId="TCLayout.ActiveDocument.1">
                  <p:embed/>
                  <p:pic>
                    <p:nvPicPr>
                      <p:cNvPr id="2" name="Objekt 1" hidden="1">
                        <a:extLst>
                          <a:ext uri="{FF2B5EF4-FFF2-40B4-BE49-F238E27FC236}">
                            <a16:creationId xmlns:a16="http://schemas.microsoft.com/office/drawing/2014/main" id="{3E3173FE-0AB7-458D-BC40-D96AECD05231}"/>
                          </a:ext>
                        </a:extLst>
                      </p:cNvPr>
                      <p:cNvPicPr/>
                      <p:nvPr/>
                    </p:nvPicPr>
                    <p:blipFill>
                      <a:blip r:embed="rId5"/>
                      <a:stretch>
                        <a:fillRect/>
                      </a:stretch>
                    </p:blipFill>
                    <p:spPr>
                      <a:xfrm>
                        <a:off x="1587" y="1589"/>
                        <a:ext cx="1588" cy="1588"/>
                      </a:xfrm>
                      <a:prstGeom prst="rect">
                        <a:avLst/>
                      </a:prstGeom>
                    </p:spPr>
                  </p:pic>
                </p:oleObj>
              </mc:Fallback>
            </mc:AlternateContent>
          </a:graphicData>
        </a:graphic>
      </p:graphicFrame>
      <p:pic>
        <p:nvPicPr>
          <p:cNvPr id="15" name="Picture Placeholder 4">
            <a:extLst>
              <a:ext uri="{FF2B5EF4-FFF2-40B4-BE49-F238E27FC236}">
                <a16:creationId xmlns:a16="http://schemas.microsoft.com/office/drawing/2014/main" id="{BD9551CD-7C30-4CBE-A1B3-68A6496C0989}"/>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0" y="0"/>
            <a:ext cx="12190413"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39864783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035" r="14461"/>
          <a:stretch/>
        </p:blipFill>
        <p:spPr>
          <a:xfrm>
            <a:off x="0" y="0"/>
            <a:ext cx="12290399"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0" y="0"/>
            <a:ext cx="12290399"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1105497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weiss">
    <p:spTree>
      <p:nvGrpSpPr>
        <p:cNvPr id="1" name=""/>
        <p:cNvGrpSpPr/>
        <p:nvPr/>
      </p:nvGrpSpPr>
      <p:grpSpPr>
        <a:xfrm>
          <a:off x="0" y="0"/>
          <a:ext cx="0" cy="0"/>
          <a:chOff x="0" y="0"/>
          <a:chExt cx="0" cy="0"/>
        </a:xfrm>
      </p:grpSpPr>
      <p:sp>
        <p:nvSpPr>
          <p:cNvPr id="8" name="Untertitel 2"/>
          <p:cNvSpPr>
            <a:spLocks noGrp="1"/>
          </p:cNvSpPr>
          <p:nvPr>
            <p:ph type="subTitle" idx="1"/>
          </p:nvPr>
        </p:nvSpPr>
        <p:spPr bwMode="gray">
          <a:xfrm>
            <a:off x="431800" y="739136"/>
            <a:ext cx="11325224" cy="244319"/>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15" name="Titel 14"/>
          <p:cNvSpPr>
            <a:spLocks noGrp="1"/>
          </p:cNvSpPr>
          <p:nvPr>
            <p:ph type="title"/>
          </p:nvPr>
        </p:nvSpPr>
        <p:spPr/>
        <p:txBody>
          <a:bodyPr/>
          <a:lstStyle/>
          <a:p>
            <a:r>
              <a:rPr lang="de-DE"/>
              <a:t>Titelmasterformat durch Klicken bearbeiten</a:t>
            </a:r>
          </a:p>
        </p:txBody>
      </p:sp>
      <p:sp>
        <p:nvSpPr>
          <p:cNvPr id="17" name="Inhaltsplatzhalter 16"/>
          <p:cNvSpPr>
            <a:spLocks noGrp="1"/>
          </p:cNvSpPr>
          <p:nvPr>
            <p:ph sz="quarter" idx="13"/>
          </p:nvPr>
        </p:nvSpPr>
        <p:spPr>
          <a:xfrm>
            <a:off x="431801" y="1412875"/>
            <a:ext cx="5591174" cy="5014913"/>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m</a:t>
            </a:r>
          </a:p>
        </p:txBody>
      </p:sp>
    </p:spTree>
    <p:extLst>
      <p:ext uri="{BB962C8B-B14F-4D97-AF65-F5344CB8AC3E}">
        <p14:creationId xmlns:p14="http://schemas.microsoft.com/office/powerpoint/2010/main" val="1305836706"/>
      </p:ext>
    </p:extLst>
  </p:cSld>
  <p:clrMapOvr>
    <a:masterClrMapping/>
  </p:clrMapOvr>
  <p:transition>
    <p:fade/>
  </p:transition>
  <p:extLst>
    <p:ext uri="{DCECCB84-F9BA-43D5-87BE-67443E8EF086}">
      <p15:sldGuideLst xmlns:p15="http://schemas.microsoft.com/office/powerpoint/2012/main">
        <p15:guide id="1" pos="3794">
          <p15:clr>
            <a:srgbClr val="FBAE40"/>
          </p15:clr>
        </p15:guide>
        <p15:guide id="2" pos="3885">
          <p15:clr>
            <a:srgbClr val="FBAE40"/>
          </p15:clr>
        </p15:guide>
        <p15:guide id="3" pos="2590">
          <p15:clr>
            <a:srgbClr val="FBAE40"/>
          </p15:clr>
        </p15:guide>
        <p15:guide id="4" pos="2680">
          <p15:clr>
            <a:srgbClr val="FBAE40"/>
          </p15:clr>
        </p15:guide>
        <p15:guide id="5" pos="4998">
          <p15:clr>
            <a:srgbClr val="FBAE40"/>
          </p15:clr>
        </p15:guide>
        <p15:guide id="6" pos="5088">
          <p15:clr>
            <a:srgbClr val="FBAE40"/>
          </p15:clr>
        </p15:guide>
        <p15:guide id="7" pos="2080">
          <p15:clr>
            <a:srgbClr val="FBAE40"/>
          </p15:clr>
        </p15:guide>
        <p15:guide id="8" pos="1988">
          <p15:clr>
            <a:srgbClr val="FBAE40"/>
          </p15:clr>
        </p15:guide>
        <p15:guide id="9" pos="5600">
          <p15:clr>
            <a:srgbClr val="FBAE40"/>
          </p15:clr>
        </p15:guide>
        <p15:guide id="10" pos="5690">
          <p15:clr>
            <a:srgbClr val="FBAE40"/>
          </p15:clr>
        </p15:guide>
        <p15:guide id="11" pos="1386">
          <p15:clr>
            <a:srgbClr val="FBAE40"/>
          </p15:clr>
        </p15:guide>
        <p15:guide id="12" pos="1476">
          <p15:clr>
            <a:srgbClr val="FBAE40"/>
          </p15:clr>
        </p15:guide>
        <p15:guide id="13" pos="6203">
          <p15:clr>
            <a:srgbClr val="FBAE40"/>
          </p15:clr>
        </p15:guide>
        <p15:guide id="14" pos="6293">
          <p15:clr>
            <a:srgbClr val="FBAE40"/>
          </p15:clr>
        </p15:guide>
        <p15:guide id="15" orient="horz" pos="2423">
          <p15:clr>
            <a:srgbClr val="FBAE40"/>
          </p15:clr>
        </p15:guide>
        <p15:guide id="16" orient="horz" pos="2514">
          <p15:clr>
            <a:srgbClr val="FBAE40"/>
          </p15:clr>
        </p15:guide>
        <p15:guide id="17" orient="horz" pos="1881">
          <p15:clr>
            <a:srgbClr val="FBAE40"/>
          </p15:clr>
        </p15:guide>
        <p15:guide id="18" orient="horz" pos="1971">
          <p15:clr>
            <a:srgbClr val="FBAE40"/>
          </p15:clr>
        </p15:guide>
        <p15:guide id="19" orient="horz" pos="3056">
          <p15:clr>
            <a:srgbClr val="FBAE40"/>
          </p15:clr>
        </p15:guide>
        <p15:guide id="20" orient="horz" pos="2966">
          <p15:clr>
            <a:srgbClr val="FBAE40"/>
          </p15:clr>
        </p15:guide>
        <p15:guide id="21" pos="3839">
          <p15:clr>
            <a:srgbClr val="9FCC3B"/>
          </p15:clr>
        </p15:guide>
        <p15:guide id="22" orient="horz" pos="2160">
          <p15:clr>
            <a:srgbClr val="9FCC3B"/>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39675"/>
          <a:stretch/>
        </p:blipFill>
        <p:spPr>
          <a:xfrm>
            <a:off x="795" y="0"/>
            <a:ext cx="12289605"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0" y="0"/>
            <a:ext cx="12290399"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9907248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Übergangsfolie 4">
    <p:spTree>
      <p:nvGrpSpPr>
        <p:cNvPr id="1" name=""/>
        <p:cNvGrpSpPr/>
        <p:nvPr/>
      </p:nvGrpSpPr>
      <p:grpSpPr>
        <a:xfrm>
          <a:off x="0" y="0"/>
          <a:ext cx="0" cy="0"/>
          <a:chOff x="0" y="0"/>
          <a:chExt cx="0" cy="0"/>
        </a:xfrm>
      </p:grpSpPr>
      <p:pic>
        <p:nvPicPr>
          <p:cNvPr id="16" name="Picture Placeholder 3">
            <a:extLst>
              <a:ext uri="{FF2B5EF4-FFF2-40B4-BE49-F238E27FC236}">
                <a16:creationId xmlns:a16="http://schemas.microsoft.com/office/drawing/2014/main" id="{89E4948F-A1B0-A14B-9053-F7DBE1AE29B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7" name="Rectangle 16">
            <a:extLst>
              <a:ext uri="{FF2B5EF4-FFF2-40B4-BE49-F238E27FC236}">
                <a16:creationId xmlns:a16="http://schemas.microsoft.com/office/drawing/2014/main" id="{4C95401D-19A4-A241-BA4A-9471BA3C0F7D}"/>
              </a:ext>
            </a:extLst>
          </p:cNvPr>
          <p:cNvSpPr/>
          <p:nvPr userDrawn="1"/>
        </p:nvSpPr>
        <p:spPr>
          <a:xfrm>
            <a:off x="795" y="1"/>
            <a:ext cx="12188825" cy="6859588"/>
          </a:xfrm>
          <a:prstGeom prst="rect">
            <a:avLst/>
          </a:prstGeom>
          <a:solidFill>
            <a:schemeClr val="tx1">
              <a:alpha val="67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34" name="Group 33">
            <a:extLst>
              <a:ext uri="{FF2B5EF4-FFF2-40B4-BE49-F238E27FC236}">
                <a16:creationId xmlns:a16="http://schemas.microsoft.com/office/drawing/2014/main" id="{E76F4E0C-3C69-1245-93D8-EC665AA8C3D3}"/>
              </a:ext>
            </a:extLst>
          </p:cNvPr>
          <p:cNvGrpSpPr/>
          <p:nvPr userDrawn="1"/>
        </p:nvGrpSpPr>
        <p:grpSpPr>
          <a:xfrm>
            <a:off x="2895640" y="1371917"/>
            <a:ext cx="6399133" cy="914612"/>
            <a:chOff x="5834743" y="2497098"/>
            <a:chExt cx="5114290" cy="1371600"/>
          </a:xfrm>
        </p:grpSpPr>
        <p:grpSp>
          <p:nvGrpSpPr>
            <p:cNvPr id="35" name="Group 34">
              <a:extLst>
                <a:ext uri="{FF2B5EF4-FFF2-40B4-BE49-F238E27FC236}">
                  <a16:creationId xmlns:a16="http://schemas.microsoft.com/office/drawing/2014/main" id="{34798E8F-828A-5C4F-9EB5-C2E4B0F13F18}"/>
                </a:ext>
              </a:extLst>
            </p:cNvPr>
            <p:cNvGrpSpPr/>
            <p:nvPr/>
          </p:nvGrpSpPr>
          <p:grpSpPr>
            <a:xfrm>
              <a:off x="5834743" y="2497098"/>
              <a:ext cx="365306" cy="685800"/>
              <a:chOff x="6324600" y="4114799"/>
              <a:chExt cx="365306" cy="685800"/>
            </a:xfrm>
          </p:grpSpPr>
          <p:cxnSp>
            <p:nvCxnSpPr>
              <p:cNvPr id="39" name="Straight Connector 38">
                <a:extLst>
                  <a:ext uri="{FF2B5EF4-FFF2-40B4-BE49-F238E27FC236}">
                    <a16:creationId xmlns:a16="http://schemas.microsoft.com/office/drawing/2014/main" id="{D2709EF0-84D9-CB48-9492-884964C897A0}"/>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3543028-17C3-4B47-8B54-3B38108BA58B}"/>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B8086CC-23FA-C342-A24A-188E3D3C9090}"/>
                </a:ext>
              </a:extLst>
            </p:cNvPr>
            <p:cNvGrpSpPr/>
            <p:nvPr/>
          </p:nvGrpSpPr>
          <p:grpSpPr>
            <a:xfrm rot="10800000">
              <a:off x="10583726" y="3182898"/>
              <a:ext cx="365307" cy="685800"/>
              <a:chOff x="7692754" y="4114799"/>
              <a:chExt cx="365307" cy="685800"/>
            </a:xfrm>
          </p:grpSpPr>
          <p:cxnSp>
            <p:nvCxnSpPr>
              <p:cNvPr id="37" name="Straight Connector 36">
                <a:extLst>
                  <a:ext uri="{FF2B5EF4-FFF2-40B4-BE49-F238E27FC236}">
                    <a16:creationId xmlns:a16="http://schemas.microsoft.com/office/drawing/2014/main" id="{99576AD2-44B0-EB42-88F0-040678C010EB}"/>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FF17D0-A68D-0242-89C6-52728A0F9551}"/>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1" name="Text Placeholder 14">
            <a:extLst>
              <a:ext uri="{FF2B5EF4-FFF2-40B4-BE49-F238E27FC236}">
                <a16:creationId xmlns:a16="http://schemas.microsoft.com/office/drawing/2014/main" id="{4C2F4E64-32BD-954F-923F-8D5A1DC88F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14" name="Text Placeholder 4">
            <a:extLst>
              <a:ext uri="{FF2B5EF4-FFF2-40B4-BE49-F238E27FC236}">
                <a16:creationId xmlns:a16="http://schemas.microsoft.com/office/drawing/2014/main" id="{A51DE688-1E98-4A4E-B536-DC3F3CA2FCFE}"/>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20558711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ransition Folie 2">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1448135"/>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itle 15">
            <a:extLst>
              <a:ext uri="{FF2B5EF4-FFF2-40B4-BE49-F238E27FC236}">
                <a16:creationId xmlns:a16="http://schemas.microsoft.com/office/drawing/2014/main" id="{F6B74D0B-E242-864E-AA40-4D33FEA306BD}"/>
              </a:ext>
            </a:extLst>
          </p:cNvPr>
          <p:cNvSpPr>
            <a:spLocks noGrp="1"/>
          </p:cNvSpPr>
          <p:nvPr>
            <p:ph type="title" hasCustomPrompt="1"/>
          </p:nvPr>
        </p:nvSpPr>
        <p:spPr>
          <a:xfrm>
            <a:off x="1555346" y="1674452"/>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pic>
        <p:nvPicPr>
          <p:cNvPr id="16" name="Picture 15">
            <a:extLst>
              <a:ext uri="{FF2B5EF4-FFF2-40B4-BE49-F238E27FC236}">
                <a16:creationId xmlns:a16="http://schemas.microsoft.com/office/drawing/2014/main" id="{D62C05F4-D78F-DF49-81A2-9678EBBEBE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3368" y="2057877"/>
            <a:ext cx="8098260" cy="5404928"/>
          </a:xfrm>
          <a:prstGeom prst="rect">
            <a:avLst/>
          </a:prstGeom>
        </p:spPr>
      </p:pic>
    </p:spTree>
    <p:extLst>
      <p:ext uri="{BB962C8B-B14F-4D97-AF65-F5344CB8AC3E}">
        <p14:creationId xmlns:p14="http://schemas.microsoft.com/office/powerpoint/2010/main" val="34371744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ransition Foli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B0474A-B9A0-6C46-AE02-23BD1BEBA3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9334" y="4344407"/>
            <a:ext cx="5942052" cy="2515182"/>
          </a:xfrm>
          <a:prstGeom prst="rect">
            <a:avLst/>
          </a:prstGeom>
        </p:spPr>
      </p:pic>
      <p:grpSp>
        <p:nvGrpSpPr>
          <p:cNvPr id="14" name="Group 13">
            <a:extLst>
              <a:ext uri="{FF2B5EF4-FFF2-40B4-BE49-F238E27FC236}">
                <a16:creationId xmlns:a16="http://schemas.microsoft.com/office/drawing/2014/main" id="{E6672EA4-BC6B-0847-9A5C-EB23DAEAE98F}"/>
              </a:ext>
            </a:extLst>
          </p:cNvPr>
          <p:cNvGrpSpPr/>
          <p:nvPr userDrawn="1"/>
        </p:nvGrpSpPr>
        <p:grpSpPr>
          <a:xfrm>
            <a:off x="2895640" y="1371917"/>
            <a:ext cx="6399133" cy="914612"/>
            <a:chOff x="5834743" y="2497098"/>
            <a:chExt cx="5114290" cy="1371600"/>
          </a:xfrm>
        </p:grpSpPr>
        <p:grpSp>
          <p:nvGrpSpPr>
            <p:cNvPr id="15" name="Group 14">
              <a:extLst>
                <a:ext uri="{FF2B5EF4-FFF2-40B4-BE49-F238E27FC236}">
                  <a16:creationId xmlns:a16="http://schemas.microsoft.com/office/drawing/2014/main" id="{5604AB6E-603B-F74F-ACCA-290417182742}"/>
                </a:ext>
              </a:extLst>
            </p:cNvPr>
            <p:cNvGrpSpPr/>
            <p:nvPr/>
          </p:nvGrpSpPr>
          <p:grpSpPr>
            <a:xfrm>
              <a:off x="5834743" y="2497098"/>
              <a:ext cx="365306" cy="685800"/>
              <a:chOff x="6324600" y="4114799"/>
              <a:chExt cx="365306" cy="685800"/>
            </a:xfrm>
          </p:grpSpPr>
          <p:cxnSp>
            <p:nvCxnSpPr>
              <p:cNvPr id="19" name="Straight Connector 18">
                <a:extLst>
                  <a:ext uri="{FF2B5EF4-FFF2-40B4-BE49-F238E27FC236}">
                    <a16:creationId xmlns:a16="http://schemas.microsoft.com/office/drawing/2014/main" id="{2C60D5DA-529F-4E4E-8265-506C620B1C04}"/>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51D8D6-1C91-4544-BD56-B1FC18C6770F}"/>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4A0AF084-5C69-394D-B165-4FD9E6DF706D}"/>
                </a:ext>
              </a:extLst>
            </p:cNvPr>
            <p:cNvGrpSpPr/>
            <p:nvPr/>
          </p:nvGrpSpPr>
          <p:grpSpPr>
            <a:xfrm rot="10800000">
              <a:off x="10583726" y="3182898"/>
              <a:ext cx="365307" cy="685800"/>
              <a:chOff x="7692754" y="4114799"/>
              <a:chExt cx="365307" cy="685800"/>
            </a:xfrm>
          </p:grpSpPr>
          <p:cxnSp>
            <p:nvCxnSpPr>
              <p:cNvPr id="17" name="Straight Connector 16">
                <a:extLst>
                  <a:ext uri="{FF2B5EF4-FFF2-40B4-BE49-F238E27FC236}">
                    <a16:creationId xmlns:a16="http://schemas.microsoft.com/office/drawing/2014/main" id="{1107CF8C-2994-7E49-9D41-3A66AB79E429}"/>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EA52515-DDEC-8047-B464-4689D8ACC343}"/>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BF0D3C91-EAB4-B040-9325-6D66621D32ED}"/>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22" name="Text Placeholder 4">
            <a:extLst>
              <a:ext uri="{FF2B5EF4-FFF2-40B4-BE49-F238E27FC236}">
                <a16:creationId xmlns:a16="http://schemas.microsoft.com/office/drawing/2014/main" id="{ECF45E9C-09B2-0F46-A319-FE06AF560E54}"/>
              </a:ext>
            </a:extLst>
          </p:cNvPr>
          <p:cNvSpPr>
            <a:spLocks noGrp="1"/>
          </p:cNvSpPr>
          <p:nvPr>
            <p:ph type="body" sz="quarter" idx="12" hasCustomPrompt="1"/>
          </p:nvPr>
        </p:nvSpPr>
        <p:spPr>
          <a:xfrm>
            <a:off x="2895640" y="2667618"/>
            <a:ext cx="6399133" cy="2972488"/>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a:t>
            </a:r>
          </a:p>
          <a:p>
            <a:pPr lvl="0"/>
            <a:endParaRPr lang="en-US"/>
          </a:p>
        </p:txBody>
      </p:sp>
    </p:spTree>
    <p:extLst>
      <p:ext uri="{BB962C8B-B14F-4D97-AF65-F5344CB8AC3E}">
        <p14:creationId xmlns:p14="http://schemas.microsoft.com/office/powerpoint/2010/main" val="29693528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ransition Folie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29A8E5-57C3-394D-A626-06A648E599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6207" t="-22702" r="-45954" b="25405"/>
          <a:stretch/>
        </p:blipFill>
        <p:spPr>
          <a:xfrm>
            <a:off x="0" y="0"/>
            <a:ext cx="12190413" cy="6859588"/>
          </a:xfrm>
          <a:prstGeom prst="rect">
            <a:avLst/>
          </a:prstGeom>
        </p:spPr>
      </p:pic>
      <p:grpSp>
        <p:nvGrpSpPr>
          <p:cNvPr id="7" name="Group 6">
            <a:extLst>
              <a:ext uri="{FF2B5EF4-FFF2-40B4-BE49-F238E27FC236}">
                <a16:creationId xmlns:a16="http://schemas.microsoft.com/office/drawing/2014/main" id="{E3AD2963-ACB7-6945-8082-47D9F2745445}"/>
              </a:ext>
            </a:extLst>
          </p:cNvPr>
          <p:cNvGrpSpPr/>
          <p:nvPr userDrawn="1"/>
        </p:nvGrpSpPr>
        <p:grpSpPr>
          <a:xfrm>
            <a:off x="1594230" y="2431523"/>
            <a:ext cx="457081" cy="457306"/>
            <a:chOff x="6324600" y="4114799"/>
            <a:chExt cx="685800" cy="685800"/>
          </a:xfrm>
        </p:grpSpPr>
        <p:cxnSp>
          <p:nvCxnSpPr>
            <p:cNvPr id="8" name="Straight Connector 7">
              <a:extLst>
                <a:ext uri="{FF2B5EF4-FFF2-40B4-BE49-F238E27FC236}">
                  <a16:creationId xmlns:a16="http://schemas.microsoft.com/office/drawing/2014/main" id="{F2C368BD-F493-BE4F-B4C6-DDF599FD6A09}"/>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64D3EBA-7E02-AC40-80A7-CEAB83DD4EBF}"/>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7325742-3179-6F4D-BEAA-1CC708847D64}"/>
              </a:ext>
            </a:extLst>
          </p:cNvPr>
          <p:cNvGrpSpPr/>
          <p:nvPr userDrawn="1"/>
        </p:nvGrpSpPr>
        <p:grpSpPr>
          <a:xfrm rot="10800000">
            <a:off x="10139104" y="3970760"/>
            <a:ext cx="457081" cy="457306"/>
            <a:chOff x="6324600" y="4114799"/>
            <a:chExt cx="685800" cy="685800"/>
          </a:xfrm>
        </p:grpSpPr>
        <p:cxnSp>
          <p:nvCxnSpPr>
            <p:cNvPr id="11" name="Straight Connector 10">
              <a:extLst>
                <a:ext uri="{FF2B5EF4-FFF2-40B4-BE49-F238E27FC236}">
                  <a16:creationId xmlns:a16="http://schemas.microsoft.com/office/drawing/2014/main" id="{1FE28308-3F6F-9A4C-B864-560CCD7D2B1C}"/>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8B90EF6-0DB5-834E-BE04-B2217F42333C}"/>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 Placeholder 4">
            <a:extLst>
              <a:ext uri="{FF2B5EF4-FFF2-40B4-BE49-F238E27FC236}">
                <a16:creationId xmlns:a16="http://schemas.microsoft.com/office/drawing/2014/main" id="{A266DED5-47B9-F446-862A-20D8D631AEFE}"/>
              </a:ext>
            </a:extLst>
          </p:cNvPr>
          <p:cNvSpPr>
            <a:spLocks noGrp="1"/>
          </p:cNvSpPr>
          <p:nvPr>
            <p:ph type="body" sz="quarter" idx="12" hasCustomPrompt="1"/>
          </p:nvPr>
        </p:nvSpPr>
        <p:spPr>
          <a:xfrm>
            <a:off x="1752938" y="2515183"/>
            <a:ext cx="8760718" cy="1829223"/>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8290028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bluss/Kontakt Folie hel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8B9E26-7F3C-2945-A96F-6C9F4D20A03A}"/>
              </a:ext>
            </a:extLst>
          </p:cNvPr>
          <p:cNvSpPr txBox="1">
            <a:spLocks noChangeArrowheads="1"/>
          </p:cNvSpPr>
          <p:nvPr userDrawn="1"/>
        </p:nvSpPr>
        <p:spPr>
          <a:xfrm>
            <a:off x="550720" y="914612"/>
            <a:ext cx="11087387" cy="99718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IE" sz="4399" b="1" err="1">
                <a:solidFill>
                  <a:schemeClr val="accent1"/>
                </a:solidFill>
              </a:rPr>
              <a:t>Interessiert</a:t>
            </a:r>
            <a:r>
              <a:rPr lang="en-IE" sz="4399" b="1">
                <a:solidFill>
                  <a:schemeClr val="accent1"/>
                </a:solidFill>
              </a:rPr>
              <a:t>? </a:t>
            </a:r>
            <a:r>
              <a:rPr lang="en-IE" sz="4399" err="1">
                <a:solidFill>
                  <a:schemeClr val="tx1"/>
                </a:solidFill>
              </a:rPr>
              <a:t>Nehmen</a:t>
            </a:r>
            <a:r>
              <a:rPr lang="en-IE" sz="4399">
                <a:solidFill>
                  <a:schemeClr val="tx1"/>
                </a:solidFill>
              </a:rPr>
              <a:t> Sie </a:t>
            </a:r>
            <a:r>
              <a:rPr lang="en-IE" sz="4399" err="1">
                <a:solidFill>
                  <a:schemeClr val="tx1"/>
                </a:solidFill>
              </a:rPr>
              <a:t>Kontakt</a:t>
            </a:r>
            <a:r>
              <a:rPr lang="en-IE" sz="4399">
                <a:solidFill>
                  <a:schemeClr val="tx1"/>
                </a:solidFill>
              </a:rPr>
              <a:t> auf!</a:t>
            </a:r>
          </a:p>
          <a:p>
            <a:pPr>
              <a:defRPr/>
            </a:pPr>
            <a:endParaRPr lang="en-IE" sz="4399">
              <a:solidFill>
                <a:schemeClr val="tx1"/>
              </a:solidFill>
            </a:endParaRPr>
          </a:p>
          <a:p>
            <a:pPr>
              <a:defRPr/>
            </a:pPr>
            <a:endParaRPr lang="en-IE" sz="4399">
              <a:solidFill>
                <a:schemeClr val="tx1"/>
              </a:solidFill>
            </a:endParaRPr>
          </a:p>
        </p:txBody>
      </p:sp>
      <p:sp>
        <p:nvSpPr>
          <p:cNvPr id="7" name="Text Placeholder 6">
            <a:extLst>
              <a:ext uri="{FF2B5EF4-FFF2-40B4-BE49-F238E27FC236}">
                <a16:creationId xmlns:a16="http://schemas.microsoft.com/office/drawing/2014/main" id="{99A12DE7-EFB8-D64B-9244-0F9688EC6834}"/>
              </a:ext>
            </a:extLst>
          </p:cNvPr>
          <p:cNvSpPr>
            <a:spLocks noGrp="1"/>
          </p:cNvSpPr>
          <p:nvPr>
            <p:ph type="body" sz="quarter" idx="10" hasCustomPrompt="1"/>
          </p:nvPr>
        </p:nvSpPr>
        <p:spPr>
          <a:xfrm>
            <a:off x="576907" y="2743835"/>
            <a:ext cx="4494629" cy="3582229"/>
          </a:xfrm>
        </p:spPr>
        <p:txBody>
          <a:bodyPr/>
          <a:lstStyle>
            <a:lvl1pPr marL="0" indent="0">
              <a:buNone/>
              <a:defRPr>
                <a:latin typeface="+mj-lt"/>
              </a:defRPr>
            </a:lvl1pPr>
            <a:lvl2pPr marL="457063" indent="0">
              <a:buNone/>
              <a:defRPr>
                <a:latin typeface="+mj-lt"/>
              </a:defRPr>
            </a:lvl2pPr>
            <a:lvl3pPr marL="0" indent="0">
              <a:buNone/>
              <a:defRPr>
                <a:solidFill>
                  <a:schemeClr val="tx1"/>
                </a:solidFill>
                <a:latin typeface="+mj-lt"/>
              </a:defRPr>
            </a:lvl3pPr>
            <a:lvl4pPr marL="0" indent="0">
              <a:buNone/>
              <a:defRPr>
                <a:solidFill>
                  <a:schemeClr val="tx1"/>
                </a:solidFill>
                <a:latin typeface="+mj-lt"/>
              </a:defRPr>
            </a:lvl4pPr>
            <a:lvl5pPr marL="0" indent="0">
              <a:buNone/>
              <a:defRPr>
                <a:latin typeface="+mj-lt"/>
              </a:defRPr>
            </a:lvl5pPr>
          </a:lstStyle>
          <a:p>
            <a:pPr lvl="2"/>
            <a:r>
              <a:rPr lang="en-US"/>
              <a:t>Name</a:t>
            </a:r>
          </a:p>
          <a:p>
            <a:pPr lvl="2"/>
            <a:endParaRPr lang="en-US"/>
          </a:p>
          <a:p>
            <a:pPr lvl="3"/>
            <a:r>
              <a:rPr lang="en-US" err="1"/>
              <a:t>Adresse</a:t>
            </a:r>
            <a:endParaRPr lang="en-US"/>
          </a:p>
        </p:txBody>
      </p:sp>
      <p:pic>
        <p:nvPicPr>
          <p:cNvPr id="4" name="Picture 3">
            <a:extLst>
              <a:ext uri="{FF2B5EF4-FFF2-40B4-BE49-F238E27FC236}">
                <a16:creationId xmlns:a16="http://schemas.microsoft.com/office/drawing/2014/main" id="{AA3583F8-F3A1-4F49-8918-ECC00C2075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61295" y="5208206"/>
            <a:ext cx="1117309" cy="1117859"/>
          </a:xfrm>
          <a:prstGeom prst="rect">
            <a:avLst/>
          </a:prstGeom>
        </p:spPr>
      </p:pic>
    </p:spTree>
    <p:extLst>
      <p:ext uri="{BB962C8B-B14F-4D97-AF65-F5344CB8AC3E}">
        <p14:creationId xmlns:p14="http://schemas.microsoft.com/office/powerpoint/2010/main" val="322639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63272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0"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200995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Leere Folie mit Headline">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screen">
            <a:extLst>
              <a:ext uri="{28A0092B-C50C-407E-A947-70E740481C1C}">
                <a14:useLocalDpi xmlns:a14="http://schemas.microsoft.com/office/drawing/2010/main"/>
              </a:ext>
            </a:extLst>
          </a:blip>
          <a:srcRect l="3806" t="13541" r="2433"/>
          <a:stretch/>
        </p:blipFill>
        <p:spPr>
          <a:xfrm>
            <a:off x="0" y="0"/>
            <a:ext cx="12190413" cy="6326064"/>
          </a:xfrm>
          <a:prstGeom prst="rect">
            <a:avLst/>
          </a:prstGeom>
        </p:spPr>
      </p:pic>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7" name="Datumsplatzhalter 4">
            <a:extLst>
              <a:ext uri="{FF2B5EF4-FFF2-40B4-BE49-F238E27FC236}">
                <a16:creationId xmlns:a16="http://schemas.microsoft.com/office/drawing/2014/main" id="{71A2F9DD-6098-4674-93E8-7C8C942AC490}"/>
              </a:ext>
            </a:extLst>
          </p:cNvPr>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9" name="Fußzeilenplatzhalter 5">
            <a:extLst>
              <a:ext uri="{FF2B5EF4-FFF2-40B4-BE49-F238E27FC236}">
                <a16:creationId xmlns:a16="http://schemas.microsoft.com/office/drawing/2014/main" id="{F14CCA71-29B7-46E2-BB3F-56F8A18CC445}"/>
              </a:ext>
            </a:extLst>
          </p:cNvPr>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0" name="Foliennummernplatzhalter 6">
            <a:extLst>
              <a:ext uri="{FF2B5EF4-FFF2-40B4-BE49-F238E27FC236}">
                <a16:creationId xmlns:a16="http://schemas.microsoft.com/office/drawing/2014/main" id="{FFFCB292-2BBE-42AB-A05C-3B2CF564E768}"/>
              </a:ext>
            </a:extLst>
          </p:cNvPr>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5644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0">
          <p15:clr>
            <a:srgbClr val="FBAE40"/>
          </p15:clr>
        </p15:guide>
        <p15:guide id="2" pos="28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nhalt Folie Einleitung 1">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A2F8F88-B45D-A940-A8AE-C7E46B0A5756}"/>
              </a:ext>
            </a:extLst>
          </p:cNvPr>
          <p:cNvSpPr>
            <a:spLocks noGrp="1"/>
          </p:cNvSpPr>
          <p:nvPr>
            <p:ph type="pic" sz="quarter" idx="10"/>
          </p:nvPr>
        </p:nvSpPr>
        <p:spPr>
          <a:xfrm>
            <a:off x="1" y="0"/>
            <a:ext cx="7913612" cy="6859588"/>
          </a:xfrm>
          <a:prstGeom prst="rect">
            <a:avLst/>
          </a:prstGeom>
          <a:solidFill>
            <a:schemeClr val="accent4"/>
          </a:solidFill>
        </p:spPr>
        <p:txBody>
          <a:bodyPr/>
          <a:lstStyle>
            <a:lvl1pPr marL="0" indent="0">
              <a:buNone/>
              <a:defRPr/>
            </a:lvl1pPr>
          </a:lstStyle>
          <a:p>
            <a:endParaRPr lang="de-DE"/>
          </a:p>
        </p:txBody>
      </p:sp>
      <p:sp>
        <p:nvSpPr>
          <p:cNvPr id="5" name="Rectangle 4">
            <a:extLst>
              <a:ext uri="{FF2B5EF4-FFF2-40B4-BE49-F238E27FC236}">
                <a16:creationId xmlns:a16="http://schemas.microsoft.com/office/drawing/2014/main" id="{A83804B7-1458-F142-9784-389FA4C4E46C}"/>
              </a:ext>
            </a:extLst>
          </p:cNvPr>
          <p:cNvSpPr/>
          <p:nvPr/>
        </p:nvSpPr>
        <p:spPr>
          <a:xfrm>
            <a:off x="7923768" y="0"/>
            <a:ext cx="4266645" cy="6859588"/>
          </a:xfrm>
          <a:prstGeom prst="rect">
            <a:avLst/>
          </a:prstGeom>
          <a:solidFill>
            <a:schemeClr val="accent1">
              <a:alpha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a:solidFill>
                <a:schemeClr val="tx1"/>
              </a:solidFill>
            </a:endParaRPr>
          </a:p>
        </p:txBody>
      </p:sp>
      <p:grpSp>
        <p:nvGrpSpPr>
          <p:cNvPr id="17" name="Group 16">
            <a:extLst>
              <a:ext uri="{FF2B5EF4-FFF2-40B4-BE49-F238E27FC236}">
                <a16:creationId xmlns:a16="http://schemas.microsoft.com/office/drawing/2014/main" id="{AB6951F7-B78F-1B49-834C-11B51425A09C}"/>
              </a:ext>
            </a:extLst>
          </p:cNvPr>
          <p:cNvGrpSpPr/>
          <p:nvPr userDrawn="1"/>
        </p:nvGrpSpPr>
        <p:grpSpPr>
          <a:xfrm>
            <a:off x="8425778" y="1194076"/>
            <a:ext cx="3409084" cy="914612"/>
            <a:chOff x="5834743" y="2497098"/>
            <a:chExt cx="5114290" cy="1371600"/>
          </a:xfrm>
        </p:grpSpPr>
        <p:grpSp>
          <p:nvGrpSpPr>
            <p:cNvPr id="18" name="Group 17">
              <a:extLst>
                <a:ext uri="{FF2B5EF4-FFF2-40B4-BE49-F238E27FC236}">
                  <a16:creationId xmlns:a16="http://schemas.microsoft.com/office/drawing/2014/main" id="{ED1846AD-E918-5A48-BD9E-57E3D91B4DEA}"/>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6B05BD64-243B-E049-951D-18A5453210B7}"/>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EA18140-4F1C-4E49-9B18-2E80E543C1A4}"/>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0535367-B3B0-6E46-B3EF-E299D87FC2DD}"/>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A7346A34-1B12-0543-98EC-2788286C7FB7}"/>
                  </a:ext>
                </a:extLst>
              </p:cNvPr>
              <p:cNvCxnSpPr/>
              <p:nvPr/>
            </p:nvCxnSpPr>
            <p:spPr>
              <a:xfrm flipV="1">
                <a:off x="7692754"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D8033C6-E42A-FB42-922F-752449007676}"/>
                  </a:ext>
                </a:extLst>
              </p:cNvPr>
              <p:cNvCxnSpPr/>
              <p:nvPr/>
            </p:nvCxnSpPr>
            <p:spPr>
              <a:xfrm>
                <a:off x="7692754"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2A6E46C7-CF9B-BC46-92E0-48B11AF4E9E8}"/>
              </a:ext>
            </a:extLst>
          </p:cNvPr>
          <p:cNvSpPr>
            <a:spLocks noGrp="1"/>
          </p:cNvSpPr>
          <p:nvPr>
            <p:ph type="body" sz="quarter" idx="11" hasCustomPrompt="1"/>
          </p:nvPr>
        </p:nvSpPr>
        <p:spPr>
          <a:xfrm>
            <a:off x="8524946" y="1295707"/>
            <a:ext cx="3153302" cy="678702"/>
          </a:xfrm>
          <a:prstGeom prst="rect">
            <a:avLst/>
          </a:prstGeom>
        </p:spPr>
        <p:txBody>
          <a:bodyPr anchor="ctr"/>
          <a:lstStyle>
            <a:lvl1pPr marL="0" indent="0" algn="ctr">
              <a:buNone/>
              <a:defRPr sz="3599">
                <a:solidFill>
                  <a:schemeClr val="bg2"/>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4CF1EF8-7968-EC44-82E0-A2C542A26E1F}"/>
              </a:ext>
            </a:extLst>
          </p:cNvPr>
          <p:cNvSpPr>
            <a:spLocks noGrp="1"/>
          </p:cNvSpPr>
          <p:nvPr>
            <p:ph type="body" sz="quarter" idx="13" hasCustomPrompt="1"/>
          </p:nvPr>
        </p:nvSpPr>
        <p:spPr>
          <a:xfrm>
            <a:off x="8524244" y="2515182"/>
            <a:ext cx="3153541" cy="4115753"/>
          </a:xfrm>
        </p:spPr>
        <p:txBody>
          <a:bodyPr/>
          <a:lstStyle>
            <a:lvl1pPr marL="0" indent="0">
              <a:buNone/>
              <a:defRPr/>
            </a:lvl1pPr>
          </a:lstStyle>
          <a:p>
            <a:pPr lvl="0"/>
            <a:r>
              <a:rPr lang="en-US"/>
              <a:t>Text </a:t>
            </a:r>
            <a:r>
              <a:rPr lang="en-US" err="1"/>
              <a:t>hinzufügen</a:t>
            </a:r>
            <a:endParaRPr lang="en-US"/>
          </a:p>
        </p:txBody>
      </p:sp>
    </p:spTree>
    <p:extLst>
      <p:ext uri="{BB962C8B-B14F-4D97-AF65-F5344CB8AC3E}">
        <p14:creationId xmlns:p14="http://schemas.microsoft.com/office/powerpoint/2010/main" val="1915465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060347"/>
      </p:ext>
    </p:extLst>
  </p:cSld>
  <p:clrMapOvr>
    <a:masterClrMapping/>
  </p:clrMapOvr>
  <p:transition>
    <p:fade/>
  </p:transition>
  <p:extLst>
    <p:ext uri="{DCECCB84-F9BA-43D5-87BE-67443E8EF086}">
      <p15:sldGuideLst xmlns:p15="http://schemas.microsoft.com/office/powerpoint/2012/main">
        <p15:guide id="1" pos="3794">
          <p15:clr>
            <a:srgbClr val="FBAE40"/>
          </p15:clr>
        </p15:guide>
        <p15:guide id="2" pos="3885">
          <p15:clr>
            <a:srgbClr val="FBAE40"/>
          </p15:clr>
        </p15:guide>
        <p15:guide id="3" pos="2590">
          <p15:clr>
            <a:srgbClr val="FBAE40"/>
          </p15:clr>
        </p15:guide>
        <p15:guide id="4" pos="2680">
          <p15:clr>
            <a:srgbClr val="FBAE40"/>
          </p15:clr>
        </p15:guide>
        <p15:guide id="5" pos="4998">
          <p15:clr>
            <a:srgbClr val="FBAE40"/>
          </p15:clr>
        </p15:guide>
        <p15:guide id="6" pos="5088">
          <p15:clr>
            <a:srgbClr val="FBAE40"/>
          </p15:clr>
        </p15:guide>
        <p15:guide id="7" pos="2080">
          <p15:clr>
            <a:srgbClr val="FBAE40"/>
          </p15:clr>
        </p15:guide>
        <p15:guide id="8" pos="1988">
          <p15:clr>
            <a:srgbClr val="FBAE40"/>
          </p15:clr>
        </p15:guide>
        <p15:guide id="9" pos="5600">
          <p15:clr>
            <a:srgbClr val="FBAE40"/>
          </p15:clr>
        </p15:guide>
        <p15:guide id="10" pos="5690">
          <p15:clr>
            <a:srgbClr val="FBAE40"/>
          </p15:clr>
        </p15:guide>
        <p15:guide id="11" pos="1386">
          <p15:clr>
            <a:srgbClr val="FBAE40"/>
          </p15:clr>
        </p15:guide>
        <p15:guide id="12" pos="1476">
          <p15:clr>
            <a:srgbClr val="FBAE40"/>
          </p15:clr>
        </p15:guide>
        <p15:guide id="13" pos="6203">
          <p15:clr>
            <a:srgbClr val="FBAE40"/>
          </p15:clr>
        </p15:guide>
        <p15:guide id="14" pos="6293">
          <p15:clr>
            <a:srgbClr val="FBAE40"/>
          </p15:clr>
        </p15:guide>
        <p15:guide id="15" orient="horz" pos="2423">
          <p15:clr>
            <a:srgbClr val="FBAE40"/>
          </p15:clr>
        </p15:guide>
        <p15:guide id="16" orient="horz" pos="2514">
          <p15:clr>
            <a:srgbClr val="FBAE40"/>
          </p15:clr>
        </p15:guide>
        <p15:guide id="17" orient="horz" pos="1881">
          <p15:clr>
            <a:srgbClr val="FBAE40"/>
          </p15:clr>
        </p15:guide>
        <p15:guide id="18" orient="horz" pos="1971">
          <p15:clr>
            <a:srgbClr val="FBAE40"/>
          </p15:clr>
        </p15:guide>
        <p15:guide id="19" orient="horz" pos="3056">
          <p15:clr>
            <a:srgbClr val="FBAE40"/>
          </p15:clr>
        </p15:guide>
        <p15:guide id="20" orient="horz" pos="2966">
          <p15:clr>
            <a:srgbClr val="FBAE40"/>
          </p15:clr>
        </p15:guide>
        <p15:guide id="21" pos="3839" userDrawn="1">
          <p15:clr>
            <a:srgbClr val="9FCC3B"/>
          </p15:clr>
        </p15:guide>
        <p15:guide id="22" orient="horz" pos="2160" userDrawn="1">
          <p15:clr>
            <a:srgbClr val="9FCC3B"/>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halt Folie Einleitung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9633C1-C2AF-B44B-91C0-7C104ABA605C}"/>
              </a:ext>
            </a:extLst>
          </p:cNvPr>
          <p:cNvSpPr/>
          <p:nvPr userDrawn="1"/>
        </p:nvSpPr>
        <p:spPr>
          <a:xfrm>
            <a:off x="6095206" y="1"/>
            <a:ext cx="6094413" cy="6859588"/>
          </a:xfrm>
          <a:prstGeom prst="rect">
            <a:avLst/>
          </a:prstGeom>
          <a:solidFill>
            <a:schemeClr val="accent1">
              <a:alpha val="2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23B91884-13CF-954D-9600-2C10DDD441D7}"/>
              </a:ext>
            </a:extLst>
          </p:cNvPr>
          <p:cNvGrpSpPr/>
          <p:nvPr userDrawn="1"/>
        </p:nvGrpSpPr>
        <p:grpSpPr>
          <a:xfrm>
            <a:off x="1259864" y="1371917"/>
            <a:ext cx="3409084" cy="914612"/>
            <a:chOff x="5834743" y="2497098"/>
            <a:chExt cx="5114290" cy="1371600"/>
          </a:xfrm>
        </p:grpSpPr>
        <p:grpSp>
          <p:nvGrpSpPr>
            <p:cNvPr id="18" name="Group 17">
              <a:extLst>
                <a:ext uri="{FF2B5EF4-FFF2-40B4-BE49-F238E27FC236}">
                  <a16:creationId xmlns:a16="http://schemas.microsoft.com/office/drawing/2014/main" id="{A02DF09B-65CB-E540-9911-4F6C41ABF596}"/>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0AD6C437-FA93-E344-B35E-85D220EE29D5}"/>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2209CB-2B54-F048-837D-498251630D4B}"/>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AECA584E-CC25-A545-AB86-36C3AA8FDEB2}"/>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7403D452-0E4C-4346-AB3B-444D58DF0BED}"/>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A6E899-20F3-774C-A6C0-F7586739AE4A}"/>
                  </a:ext>
                </a:extLst>
              </p:cNvPr>
              <p:cNvCxnSpPr/>
              <p:nvPr/>
            </p:nvCxnSpPr>
            <p:spPr>
              <a:xfrm>
                <a:off x="7692754"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3DEFAA35-4CB3-1F45-BAEE-476D20B15A84}"/>
              </a:ext>
            </a:extLst>
          </p:cNvPr>
          <p:cNvSpPr>
            <a:spLocks noGrp="1"/>
          </p:cNvSpPr>
          <p:nvPr>
            <p:ph type="body" sz="quarter" idx="11" hasCustomPrompt="1"/>
          </p:nvPr>
        </p:nvSpPr>
        <p:spPr>
          <a:xfrm>
            <a:off x="1359033" y="1473547"/>
            <a:ext cx="3153302"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7FF0F13-041E-044E-AD33-922C3CB375C4}"/>
              </a:ext>
            </a:extLst>
          </p:cNvPr>
          <p:cNvSpPr>
            <a:spLocks noGrp="1"/>
          </p:cNvSpPr>
          <p:nvPr>
            <p:ph type="body" sz="quarter" idx="12" hasCustomPrompt="1"/>
          </p:nvPr>
        </p:nvSpPr>
        <p:spPr>
          <a:xfrm>
            <a:off x="1359033" y="2896270"/>
            <a:ext cx="3153302" cy="3277359"/>
          </a:xfrm>
        </p:spPr>
        <p:txBody>
          <a:bodyPr/>
          <a:lstStyle>
            <a:lvl1pPr marL="0" indent="0">
              <a:buNone/>
              <a:defRPr/>
            </a:lvl1pPr>
          </a:lstStyle>
          <a:p>
            <a:pPr lvl="0"/>
            <a:r>
              <a:rPr lang="en-US"/>
              <a:t>Text </a:t>
            </a:r>
            <a:r>
              <a:rPr lang="en-US" err="1"/>
              <a:t>hinzufügen</a:t>
            </a:r>
            <a:endParaRPr lang="en-US"/>
          </a:p>
        </p:txBody>
      </p:sp>
      <p:pic>
        <p:nvPicPr>
          <p:cNvPr id="15" name="Picture 14">
            <a:extLst>
              <a:ext uri="{FF2B5EF4-FFF2-40B4-BE49-F238E27FC236}">
                <a16:creationId xmlns:a16="http://schemas.microsoft.com/office/drawing/2014/main" id="{922533DE-A10F-0E47-B4B7-C014A0A72A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207" y="0"/>
            <a:ext cx="6094413" cy="6859588"/>
          </a:xfrm>
          <a:prstGeom prst="rect">
            <a:avLst/>
          </a:prstGeom>
        </p:spPr>
      </p:pic>
    </p:spTree>
    <p:extLst>
      <p:ext uri="{BB962C8B-B14F-4D97-AF65-F5344CB8AC3E}">
        <p14:creationId xmlns:p14="http://schemas.microsoft.com/office/powerpoint/2010/main" val="2615218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932805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31"/>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93440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olie mit Headline und Text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0AA62B-161A-A447-9506-712B9E2416E1}"/>
              </a:ext>
            </a:extLst>
          </p:cNvPr>
          <p:cNvSpPr>
            <a:spLocks noGrp="1"/>
          </p:cNvSpPr>
          <p:nvPr>
            <p:ph type="body" sz="quarter" idx="10"/>
          </p:nvPr>
        </p:nvSpPr>
        <p:spPr>
          <a:xfrm>
            <a:off x="583048" y="1371918"/>
            <a:ext cx="11074104" cy="4496841"/>
          </a:xfrm>
          <a:prstGeom prst="rect">
            <a:avLst/>
          </a:prstGeom>
        </p:spPr>
        <p:txBody>
          <a:bodyPr/>
          <a:lstStyle>
            <a:lvl1pPr marL="0" indent="0">
              <a:lnSpc>
                <a:spcPct val="150000"/>
              </a:lnSpc>
              <a:spcBef>
                <a:spcPts val="0"/>
              </a:spcBef>
              <a:spcAft>
                <a:spcPts val="600"/>
              </a:spcAft>
              <a:buNone/>
              <a:defRPr sz="1999" baseline="0">
                <a:latin typeface="Calibri Light" panose="020F0302020204030204" pitchFamily="34" charset="0"/>
              </a:defRPr>
            </a:lvl1pPr>
            <a:lvl2pPr marL="457084" indent="0" algn="l">
              <a:buNone/>
              <a:defRPr>
                <a:latin typeface="+mj-lt"/>
              </a:defRPr>
            </a:lvl2pPr>
            <a:lvl3pPr marL="914172" indent="0" algn="l">
              <a:buNone/>
              <a:defRPr>
                <a:latin typeface="+mj-lt"/>
              </a:defRPr>
            </a:lvl3pPr>
            <a:lvl4pPr marL="1371256" indent="0" algn="l">
              <a:buNone/>
              <a:defRPr>
                <a:latin typeface="+mj-lt"/>
              </a:defRPr>
            </a:lvl4pPr>
            <a:lvl5pPr marL="1828343" indent="0" algn="l">
              <a:buNone/>
              <a:defRPr>
                <a:latin typeface="+mj-lt"/>
              </a:defRPr>
            </a:lvl5pPr>
          </a:lstStyle>
          <a:p>
            <a:pPr lvl="0"/>
            <a:r>
              <a:rPr lang="en-US"/>
              <a:t>Edit Master text styles</a:t>
            </a:r>
          </a:p>
          <a:p>
            <a:pPr lvl="0"/>
            <a:r>
              <a:rPr lang="en-US"/>
              <a:t>Second level</a:t>
            </a:r>
          </a:p>
          <a:p>
            <a:pPr lvl="0"/>
            <a:r>
              <a:rPr lang="en-US"/>
              <a:t>Third level</a:t>
            </a:r>
          </a:p>
          <a:p>
            <a:pPr lvl="0"/>
            <a:r>
              <a:rPr lang="en-US"/>
              <a:t>Fourth level</a:t>
            </a:r>
          </a:p>
          <a:p>
            <a:pPr lvl="0"/>
            <a:r>
              <a:rPr lang="en-US"/>
              <a:t>Fifth level</a:t>
            </a:r>
            <a:endParaRPr lang="de-DE"/>
          </a:p>
        </p:txBody>
      </p:sp>
      <p:cxnSp>
        <p:nvCxnSpPr>
          <p:cNvPr id="9" name="Straight Connector 8">
            <a:extLst>
              <a:ext uri="{FF2B5EF4-FFF2-40B4-BE49-F238E27FC236}">
                <a16:creationId xmlns:a16="http://schemas.microsoft.com/office/drawing/2014/main" id="{6EE2682B-B675-864A-B498-70CE40CBA5C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15392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lie mit Headline und 2 Spalten Tex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CD522D1-DAF9-B945-9DC0-B15E95C61E20}"/>
              </a:ext>
            </a:extLst>
          </p:cNvPr>
          <p:cNvSpPr>
            <a:spLocks noGrp="1"/>
          </p:cNvSpPr>
          <p:nvPr>
            <p:ph type="body" sz="quarter" idx="10"/>
          </p:nvPr>
        </p:nvSpPr>
        <p:spPr>
          <a:xfrm>
            <a:off x="547521" y="1371918"/>
            <a:ext cx="6856214" cy="393683"/>
          </a:xfrm>
          <a:prstGeom prst="rect">
            <a:avLst/>
          </a:prstGeom>
        </p:spPr>
        <p:txBody>
          <a:bodyPr/>
          <a:lstStyle/>
          <a:p>
            <a:pPr lvl="0"/>
            <a:r>
              <a:rPr lang="en-US"/>
              <a:t>Edit Master text styles</a:t>
            </a:r>
          </a:p>
        </p:txBody>
      </p:sp>
      <p:sp>
        <p:nvSpPr>
          <p:cNvPr id="16" name="Text Placeholder 15">
            <a:extLst>
              <a:ext uri="{FF2B5EF4-FFF2-40B4-BE49-F238E27FC236}">
                <a16:creationId xmlns:a16="http://schemas.microsoft.com/office/drawing/2014/main" id="{32B8415E-3DE5-E348-B901-3DE5D2DA6E66}"/>
              </a:ext>
            </a:extLst>
          </p:cNvPr>
          <p:cNvSpPr>
            <a:spLocks noGrp="1"/>
          </p:cNvSpPr>
          <p:nvPr>
            <p:ph type="body" sz="quarter" idx="12"/>
          </p:nvPr>
        </p:nvSpPr>
        <p:spPr>
          <a:xfrm>
            <a:off x="547520" y="1989601"/>
            <a:ext cx="5475475" cy="503354"/>
          </a:xfrm>
          <a:noFill/>
        </p:spPr>
        <p:txBody>
          <a:bodyPr anchor="ctr"/>
          <a:lstStyle>
            <a:lvl1pPr marL="0" indent="0">
              <a:buNone/>
              <a:defRPr sz="1799"/>
            </a:lvl1pPr>
          </a:lstStyle>
          <a:p>
            <a:pPr lvl="0"/>
            <a:r>
              <a:rPr lang="en-US"/>
              <a:t>Edit Master text style</a:t>
            </a:r>
          </a:p>
        </p:txBody>
      </p:sp>
      <p:sp>
        <p:nvSpPr>
          <p:cNvPr id="17" name="Text Placeholder 15">
            <a:extLst>
              <a:ext uri="{FF2B5EF4-FFF2-40B4-BE49-F238E27FC236}">
                <a16:creationId xmlns:a16="http://schemas.microsoft.com/office/drawing/2014/main" id="{927901D7-F7D8-4F48-8944-D0F24461E752}"/>
              </a:ext>
            </a:extLst>
          </p:cNvPr>
          <p:cNvSpPr>
            <a:spLocks noGrp="1"/>
          </p:cNvSpPr>
          <p:nvPr>
            <p:ph type="body" sz="quarter" idx="13"/>
          </p:nvPr>
        </p:nvSpPr>
        <p:spPr>
          <a:xfrm>
            <a:off x="6173770" y="1989601"/>
            <a:ext cx="5475475" cy="503354"/>
          </a:xfrm>
          <a:noFill/>
        </p:spPr>
        <p:txBody>
          <a:bodyPr anchor="ctr"/>
          <a:lstStyle>
            <a:lvl1pPr marL="0" indent="0">
              <a:buNone/>
              <a:defRPr sz="1799"/>
            </a:lvl1pPr>
          </a:lstStyle>
          <a:p>
            <a:pPr lvl="0"/>
            <a:r>
              <a:rPr lang="en-US"/>
              <a:t>Edit Master text style</a:t>
            </a:r>
          </a:p>
        </p:txBody>
      </p:sp>
      <p:sp>
        <p:nvSpPr>
          <p:cNvPr id="19" name="Text Placeholder 18">
            <a:extLst>
              <a:ext uri="{FF2B5EF4-FFF2-40B4-BE49-F238E27FC236}">
                <a16:creationId xmlns:a16="http://schemas.microsoft.com/office/drawing/2014/main" id="{621D45F5-F1E3-D740-A2F1-B02164615BF7}"/>
              </a:ext>
            </a:extLst>
          </p:cNvPr>
          <p:cNvSpPr>
            <a:spLocks noGrp="1"/>
          </p:cNvSpPr>
          <p:nvPr>
            <p:ph type="body" sz="quarter" idx="14" hasCustomPrompt="1"/>
          </p:nvPr>
        </p:nvSpPr>
        <p:spPr>
          <a:xfrm>
            <a:off x="547520" y="2565699"/>
            <a:ext cx="5475475" cy="3412861"/>
          </a:xfrm>
          <a:noFill/>
          <a:ln>
            <a:noFill/>
          </a:ln>
        </p:spPr>
        <p:txBody>
          <a:bodyPr>
            <a:normAutofit/>
          </a:bodyPr>
          <a:lstStyle>
            <a:lvl1pPr marL="0" indent="0">
              <a:buNone/>
              <a:defRPr sz="1500"/>
            </a:lvl1pPr>
            <a:lvl3pPr marL="914172" indent="0">
              <a:buNone/>
              <a:defRPr/>
            </a:lvl3pPr>
            <a:lvl4pPr marL="1371256" indent="0">
              <a:buNone/>
              <a:defRPr/>
            </a:lvl4pPr>
            <a:lvl5pPr marL="1828343" indent="0">
              <a:buNone/>
              <a:defRPr/>
            </a:lvl5pPr>
          </a:lstStyle>
          <a:p>
            <a:pPr lvl="0"/>
            <a:r>
              <a:rPr lang="en-US"/>
              <a:t>Text </a:t>
            </a:r>
            <a:r>
              <a:rPr lang="en-US" err="1"/>
              <a:t>hinzufügen</a:t>
            </a:r>
            <a:endParaRPr lang="en-US"/>
          </a:p>
        </p:txBody>
      </p:sp>
      <p:sp>
        <p:nvSpPr>
          <p:cNvPr id="20" name="Text Placeholder 18">
            <a:extLst>
              <a:ext uri="{FF2B5EF4-FFF2-40B4-BE49-F238E27FC236}">
                <a16:creationId xmlns:a16="http://schemas.microsoft.com/office/drawing/2014/main" id="{FCC6084D-3019-8841-A33F-DF3163FC126D}"/>
              </a:ext>
            </a:extLst>
          </p:cNvPr>
          <p:cNvSpPr>
            <a:spLocks noGrp="1"/>
          </p:cNvSpPr>
          <p:nvPr>
            <p:ph type="body" sz="quarter" idx="15" hasCustomPrompt="1"/>
          </p:nvPr>
        </p:nvSpPr>
        <p:spPr>
          <a:xfrm>
            <a:off x="6173770" y="2565699"/>
            <a:ext cx="5475475" cy="3412861"/>
          </a:xfrm>
          <a:noFill/>
          <a:ln>
            <a:noFill/>
          </a:ln>
        </p:spPr>
        <p:txBody>
          <a:bodyPr>
            <a:normAutofit/>
          </a:bodyPr>
          <a:lstStyle>
            <a:lvl1pPr marL="0" indent="0">
              <a:buNone/>
              <a:defRPr sz="1500"/>
            </a:lvl1pPr>
            <a:lvl3pPr marL="914172" indent="0">
              <a:buNone/>
              <a:defRPr/>
            </a:lvl3pPr>
            <a:lvl4pPr marL="1371256" indent="0">
              <a:buNone/>
              <a:defRPr/>
            </a:lvl4pPr>
            <a:lvl5pPr marL="1828343" indent="0">
              <a:buNone/>
              <a:defRPr/>
            </a:lvl5pPr>
          </a:lstStyle>
          <a:p>
            <a:pPr lvl="0"/>
            <a:r>
              <a:rPr lang="en-US"/>
              <a:t>Text </a:t>
            </a:r>
            <a:r>
              <a:rPr lang="en-US" err="1"/>
              <a:t>hinzufügen</a:t>
            </a:r>
            <a:endParaRPr lang="en-US"/>
          </a:p>
        </p:txBody>
      </p:sp>
      <p:cxnSp>
        <p:nvCxnSpPr>
          <p:cNvPr id="9" name="Straight Connector 8">
            <a:extLst>
              <a:ext uri="{FF2B5EF4-FFF2-40B4-BE49-F238E27FC236}">
                <a16:creationId xmlns:a16="http://schemas.microsoft.com/office/drawing/2014/main" id="{CB3A0C89-282D-8344-A845-7B6D56F958F4}"/>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2" name="Textplatzhalter 9">
            <a:extLst>
              <a:ext uri="{FF2B5EF4-FFF2-40B4-BE49-F238E27FC236}">
                <a16:creationId xmlns:a16="http://schemas.microsoft.com/office/drawing/2014/main" id="{4BC180E9-17C0-44DB-BE67-341803F4CFB7}"/>
              </a:ext>
            </a:extLst>
          </p:cNvPr>
          <p:cNvSpPr>
            <a:spLocks noGrp="1"/>
          </p:cNvSpPr>
          <p:nvPr>
            <p:ph type="body" sz="quarter" idx="16"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5"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21"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44444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lie mit Headline und Bild">
    <p:spTree>
      <p:nvGrpSpPr>
        <p:cNvPr id="1" name=""/>
        <p:cNvGrpSpPr/>
        <p:nvPr/>
      </p:nvGrpSpPr>
      <p:grpSpPr>
        <a:xfrm>
          <a:off x="0" y="0"/>
          <a:ext cx="0" cy="0"/>
          <a:chOff x="0" y="0"/>
          <a:chExt cx="0" cy="0"/>
        </a:xfrm>
      </p:grpSpPr>
      <p:sp>
        <p:nvSpPr>
          <p:cNvPr id="7" name="Rectangle 6"/>
          <p:cNvSpPr/>
          <p:nvPr userDrawn="1"/>
        </p:nvSpPr>
        <p:spPr>
          <a:xfrm>
            <a:off x="0" y="1600571"/>
            <a:ext cx="12190413" cy="3658447"/>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6" name="Picture Placeholder 5"/>
          <p:cNvSpPr>
            <a:spLocks noGrp="1"/>
          </p:cNvSpPr>
          <p:nvPr>
            <p:ph type="pic" sz="quarter" idx="11"/>
          </p:nvPr>
        </p:nvSpPr>
        <p:spPr>
          <a:xfrm>
            <a:off x="0" y="1600571"/>
            <a:ext cx="12190413"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9" name="Straight Connector 8">
            <a:extLst>
              <a:ext uri="{FF2B5EF4-FFF2-40B4-BE49-F238E27FC236}">
                <a16:creationId xmlns:a16="http://schemas.microsoft.com/office/drawing/2014/main" id="{483A9F27-BD40-9740-8F88-8E41A9C75C4D}"/>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538289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lie mit Headline und Video">
    <p:spTree>
      <p:nvGrpSpPr>
        <p:cNvPr id="1" name=""/>
        <p:cNvGrpSpPr/>
        <p:nvPr/>
      </p:nvGrpSpPr>
      <p:grpSpPr>
        <a:xfrm>
          <a:off x="0" y="0"/>
          <a:ext cx="0" cy="0"/>
          <a:chOff x="0" y="0"/>
          <a:chExt cx="0" cy="0"/>
        </a:xfrm>
      </p:grpSpPr>
      <p:sp>
        <p:nvSpPr>
          <p:cNvPr id="7" name="Rectangle 6"/>
          <p:cNvSpPr/>
          <p:nvPr userDrawn="1"/>
        </p:nvSpPr>
        <p:spPr>
          <a:xfrm>
            <a:off x="0" y="1295700"/>
            <a:ext cx="12190413" cy="4801712"/>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3" name="Media Placeholder 2">
            <a:extLst>
              <a:ext uri="{FF2B5EF4-FFF2-40B4-BE49-F238E27FC236}">
                <a16:creationId xmlns:a16="http://schemas.microsoft.com/office/drawing/2014/main" id="{08449E29-13F3-BC40-9A41-83715958A037}"/>
              </a:ext>
            </a:extLst>
          </p:cNvPr>
          <p:cNvSpPr>
            <a:spLocks noGrp="1"/>
          </p:cNvSpPr>
          <p:nvPr>
            <p:ph type="media" sz="quarter" idx="10"/>
          </p:nvPr>
        </p:nvSpPr>
        <p:spPr>
          <a:xfrm>
            <a:off x="0" y="1295700"/>
            <a:ext cx="12190413" cy="4801712"/>
          </a:xfrm>
          <a:prstGeom prst="rect">
            <a:avLst/>
          </a:prstGeom>
        </p:spPr>
        <p:txBody>
          <a:bodyPr/>
          <a:lstStyle/>
          <a:p>
            <a:endParaRPr lang="de-DE"/>
          </a:p>
        </p:txBody>
      </p:sp>
      <p:cxnSp>
        <p:nvCxnSpPr>
          <p:cNvPr id="8" name="Straight Connector 7">
            <a:extLst>
              <a:ext uri="{FF2B5EF4-FFF2-40B4-BE49-F238E27FC236}">
                <a16:creationId xmlns:a16="http://schemas.microsoft.com/office/drawing/2014/main" id="{BA849E2F-0A29-CB40-AC1F-8164D3B22ACE}"/>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0"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56033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lie mit Headline und Bild 2">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5206"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7" name="Straight Connector 6">
            <a:extLst>
              <a:ext uri="{FF2B5EF4-FFF2-40B4-BE49-F238E27FC236}">
                <a16:creationId xmlns:a16="http://schemas.microsoft.com/office/drawing/2014/main" id="{2A044D97-5B62-BD4F-8BD5-BC25B61CFEEA}"/>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2479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lie mit Headline und Bild 3">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8" name="Straight Connector 7">
            <a:extLst>
              <a:ext uri="{FF2B5EF4-FFF2-40B4-BE49-F238E27FC236}">
                <a16:creationId xmlns:a16="http://schemas.microsoft.com/office/drawing/2014/main" id="{49DEDBE2-5578-0045-8642-014FC4FD110F}"/>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55465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lie mit Headline und Bild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5206" y="0"/>
            <a:ext cx="6095207" cy="6859588"/>
          </a:xfrm>
          <a:prstGeom prst="rect">
            <a:avLst/>
          </a:prstGeom>
        </p:spPr>
        <p:txBody>
          <a:bodyPr/>
          <a:lstStyle>
            <a:lvl1pPr>
              <a:defRPr b="0" i="0">
                <a:latin typeface="Calibri Light" panose="020F0302020204030204" pitchFamily="34" charset="0"/>
              </a:defRPr>
            </a:lvl1pPr>
          </a:lstStyle>
          <a:p>
            <a:endParaRPr lang="uk-UA"/>
          </a:p>
        </p:txBody>
      </p:sp>
      <p:cxnSp>
        <p:nvCxnSpPr>
          <p:cNvPr id="6" name="Straight Connector 5">
            <a:extLst>
              <a:ext uri="{FF2B5EF4-FFF2-40B4-BE49-F238E27FC236}">
                <a16:creationId xmlns:a16="http://schemas.microsoft.com/office/drawing/2014/main" id="{35577CC9-D946-554B-A9C7-4CA74BD7744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3" y="376625"/>
            <a:ext cx="545878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3" y="838394"/>
            <a:ext cx="5458784"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6437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9" name="Textplatzhalter 8"/>
          <p:cNvSpPr>
            <a:spLocks noGrp="1"/>
          </p:cNvSpPr>
          <p:nvPr>
            <p:ph type="body" sz="quarter" idx="13"/>
          </p:nvPr>
        </p:nvSpPr>
        <p:spPr bwMode="gray">
          <a:xfrm>
            <a:off x="407196"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5"/>
          </p:nvPr>
        </p:nvSpPr>
        <p:spPr/>
        <p:txBody>
          <a:bodyPr/>
          <a:lstStyle/>
          <a:p>
            <a:endParaRPr lang="de-DE"/>
          </a:p>
        </p:txBody>
      </p:sp>
      <p:sp>
        <p:nvSpPr>
          <p:cNvPr id="7" name="Fußzeilenplatzhalter 6"/>
          <p:cNvSpPr>
            <a:spLocks noGrp="1"/>
          </p:cNvSpPr>
          <p:nvPr>
            <p:ph type="ftr" sz="quarter" idx="16"/>
          </p:nvPr>
        </p:nvSpPr>
        <p:spPr/>
        <p:txBody>
          <a:bodyPr/>
          <a:lstStyle/>
          <a:p>
            <a:r>
              <a:rPr lang="de-DE"/>
              <a:t>Schwarz Group // Corporate Presentation //</a:t>
            </a:r>
          </a:p>
        </p:txBody>
      </p:sp>
      <p:sp>
        <p:nvSpPr>
          <p:cNvPr id="8" name="Foliennummernplatzhalter 7"/>
          <p:cNvSpPr>
            <a:spLocks noGrp="1"/>
          </p:cNvSpPr>
          <p:nvPr>
            <p:ph type="sldNum" sz="quarter" idx="17"/>
          </p:nvPr>
        </p:nvSpPr>
        <p:spPr/>
        <p:txBody>
          <a:bodyPr/>
          <a:lstStyle/>
          <a:p>
            <a:fld id="{0C7C1E0B-BD27-42F8-BC6B-2F0636970842}" type="slidenum">
              <a:rPr lang="de-DE" smtClean="0"/>
              <a:pPr/>
              <a:t>‹#›</a:t>
            </a:fld>
            <a:endParaRPr lang="de-DE"/>
          </a:p>
        </p:txBody>
      </p:sp>
      <p:sp>
        <p:nvSpPr>
          <p:cNvPr id="15" name="Rechteck 14"/>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4" name="Gruppieren 23"/>
          <p:cNvGrpSpPr/>
          <p:nvPr userDrawn="1"/>
        </p:nvGrpSpPr>
        <p:grpSpPr bwMode="gray">
          <a:xfrm>
            <a:off x="-3089741" y="1815282"/>
            <a:ext cx="2694276" cy="2769440"/>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57962720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31"/>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nvGraphicFramePr>
        <p:xfrm>
          <a:off x="584126" y="1295700"/>
          <a:ext cx="10691333" cy="3931299"/>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550172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6"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7"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8"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38002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Folie mit Headline auf dunklem Hintergrun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057658" y="1448135"/>
            <a:ext cx="8079382"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66736" cy="685800"/>
              <a:chOff x="6324600" y="4114799"/>
              <a:chExt cx="366736"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66736"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50451" y="3182898"/>
              <a:ext cx="366736" cy="685800"/>
              <a:chOff x="6324600" y="4114799"/>
              <a:chExt cx="366736"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66736"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ext Placeholder 14">
            <a:extLst>
              <a:ext uri="{FF2B5EF4-FFF2-40B4-BE49-F238E27FC236}">
                <a16:creationId xmlns:a16="http://schemas.microsoft.com/office/drawing/2014/main" id="{82312B3D-9F22-A34F-8380-B812E286AAFB}"/>
              </a:ext>
            </a:extLst>
          </p:cNvPr>
          <p:cNvSpPr>
            <a:spLocks noGrp="1"/>
          </p:cNvSpPr>
          <p:nvPr>
            <p:ph type="body" sz="quarter" idx="11" hasCustomPrompt="1"/>
          </p:nvPr>
        </p:nvSpPr>
        <p:spPr>
          <a:xfrm>
            <a:off x="2133838" y="1549761"/>
            <a:ext cx="7922737"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Tree>
    <p:extLst>
      <p:ext uri="{BB962C8B-B14F-4D97-AF65-F5344CB8AC3E}">
        <p14:creationId xmlns:p14="http://schemas.microsoft.com/office/powerpoint/2010/main" val="85610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795" y="0"/>
            <a:ext cx="12290399"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23196462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Übergangsfolie 1">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133838" y="1448135"/>
            <a:ext cx="7846556"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77618" cy="685800"/>
              <a:chOff x="6324600" y="4114799"/>
              <a:chExt cx="377618"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39569" y="3182898"/>
              <a:ext cx="377618" cy="685800"/>
              <a:chOff x="6324600" y="4114799"/>
              <a:chExt cx="377618"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 name="Group 16">
            <a:extLst>
              <a:ext uri="{FF2B5EF4-FFF2-40B4-BE49-F238E27FC236}">
                <a16:creationId xmlns:a16="http://schemas.microsoft.com/office/drawing/2014/main" id="{4BC4B8AB-CBB3-4F2E-85FA-03C23A52330E}"/>
              </a:ext>
            </a:extLst>
          </p:cNvPr>
          <p:cNvGrpSpPr/>
          <p:nvPr userDrawn="1"/>
        </p:nvGrpSpPr>
        <p:grpSpPr>
          <a:xfrm>
            <a:off x="4285928" y="2972488"/>
            <a:ext cx="3618558" cy="914612"/>
            <a:chOff x="5834743" y="2497098"/>
            <a:chExt cx="5114290" cy="1371600"/>
          </a:xfrm>
        </p:grpSpPr>
        <p:grpSp>
          <p:nvGrpSpPr>
            <p:cNvPr id="14" name="Group 17">
              <a:extLst>
                <a:ext uri="{FF2B5EF4-FFF2-40B4-BE49-F238E27FC236}">
                  <a16:creationId xmlns:a16="http://schemas.microsoft.com/office/drawing/2014/main" id="{9CCFB22D-3FD0-4D4A-8104-18AD9D710C36}"/>
                </a:ext>
              </a:extLst>
            </p:cNvPr>
            <p:cNvGrpSpPr/>
            <p:nvPr/>
          </p:nvGrpSpPr>
          <p:grpSpPr>
            <a:xfrm>
              <a:off x="5834743" y="2497098"/>
              <a:ext cx="365306" cy="685800"/>
              <a:chOff x="6324600" y="4114799"/>
              <a:chExt cx="365306" cy="685800"/>
            </a:xfrm>
          </p:grpSpPr>
          <p:cxnSp>
            <p:nvCxnSpPr>
              <p:cNvPr id="19" name="Straight Connector 21">
                <a:extLst>
                  <a:ext uri="{FF2B5EF4-FFF2-40B4-BE49-F238E27FC236}">
                    <a16:creationId xmlns:a16="http://schemas.microsoft.com/office/drawing/2014/main" id="{4DEAA939-E664-4369-9C35-393EA182CDAC}"/>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22">
                <a:extLst>
                  <a:ext uri="{FF2B5EF4-FFF2-40B4-BE49-F238E27FC236}">
                    <a16:creationId xmlns:a16="http://schemas.microsoft.com/office/drawing/2014/main" id="{1E9AEF9E-4AFF-4B6D-B597-9B03090D05C2}"/>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8">
              <a:extLst>
                <a:ext uri="{FF2B5EF4-FFF2-40B4-BE49-F238E27FC236}">
                  <a16:creationId xmlns:a16="http://schemas.microsoft.com/office/drawing/2014/main" id="{655CB61A-B0C7-47CF-A1B5-92C047B0F5C9}"/>
                </a:ext>
              </a:extLst>
            </p:cNvPr>
            <p:cNvGrpSpPr/>
            <p:nvPr/>
          </p:nvGrpSpPr>
          <p:grpSpPr>
            <a:xfrm rot="10800000">
              <a:off x="10583726" y="3182898"/>
              <a:ext cx="365307" cy="685800"/>
              <a:chOff x="7692754" y="4114799"/>
              <a:chExt cx="365307" cy="685800"/>
            </a:xfrm>
          </p:grpSpPr>
          <p:cxnSp>
            <p:nvCxnSpPr>
              <p:cNvPr id="17" name="Straight Connector 19">
                <a:extLst>
                  <a:ext uri="{FF2B5EF4-FFF2-40B4-BE49-F238E27FC236}">
                    <a16:creationId xmlns:a16="http://schemas.microsoft.com/office/drawing/2014/main" id="{539DFF58-38EA-49DF-ADA0-552F682F90A4}"/>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20">
                <a:extLst>
                  <a:ext uri="{FF2B5EF4-FFF2-40B4-BE49-F238E27FC236}">
                    <a16:creationId xmlns:a16="http://schemas.microsoft.com/office/drawing/2014/main" id="{520BCE1B-1763-49A4-A5B2-96EB937E9DDF}"/>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9BCE7011-A5B4-453B-B840-1CA40F61F9C9}"/>
              </a:ext>
            </a:extLst>
          </p:cNvPr>
          <p:cNvSpPr>
            <a:spLocks noGrp="1"/>
          </p:cNvSpPr>
          <p:nvPr>
            <p:ph type="body" sz="quarter" idx="11" hasCustomPrompt="1"/>
          </p:nvPr>
        </p:nvSpPr>
        <p:spPr>
          <a:xfrm>
            <a:off x="4350545" y="3090444"/>
            <a:ext cx="3489323" cy="678702"/>
          </a:xfrm>
          <a:prstGeom prst="rect">
            <a:avLst/>
          </a:prstGeom>
        </p:spPr>
        <p:txBody>
          <a:bodyPr anchor="ctr">
            <a:normAutofit/>
          </a:bodyPr>
          <a:lstStyle>
            <a:lvl1pPr marL="0" indent="0" algn="ctr">
              <a:buNone/>
              <a:defRPr sz="2799">
                <a:solidFill>
                  <a:schemeClr val="accent1"/>
                </a:solidFill>
                <a:latin typeface="+mj-lt"/>
              </a:defRPr>
            </a:lvl1pPr>
          </a:lstStyle>
          <a:p>
            <a:pPr lvl="0"/>
            <a:r>
              <a:rPr lang="en-US" err="1"/>
              <a:t>Titel</a:t>
            </a:r>
            <a:r>
              <a:rPr lang="en-US"/>
              <a:t> </a:t>
            </a:r>
            <a:r>
              <a:rPr lang="en-US" err="1"/>
              <a:t>hinzufügen</a:t>
            </a:r>
            <a:endParaRPr lang="en-US"/>
          </a:p>
        </p:txBody>
      </p:sp>
    </p:spTree>
    <p:extLst>
      <p:ext uri="{BB962C8B-B14F-4D97-AF65-F5344CB8AC3E}">
        <p14:creationId xmlns:p14="http://schemas.microsoft.com/office/powerpoint/2010/main" val="4640216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Übergangsfolie 2">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05911A55-2BBA-EB47-8B20-A2A4AB24940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7" name="Rectangle 6">
            <a:extLst>
              <a:ext uri="{FF2B5EF4-FFF2-40B4-BE49-F238E27FC236}">
                <a16:creationId xmlns:a16="http://schemas.microsoft.com/office/drawing/2014/main" id="{F47350A4-4503-0C41-B6F0-F348477E1A0F}"/>
              </a:ext>
            </a:extLst>
          </p:cNvPr>
          <p:cNvSpPr/>
          <p:nvPr userDrawn="1"/>
        </p:nvSpPr>
        <p:spPr>
          <a:xfrm>
            <a:off x="795" y="1"/>
            <a:ext cx="12188825"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2397036"/>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6" name="Title 15">
            <a:extLst>
              <a:ext uri="{FF2B5EF4-FFF2-40B4-BE49-F238E27FC236}">
                <a16:creationId xmlns:a16="http://schemas.microsoft.com/office/drawing/2014/main" id="{8D8BFA0A-A4AF-7C4D-9E6D-B254259EAA3B}"/>
              </a:ext>
            </a:extLst>
          </p:cNvPr>
          <p:cNvSpPr>
            <a:spLocks noGrp="1"/>
          </p:cNvSpPr>
          <p:nvPr>
            <p:ph type="title" hasCustomPrompt="1"/>
          </p:nvPr>
        </p:nvSpPr>
        <p:spPr>
          <a:xfrm>
            <a:off x="1555346" y="2623353"/>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spTree>
    <p:extLst>
      <p:ext uri="{BB962C8B-B14F-4D97-AF65-F5344CB8AC3E}">
        <p14:creationId xmlns:p14="http://schemas.microsoft.com/office/powerpoint/2010/main" val="32948623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27" b="15539"/>
          <a:stretch/>
        </p:blipFill>
        <p:spPr>
          <a:xfrm>
            <a:off x="1" y="0"/>
            <a:ext cx="12305366" cy="6961212"/>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1" y="0"/>
            <a:ext cx="12305365"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8112518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Übergangsfolie 3">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E3173FE-0AB7-458D-BC40-D96AECD05231}"/>
              </a:ext>
            </a:extLst>
          </p:cNvPr>
          <p:cNvGraphicFramePr>
            <a:graphicFrameLocks noChangeAspect="1"/>
          </p:cNvGraphicFramePr>
          <p:nvPr userDrawn="1">
            <p:custDataLst>
              <p:tags r:id="rId2"/>
            </p:custDataLst>
            <p:extLst>
              <p:ext uri="{D42A27DB-BD31-4B8C-83A1-F6EECF244321}">
                <p14:modId xmlns:p14="http://schemas.microsoft.com/office/powerpoint/2010/main" val="3406435636"/>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4" imgW="347" imgH="348" progId="TCLayout.ActiveDocument.1">
                  <p:embed/>
                </p:oleObj>
              </mc:Choice>
              <mc:Fallback>
                <p:oleObj name="think-cell Folie" r:id="rId4" imgW="347" imgH="348" progId="TCLayout.ActiveDocument.1">
                  <p:embed/>
                  <p:pic>
                    <p:nvPicPr>
                      <p:cNvPr id="2" name="Objekt 1" hidden="1">
                        <a:extLst>
                          <a:ext uri="{FF2B5EF4-FFF2-40B4-BE49-F238E27FC236}">
                            <a16:creationId xmlns:a16="http://schemas.microsoft.com/office/drawing/2014/main" id="{3E3173FE-0AB7-458D-BC40-D96AECD05231}"/>
                          </a:ext>
                        </a:extLst>
                      </p:cNvPr>
                      <p:cNvPicPr/>
                      <p:nvPr/>
                    </p:nvPicPr>
                    <p:blipFill>
                      <a:blip r:embed="rId5"/>
                      <a:stretch>
                        <a:fillRect/>
                      </a:stretch>
                    </p:blipFill>
                    <p:spPr>
                      <a:xfrm>
                        <a:off x="1587" y="1589"/>
                        <a:ext cx="1588" cy="1588"/>
                      </a:xfrm>
                      <a:prstGeom prst="rect">
                        <a:avLst/>
                      </a:prstGeom>
                    </p:spPr>
                  </p:pic>
                </p:oleObj>
              </mc:Fallback>
            </mc:AlternateContent>
          </a:graphicData>
        </a:graphic>
      </p:graphicFrame>
      <p:pic>
        <p:nvPicPr>
          <p:cNvPr id="15" name="Picture Placeholder 4">
            <a:extLst>
              <a:ext uri="{FF2B5EF4-FFF2-40B4-BE49-F238E27FC236}">
                <a16:creationId xmlns:a16="http://schemas.microsoft.com/office/drawing/2014/main" id="{BD9551CD-7C30-4CBE-A1B3-68A6496C0989}"/>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0" y="0"/>
            <a:ext cx="12190413"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38534525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035" r="14461"/>
          <a:stretch/>
        </p:blipFill>
        <p:spPr>
          <a:xfrm>
            <a:off x="0" y="0"/>
            <a:ext cx="12290399"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0" y="0"/>
            <a:ext cx="12290399"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834602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Übergangsfolie 4">
    <p:spTree>
      <p:nvGrpSpPr>
        <p:cNvPr id="1" name=""/>
        <p:cNvGrpSpPr/>
        <p:nvPr/>
      </p:nvGrpSpPr>
      <p:grpSpPr>
        <a:xfrm>
          <a:off x="0" y="0"/>
          <a:ext cx="0" cy="0"/>
          <a:chOff x="0" y="0"/>
          <a:chExt cx="0" cy="0"/>
        </a:xfrm>
      </p:grpSpPr>
      <p:pic>
        <p:nvPicPr>
          <p:cNvPr id="16" name="Picture Placeholder 3">
            <a:extLst>
              <a:ext uri="{FF2B5EF4-FFF2-40B4-BE49-F238E27FC236}">
                <a16:creationId xmlns:a16="http://schemas.microsoft.com/office/drawing/2014/main" id="{89E4948F-A1B0-A14B-9053-F7DBE1AE29B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7" name="Rectangle 16">
            <a:extLst>
              <a:ext uri="{FF2B5EF4-FFF2-40B4-BE49-F238E27FC236}">
                <a16:creationId xmlns:a16="http://schemas.microsoft.com/office/drawing/2014/main" id="{4C95401D-19A4-A241-BA4A-9471BA3C0F7D}"/>
              </a:ext>
            </a:extLst>
          </p:cNvPr>
          <p:cNvSpPr/>
          <p:nvPr userDrawn="1"/>
        </p:nvSpPr>
        <p:spPr>
          <a:xfrm>
            <a:off x="795" y="1"/>
            <a:ext cx="12188825" cy="6859588"/>
          </a:xfrm>
          <a:prstGeom prst="rect">
            <a:avLst/>
          </a:prstGeom>
          <a:solidFill>
            <a:schemeClr val="tx1">
              <a:alpha val="67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34" name="Group 33">
            <a:extLst>
              <a:ext uri="{FF2B5EF4-FFF2-40B4-BE49-F238E27FC236}">
                <a16:creationId xmlns:a16="http://schemas.microsoft.com/office/drawing/2014/main" id="{E76F4E0C-3C69-1245-93D8-EC665AA8C3D3}"/>
              </a:ext>
            </a:extLst>
          </p:cNvPr>
          <p:cNvGrpSpPr/>
          <p:nvPr userDrawn="1"/>
        </p:nvGrpSpPr>
        <p:grpSpPr>
          <a:xfrm>
            <a:off x="2895640" y="1371917"/>
            <a:ext cx="6399133" cy="914612"/>
            <a:chOff x="5834743" y="2497098"/>
            <a:chExt cx="5114290" cy="1371600"/>
          </a:xfrm>
        </p:grpSpPr>
        <p:grpSp>
          <p:nvGrpSpPr>
            <p:cNvPr id="35" name="Group 34">
              <a:extLst>
                <a:ext uri="{FF2B5EF4-FFF2-40B4-BE49-F238E27FC236}">
                  <a16:creationId xmlns:a16="http://schemas.microsoft.com/office/drawing/2014/main" id="{34798E8F-828A-5C4F-9EB5-C2E4B0F13F18}"/>
                </a:ext>
              </a:extLst>
            </p:cNvPr>
            <p:cNvGrpSpPr/>
            <p:nvPr/>
          </p:nvGrpSpPr>
          <p:grpSpPr>
            <a:xfrm>
              <a:off x="5834743" y="2497098"/>
              <a:ext cx="365306" cy="685800"/>
              <a:chOff x="6324600" y="4114799"/>
              <a:chExt cx="365306" cy="685800"/>
            </a:xfrm>
          </p:grpSpPr>
          <p:cxnSp>
            <p:nvCxnSpPr>
              <p:cNvPr id="39" name="Straight Connector 38">
                <a:extLst>
                  <a:ext uri="{FF2B5EF4-FFF2-40B4-BE49-F238E27FC236}">
                    <a16:creationId xmlns:a16="http://schemas.microsoft.com/office/drawing/2014/main" id="{D2709EF0-84D9-CB48-9492-884964C897A0}"/>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3543028-17C3-4B47-8B54-3B38108BA58B}"/>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B8086CC-23FA-C342-A24A-188E3D3C9090}"/>
                </a:ext>
              </a:extLst>
            </p:cNvPr>
            <p:cNvGrpSpPr/>
            <p:nvPr/>
          </p:nvGrpSpPr>
          <p:grpSpPr>
            <a:xfrm rot="10800000">
              <a:off x="10583726" y="3182898"/>
              <a:ext cx="365307" cy="685800"/>
              <a:chOff x="7692754" y="4114799"/>
              <a:chExt cx="365307" cy="685800"/>
            </a:xfrm>
          </p:grpSpPr>
          <p:cxnSp>
            <p:nvCxnSpPr>
              <p:cNvPr id="37" name="Straight Connector 36">
                <a:extLst>
                  <a:ext uri="{FF2B5EF4-FFF2-40B4-BE49-F238E27FC236}">
                    <a16:creationId xmlns:a16="http://schemas.microsoft.com/office/drawing/2014/main" id="{99576AD2-44B0-EB42-88F0-040678C010EB}"/>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FF17D0-A68D-0242-89C6-52728A0F9551}"/>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1" name="Text Placeholder 14">
            <a:extLst>
              <a:ext uri="{FF2B5EF4-FFF2-40B4-BE49-F238E27FC236}">
                <a16:creationId xmlns:a16="http://schemas.microsoft.com/office/drawing/2014/main" id="{4C2F4E64-32BD-954F-923F-8D5A1DC88F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14" name="Text Placeholder 4">
            <a:extLst>
              <a:ext uri="{FF2B5EF4-FFF2-40B4-BE49-F238E27FC236}">
                <a16:creationId xmlns:a16="http://schemas.microsoft.com/office/drawing/2014/main" id="{A51DE688-1E98-4A4E-B536-DC3F3CA2FCFE}"/>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4010947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4"/>
            <a:ext cx="11906756" cy="6577523"/>
          </a:xfrm>
          <a:prstGeom prst="rect">
            <a:avLst/>
          </a:prstGeom>
        </p:spPr>
      </p:pic>
      <p:sp>
        <p:nvSpPr>
          <p:cNvPr id="19" name="Rechteck 18"/>
          <p:cNvSpPr/>
          <p:nvPr userDrawn="1"/>
        </p:nvSpPr>
        <p:spPr bwMode="gray">
          <a:xfrm>
            <a:off x="820739" y="2942627"/>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55" tIns="34278" rIns="68555" bIns="34278" rtlCol="0" anchor="ctr"/>
          <a:lstStyle/>
          <a:p>
            <a:pPr marL="0" marR="0" lvl="0" indent="0" algn="ctr" defTabSz="685594"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818527" y="137929"/>
            <a:ext cx="1944682" cy="1944682"/>
          </a:xfrm>
          <a:prstGeom prst="rect">
            <a:avLst/>
          </a:prstGeom>
          <a:solidFill>
            <a:srgbClr val="FFFFFF"/>
          </a:solidFill>
          <a:ln w="6350" cap="flat" cmpd="sng" algn="ctr">
            <a:noFill/>
            <a:prstDash val="solid"/>
            <a:miter lim="800000"/>
          </a:ln>
          <a:effectLst/>
        </p:spPr>
        <p:txBody>
          <a:bodyPr lIns="68555" tIns="34278" rIns="68555" bIns="34278" spcCol="0" rtlCol="0" anchor="ctr"/>
          <a:lstStyle/>
          <a:p>
            <a:pPr marL="0" marR="0" lvl="0" indent="0" algn="ctr" defTabSz="685594"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528" y="1195138"/>
            <a:ext cx="1944748" cy="711778"/>
          </a:xfrm>
          <a:prstGeom prst="rect">
            <a:avLst/>
          </a:prstGeom>
        </p:spPr>
      </p:pic>
      <p:sp>
        <p:nvSpPr>
          <p:cNvPr id="3" name="Untertitel 2"/>
          <p:cNvSpPr>
            <a:spLocks noGrp="1"/>
          </p:cNvSpPr>
          <p:nvPr userDrawn="1">
            <p:ph type="subTitle" idx="1"/>
          </p:nvPr>
        </p:nvSpPr>
        <p:spPr bwMode="gray">
          <a:xfrm>
            <a:off x="1247745" y="3307315"/>
            <a:ext cx="10120342" cy="2299646"/>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Formatvorlage des Untertitelmasters durch Klicken bearbeiten</a:t>
            </a:r>
          </a:p>
        </p:txBody>
      </p:sp>
      <p:grpSp>
        <p:nvGrpSpPr>
          <p:cNvPr id="8" name="Gruppieren 7"/>
          <p:cNvGrpSpPr/>
          <p:nvPr userDrawn="1"/>
        </p:nvGrpSpPr>
        <p:grpSpPr bwMode="gray">
          <a:xfrm>
            <a:off x="-3089740" y="0"/>
            <a:ext cx="2694276" cy="2908553"/>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Folie zurücksetzen:</a:t>
              </a:r>
            </a:p>
            <a:p>
              <a:pPr algn="l"/>
              <a:endParaRPr lang="de-DE" sz="1200" b="1"/>
            </a:p>
            <a:p>
              <a:pPr marL="0" indent="0" algn="l">
                <a:buClr>
                  <a:schemeClr val="bg1"/>
                </a:buClr>
                <a:buFont typeface="+mj-lt"/>
                <a:buNone/>
              </a:pPr>
              <a:r>
                <a:rPr lang="de-DE" sz="1000" b="0"/>
                <a:t>Falls sich auf einer durch ein Folienlayout definierten Folie Platzhalter verschieben oder ungewünschte Veränderungen in der Schriftgestaltung auftreten, klicke mit der rechten</a:t>
              </a:r>
              <a:r>
                <a:rPr lang="de-DE" sz="1000" b="0" baseline="0"/>
                <a:t> Maustaste</a:t>
              </a:r>
              <a:r>
                <a:rPr lang="de-DE" sz="1000" b="0"/>
                <a:t>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25" y="-84177"/>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682" y="-219843"/>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5" name="Gerade Verbindung 19"/>
          <p:cNvCxnSpPr/>
          <p:nvPr userDrawn="1"/>
        </p:nvCxnSpPr>
        <p:spPr bwMode="gray">
          <a:xfrm flipV="1">
            <a:off x="11757819" y="-84177"/>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3875" y="-219843"/>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7" name="Gerade Verbindung 19"/>
          <p:cNvCxnSpPr/>
          <p:nvPr userDrawn="1"/>
        </p:nvCxnSpPr>
        <p:spPr bwMode="gray">
          <a:xfrm rot="5400000" flipV="1">
            <a:off x="12236452" y="139433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5" y="1376338"/>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5,55</a:t>
            </a:r>
          </a:p>
        </p:txBody>
      </p:sp>
      <p:cxnSp>
        <p:nvCxnSpPr>
          <p:cNvPr id="23" name="Gerade Verbindung 19"/>
          <p:cNvCxnSpPr/>
          <p:nvPr userDrawn="1"/>
        </p:nvCxnSpPr>
        <p:spPr bwMode="gray">
          <a:xfrm rot="5400000" flipV="1">
            <a:off x="12236452" y="6210020"/>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5" y="6192020"/>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7,83</a:t>
            </a:r>
          </a:p>
        </p:txBody>
      </p:sp>
    </p:spTree>
    <p:extLst>
      <p:ext uri="{BB962C8B-B14F-4D97-AF65-F5344CB8AC3E}">
        <p14:creationId xmlns:p14="http://schemas.microsoft.com/office/powerpoint/2010/main" val="598951316"/>
      </p:ext>
    </p:extLst>
  </p:cSld>
  <p:clrMapOvr>
    <a:masterClrMapping/>
  </p:clrMapOvr>
  <p:transition advClick="0" advTm="0">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ransition Folie 2">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1448135"/>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itle 15">
            <a:extLst>
              <a:ext uri="{FF2B5EF4-FFF2-40B4-BE49-F238E27FC236}">
                <a16:creationId xmlns:a16="http://schemas.microsoft.com/office/drawing/2014/main" id="{F6B74D0B-E242-864E-AA40-4D33FEA306BD}"/>
              </a:ext>
            </a:extLst>
          </p:cNvPr>
          <p:cNvSpPr>
            <a:spLocks noGrp="1"/>
          </p:cNvSpPr>
          <p:nvPr>
            <p:ph type="title" hasCustomPrompt="1"/>
          </p:nvPr>
        </p:nvSpPr>
        <p:spPr>
          <a:xfrm>
            <a:off x="1555346" y="1674452"/>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pic>
        <p:nvPicPr>
          <p:cNvPr id="16" name="Picture 15">
            <a:extLst>
              <a:ext uri="{FF2B5EF4-FFF2-40B4-BE49-F238E27FC236}">
                <a16:creationId xmlns:a16="http://schemas.microsoft.com/office/drawing/2014/main" id="{D62C05F4-D78F-DF49-81A2-9678EBBEBE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3368" y="2057877"/>
            <a:ext cx="8098260" cy="5404928"/>
          </a:xfrm>
          <a:prstGeom prst="rect">
            <a:avLst/>
          </a:prstGeom>
        </p:spPr>
      </p:pic>
    </p:spTree>
    <p:extLst>
      <p:ext uri="{BB962C8B-B14F-4D97-AF65-F5344CB8AC3E}">
        <p14:creationId xmlns:p14="http://schemas.microsoft.com/office/powerpoint/2010/main" val="322554442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ransition Foli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B0474A-B9A0-6C46-AE02-23BD1BEBA3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9334" y="4344407"/>
            <a:ext cx="5942052" cy="2515182"/>
          </a:xfrm>
          <a:prstGeom prst="rect">
            <a:avLst/>
          </a:prstGeom>
        </p:spPr>
      </p:pic>
      <p:grpSp>
        <p:nvGrpSpPr>
          <p:cNvPr id="14" name="Group 13">
            <a:extLst>
              <a:ext uri="{FF2B5EF4-FFF2-40B4-BE49-F238E27FC236}">
                <a16:creationId xmlns:a16="http://schemas.microsoft.com/office/drawing/2014/main" id="{E6672EA4-BC6B-0847-9A5C-EB23DAEAE98F}"/>
              </a:ext>
            </a:extLst>
          </p:cNvPr>
          <p:cNvGrpSpPr/>
          <p:nvPr userDrawn="1"/>
        </p:nvGrpSpPr>
        <p:grpSpPr>
          <a:xfrm>
            <a:off x="2895640" y="1371917"/>
            <a:ext cx="6399133" cy="914612"/>
            <a:chOff x="5834743" y="2497098"/>
            <a:chExt cx="5114290" cy="1371600"/>
          </a:xfrm>
        </p:grpSpPr>
        <p:grpSp>
          <p:nvGrpSpPr>
            <p:cNvPr id="15" name="Group 14">
              <a:extLst>
                <a:ext uri="{FF2B5EF4-FFF2-40B4-BE49-F238E27FC236}">
                  <a16:creationId xmlns:a16="http://schemas.microsoft.com/office/drawing/2014/main" id="{5604AB6E-603B-F74F-ACCA-290417182742}"/>
                </a:ext>
              </a:extLst>
            </p:cNvPr>
            <p:cNvGrpSpPr/>
            <p:nvPr/>
          </p:nvGrpSpPr>
          <p:grpSpPr>
            <a:xfrm>
              <a:off x="5834743" y="2497098"/>
              <a:ext cx="365306" cy="685800"/>
              <a:chOff x="6324600" y="4114799"/>
              <a:chExt cx="365306" cy="685800"/>
            </a:xfrm>
          </p:grpSpPr>
          <p:cxnSp>
            <p:nvCxnSpPr>
              <p:cNvPr id="19" name="Straight Connector 18">
                <a:extLst>
                  <a:ext uri="{FF2B5EF4-FFF2-40B4-BE49-F238E27FC236}">
                    <a16:creationId xmlns:a16="http://schemas.microsoft.com/office/drawing/2014/main" id="{2C60D5DA-529F-4E4E-8265-506C620B1C04}"/>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51D8D6-1C91-4544-BD56-B1FC18C6770F}"/>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4A0AF084-5C69-394D-B165-4FD9E6DF706D}"/>
                </a:ext>
              </a:extLst>
            </p:cNvPr>
            <p:cNvGrpSpPr/>
            <p:nvPr/>
          </p:nvGrpSpPr>
          <p:grpSpPr>
            <a:xfrm rot="10800000">
              <a:off x="10583726" y="3182898"/>
              <a:ext cx="365307" cy="685800"/>
              <a:chOff x="7692754" y="4114799"/>
              <a:chExt cx="365307" cy="685800"/>
            </a:xfrm>
          </p:grpSpPr>
          <p:cxnSp>
            <p:nvCxnSpPr>
              <p:cNvPr id="17" name="Straight Connector 16">
                <a:extLst>
                  <a:ext uri="{FF2B5EF4-FFF2-40B4-BE49-F238E27FC236}">
                    <a16:creationId xmlns:a16="http://schemas.microsoft.com/office/drawing/2014/main" id="{1107CF8C-2994-7E49-9D41-3A66AB79E429}"/>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EA52515-DDEC-8047-B464-4689D8ACC343}"/>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BF0D3C91-EAB4-B040-9325-6D66621D32ED}"/>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22" name="Text Placeholder 4">
            <a:extLst>
              <a:ext uri="{FF2B5EF4-FFF2-40B4-BE49-F238E27FC236}">
                <a16:creationId xmlns:a16="http://schemas.microsoft.com/office/drawing/2014/main" id="{ECF45E9C-09B2-0F46-A319-FE06AF560E54}"/>
              </a:ext>
            </a:extLst>
          </p:cNvPr>
          <p:cNvSpPr>
            <a:spLocks noGrp="1"/>
          </p:cNvSpPr>
          <p:nvPr>
            <p:ph type="body" sz="quarter" idx="12" hasCustomPrompt="1"/>
          </p:nvPr>
        </p:nvSpPr>
        <p:spPr>
          <a:xfrm>
            <a:off x="2895640" y="2667618"/>
            <a:ext cx="6399133" cy="2972488"/>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a:t>
            </a:r>
          </a:p>
          <a:p>
            <a:pPr lvl="0"/>
            <a:endParaRPr lang="en-US"/>
          </a:p>
        </p:txBody>
      </p:sp>
    </p:spTree>
    <p:extLst>
      <p:ext uri="{BB962C8B-B14F-4D97-AF65-F5344CB8AC3E}">
        <p14:creationId xmlns:p14="http://schemas.microsoft.com/office/powerpoint/2010/main" val="139139070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ransition Folie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29A8E5-57C3-394D-A626-06A648E599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6207" t="-22702" r="-45954" b="25405"/>
          <a:stretch/>
        </p:blipFill>
        <p:spPr>
          <a:xfrm>
            <a:off x="0" y="0"/>
            <a:ext cx="12190413" cy="6859588"/>
          </a:xfrm>
          <a:prstGeom prst="rect">
            <a:avLst/>
          </a:prstGeom>
        </p:spPr>
      </p:pic>
      <p:grpSp>
        <p:nvGrpSpPr>
          <p:cNvPr id="7" name="Group 6">
            <a:extLst>
              <a:ext uri="{FF2B5EF4-FFF2-40B4-BE49-F238E27FC236}">
                <a16:creationId xmlns:a16="http://schemas.microsoft.com/office/drawing/2014/main" id="{E3AD2963-ACB7-6945-8082-47D9F2745445}"/>
              </a:ext>
            </a:extLst>
          </p:cNvPr>
          <p:cNvGrpSpPr/>
          <p:nvPr userDrawn="1"/>
        </p:nvGrpSpPr>
        <p:grpSpPr>
          <a:xfrm>
            <a:off x="1594230" y="2431523"/>
            <a:ext cx="457081" cy="457306"/>
            <a:chOff x="6324600" y="4114799"/>
            <a:chExt cx="685800" cy="685800"/>
          </a:xfrm>
        </p:grpSpPr>
        <p:cxnSp>
          <p:nvCxnSpPr>
            <p:cNvPr id="8" name="Straight Connector 7">
              <a:extLst>
                <a:ext uri="{FF2B5EF4-FFF2-40B4-BE49-F238E27FC236}">
                  <a16:creationId xmlns:a16="http://schemas.microsoft.com/office/drawing/2014/main" id="{F2C368BD-F493-BE4F-B4C6-DDF599FD6A09}"/>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64D3EBA-7E02-AC40-80A7-CEAB83DD4EBF}"/>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7325742-3179-6F4D-BEAA-1CC708847D64}"/>
              </a:ext>
            </a:extLst>
          </p:cNvPr>
          <p:cNvGrpSpPr/>
          <p:nvPr userDrawn="1"/>
        </p:nvGrpSpPr>
        <p:grpSpPr>
          <a:xfrm rot="10800000">
            <a:off x="10139104" y="3970760"/>
            <a:ext cx="457081" cy="457306"/>
            <a:chOff x="6324600" y="4114799"/>
            <a:chExt cx="685800" cy="685800"/>
          </a:xfrm>
        </p:grpSpPr>
        <p:cxnSp>
          <p:nvCxnSpPr>
            <p:cNvPr id="11" name="Straight Connector 10">
              <a:extLst>
                <a:ext uri="{FF2B5EF4-FFF2-40B4-BE49-F238E27FC236}">
                  <a16:creationId xmlns:a16="http://schemas.microsoft.com/office/drawing/2014/main" id="{1FE28308-3F6F-9A4C-B864-560CCD7D2B1C}"/>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8B90EF6-0DB5-834E-BE04-B2217F42333C}"/>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 Placeholder 4">
            <a:extLst>
              <a:ext uri="{FF2B5EF4-FFF2-40B4-BE49-F238E27FC236}">
                <a16:creationId xmlns:a16="http://schemas.microsoft.com/office/drawing/2014/main" id="{A266DED5-47B9-F446-862A-20D8D631AEFE}"/>
              </a:ext>
            </a:extLst>
          </p:cNvPr>
          <p:cNvSpPr>
            <a:spLocks noGrp="1"/>
          </p:cNvSpPr>
          <p:nvPr>
            <p:ph type="body" sz="quarter" idx="12" hasCustomPrompt="1"/>
          </p:nvPr>
        </p:nvSpPr>
        <p:spPr>
          <a:xfrm>
            <a:off x="1752938" y="2515183"/>
            <a:ext cx="8760718" cy="1829223"/>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20971659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bluss/Kontakt Folie hel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8B9E26-7F3C-2945-A96F-6C9F4D20A03A}"/>
              </a:ext>
            </a:extLst>
          </p:cNvPr>
          <p:cNvSpPr txBox="1">
            <a:spLocks noChangeArrowheads="1"/>
          </p:cNvSpPr>
          <p:nvPr userDrawn="1"/>
        </p:nvSpPr>
        <p:spPr>
          <a:xfrm>
            <a:off x="550720" y="914612"/>
            <a:ext cx="11087387" cy="99718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IE" sz="4399" b="1" err="1">
                <a:solidFill>
                  <a:schemeClr val="accent1"/>
                </a:solidFill>
              </a:rPr>
              <a:t>Interessiert</a:t>
            </a:r>
            <a:r>
              <a:rPr lang="en-IE" sz="4399" b="1">
                <a:solidFill>
                  <a:schemeClr val="accent1"/>
                </a:solidFill>
              </a:rPr>
              <a:t>? </a:t>
            </a:r>
            <a:r>
              <a:rPr lang="en-IE" sz="4399" err="1">
                <a:solidFill>
                  <a:schemeClr val="tx1"/>
                </a:solidFill>
              </a:rPr>
              <a:t>Nehmen</a:t>
            </a:r>
            <a:r>
              <a:rPr lang="en-IE" sz="4399">
                <a:solidFill>
                  <a:schemeClr val="tx1"/>
                </a:solidFill>
              </a:rPr>
              <a:t> Sie </a:t>
            </a:r>
            <a:r>
              <a:rPr lang="en-IE" sz="4399" err="1">
                <a:solidFill>
                  <a:schemeClr val="tx1"/>
                </a:solidFill>
              </a:rPr>
              <a:t>Kontakt</a:t>
            </a:r>
            <a:r>
              <a:rPr lang="en-IE" sz="4399">
                <a:solidFill>
                  <a:schemeClr val="tx1"/>
                </a:solidFill>
              </a:rPr>
              <a:t> auf!</a:t>
            </a:r>
          </a:p>
          <a:p>
            <a:pPr>
              <a:defRPr/>
            </a:pPr>
            <a:endParaRPr lang="en-IE" sz="4399">
              <a:solidFill>
                <a:schemeClr val="tx1"/>
              </a:solidFill>
            </a:endParaRPr>
          </a:p>
          <a:p>
            <a:pPr>
              <a:defRPr/>
            </a:pPr>
            <a:endParaRPr lang="en-IE" sz="4399">
              <a:solidFill>
                <a:schemeClr val="tx1"/>
              </a:solidFill>
            </a:endParaRPr>
          </a:p>
        </p:txBody>
      </p:sp>
      <p:sp>
        <p:nvSpPr>
          <p:cNvPr id="7" name="Text Placeholder 6">
            <a:extLst>
              <a:ext uri="{FF2B5EF4-FFF2-40B4-BE49-F238E27FC236}">
                <a16:creationId xmlns:a16="http://schemas.microsoft.com/office/drawing/2014/main" id="{99A12DE7-EFB8-D64B-9244-0F9688EC6834}"/>
              </a:ext>
            </a:extLst>
          </p:cNvPr>
          <p:cNvSpPr>
            <a:spLocks noGrp="1"/>
          </p:cNvSpPr>
          <p:nvPr>
            <p:ph type="body" sz="quarter" idx="10" hasCustomPrompt="1"/>
          </p:nvPr>
        </p:nvSpPr>
        <p:spPr>
          <a:xfrm>
            <a:off x="576907" y="2743835"/>
            <a:ext cx="4494629" cy="3582229"/>
          </a:xfrm>
        </p:spPr>
        <p:txBody>
          <a:bodyPr/>
          <a:lstStyle>
            <a:lvl1pPr marL="0" indent="0">
              <a:buNone/>
              <a:defRPr>
                <a:latin typeface="+mj-lt"/>
              </a:defRPr>
            </a:lvl1pPr>
            <a:lvl2pPr marL="457063" indent="0">
              <a:buNone/>
              <a:defRPr>
                <a:latin typeface="+mj-lt"/>
              </a:defRPr>
            </a:lvl2pPr>
            <a:lvl3pPr marL="0" indent="0">
              <a:buNone/>
              <a:defRPr>
                <a:solidFill>
                  <a:schemeClr val="tx1"/>
                </a:solidFill>
                <a:latin typeface="+mj-lt"/>
              </a:defRPr>
            </a:lvl3pPr>
            <a:lvl4pPr marL="0" indent="0">
              <a:buNone/>
              <a:defRPr>
                <a:solidFill>
                  <a:schemeClr val="tx1"/>
                </a:solidFill>
                <a:latin typeface="+mj-lt"/>
              </a:defRPr>
            </a:lvl4pPr>
            <a:lvl5pPr marL="0" indent="0">
              <a:buNone/>
              <a:defRPr>
                <a:latin typeface="+mj-lt"/>
              </a:defRPr>
            </a:lvl5pPr>
          </a:lstStyle>
          <a:p>
            <a:pPr lvl="2"/>
            <a:r>
              <a:rPr lang="en-US"/>
              <a:t>Name</a:t>
            </a:r>
          </a:p>
          <a:p>
            <a:pPr lvl="2"/>
            <a:endParaRPr lang="en-US"/>
          </a:p>
          <a:p>
            <a:pPr lvl="3"/>
            <a:r>
              <a:rPr lang="en-US" err="1"/>
              <a:t>Adresse</a:t>
            </a:r>
            <a:endParaRPr lang="en-US"/>
          </a:p>
        </p:txBody>
      </p:sp>
      <p:pic>
        <p:nvPicPr>
          <p:cNvPr id="4" name="Picture 3">
            <a:extLst>
              <a:ext uri="{FF2B5EF4-FFF2-40B4-BE49-F238E27FC236}">
                <a16:creationId xmlns:a16="http://schemas.microsoft.com/office/drawing/2014/main" id="{AA3583F8-F3A1-4F49-8918-ECC00C2075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61295" y="5208206"/>
            <a:ext cx="1117309" cy="1117859"/>
          </a:xfrm>
          <a:prstGeom prst="rect">
            <a:avLst/>
          </a:prstGeom>
        </p:spPr>
      </p:pic>
    </p:spTree>
    <p:extLst>
      <p:ext uri="{BB962C8B-B14F-4D97-AF65-F5344CB8AC3E}">
        <p14:creationId xmlns:p14="http://schemas.microsoft.com/office/powerpoint/2010/main" val="274200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172438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0"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12708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820738" y="2942627"/>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818526" y="137929"/>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527" y="1195138"/>
            <a:ext cx="1944748" cy="711778"/>
          </a:xfrm>
          <a:prstGeom prst="rect">
            <a:avLst/>
          </a:prstGeom>
        </p:spPr>
      </p:pic>
      <p:sp>
        <p:nvSpPr>
          <p:cNvPr id="3" name="Untertitel 2"/>
          <p:cNvSpPr>
            <a:spLocks noGrp="1"/>
          </p:cNvSpPr>
          <p:nvPr userDrawn="1">
            <p:ph type="subTitle" idx="1"/>
          </p:nvPr>
        </p:nvSpPr>
        <p:spPr bwMode="gray">
          <a:xfrm>
            <a:off x="1247745" y="3307315"/>
            <a:ext cx="10120342" cy="2299646"/>
          </a:xfrm>
        </p:spPr>
        <p:txBody>
          <a:bodyPr anchor="ctr"/>
          <a:lstStyle>
            <a:lvl1pPr marL="0" indent="0" algn="l">
              <a:lnSpc>
                <a:spcPct val="90000"/>
              </a:lnSpc>
              <a:spcAft>
                <a:spcPts val="1500"/>
              </a:spcAft>
              <a:buNone/>
              <a:defRPr sz="5000"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Formatvorlage des Untertitelmasters durch Klicken bearbeiten</a:t>
            </a:r>
          </a:p>
        </p:txBody>
      </p:sp>
      <p:grpSp>
        <p:nvGrpSpPr>
          <p:cNvPr id="8" name="Gruppieren 7"/>
          <p:cNvGrpSpPr/>
          <p:nvPr userDrawn="1"/>
        </p:nvGrpSpPr>
        <p:grpSpPr bwMode="gray">
          <a:xfrm>
            <a:off x="-3089741" y="0"/>
            <a:ext cx="2694276" cy="2908553"/>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Folie zurücksetzen:</a:t>
              </a:r>
            </a:p>
            <a:p>
              <a:pPr algn="l"/>
              <a:endParaRPr lang="de-DE" sz="1200" b="1"/>
            </a:p>
            <a:p>
              <a:pPr marL="0" indent="0" algn="l">
                <a:buClr>
                  <a:schemeClr val="bg1"/>
                </a:buClr>
                <a:buFont typeface="+mj-lt"/>
                <a:buNone/>
              </a:pPr>
              <a:r>
                <a:rPr lang="de-DE" sz="1000" b="0"/>
                <a:t>Falls sich auf einer durch ein Folienlayout definierten Folie Platzhalter verschieben oder ungewünschte Veränderungen in der Schriftgestaltung auftreten, klicke mit der rechten</a:t>
              </a:r>
              <a:r>
                <a:rPr lang="de-DE" sz="1000" b="0" baseline="0"/>
                <a:t> Maustaste</a:t>
              </a:r>
              <a:r>
                <a:rPr lang="de-DE" sz="1000" b="0"/>
                <a:t>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25"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681"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5" name="Gerade Verbindung 19"/>
          <p:cNvCxnSpPr/>
          <p:nvPr userDrawn="1"/>
        </p:nvCxnSpPr>
        <p:spPr bwMode="gray">
          <a:xfrm flipV="1">
            <a:off x="11757819"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3875"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7" name="Gerade Verbindung 19"/>
          <p:cNvCxnSpPr/>
          <p:nvPr userDrawn="1"/>
        </p:nvCxnSpPr>
        <p:spPr bwMode="gray">
          <a:xfrm rot="5400000" flipV="1">
            <a:off x="12236452" y="139433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4" y="1376338"/>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5,5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4" y="6192019"/>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7,83</a:t>
            </a:r>
          </a:p>
        </p:txBody>
      </p:sp>
    </p:spTree>
    <p:extLst>
      <p:ext uri="{BB962C8B-B14F-4D97-AF65-F5344CB8AC3E}">
        <p14:creationId xmlns:p14="http://schemas.microsoft.com/office/powerpoint/2010/main" val="2833877078"/>
      </p:ext>
    </p:extLst>
  </p:cSld>
  <p:clrMapOvr>
    <a:masterClrMapping/>
  </p:clrMapOvr>
  <p:transition advClick="0" advTm="0">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429464" y="1336953"/>
            <a:ext cx="11328532" cy="4911447"/>
          </a:xfrm>
          <a:prstGeom prst="rect">
            <a:avLst/>
          </a:prstGeom>
          <a:solidFill>
            <a:srgbClr val="FFFFFF"/>
          </a:soli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429464" y="425627"/>
            <a:ext cx="11328532" cy="695768"/>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 name="Titel 1"/>
          <p:cNvSpPr>
            <a:spLocks noGrp="1"/>
          </p:cNvSpPr>
          <p:nvPr userDrawn="1">
            <p:ph type="title"/>
          </p:nvPr>
        </p:nvSpPr>
        <p:spPr bwMode="gray">
          <a:xfrm>
            <a:off x="497680" y="557091"/>
            <a:ext cx="11166929" cy="432841"/>
          </a:xfrm>
        </p:spPr>
        <p:txBody>
          <a:bodyPr anchor="ctr"/>
          <a:lstStyle>
            <a:lvl1pPr>
              <a:defRPr>
                <a:solidFill>
                  <a:schemeClr val="bg1"/>
                </a:solidFill>
              </a:defRPr>
            </a:lvl1pPr>
          </a:lstStyle>
          <a:p>
            <a:r>
              <a:rPr lang="de-DE"/>
              <a:t>Titelmasterformat durch Klicken bearbeiten</a:t>
            </a:r>
          </a:p>
        </p:txBody>
      </p:sp>
      <p:sp>
        <p:nvSpPr>
          <p:cNvPr id="3" name="Datumsplatzhalter 2"/>
          <p:cNvSpPr>
            <a:spLocks noGrp="1"/>
          </p:cNvSpPr>
          <p:nvPr userDrawn="1">
            <p:ph type="dt" sz="half" idx="10"/>
          </p:nvPr>
        </p:nvSpPr>
        <p:spPr bwMode="gray"/>
        <p:txBody>
          <a:bodyPr/>
          <a:lstStyle/>
          <a:p>
            <a:endParaRPr lang="de-DE"/>
          </a:p>
        </p:txBody>
      </p:sp>
      <p:sp>
        <p:nvSpPr>
          <p:cNvPr id="4" name="Fußzeilenplatzhalter 3"/>
          <p:cNvSpPr>
            <a:spLocks noGrp="1"/>
          </p:cNvSpPr>
          <p:nvPr userDrawn="1">
            <p:ph type="ftr" sz="quarter" idx="11"/>
          </p:nvPr>
        </p:nvSpPr>
        <p:spPr bwMode="gray"/>
        <p:txBody>
          <a:bodyPr/>
          <a:lstStyle/>
          <a:p>
            <a:r>
              <a:rPr lang="de-DE"/>
              <a:t>Schwarz Group // Corporate Presentation //</a:t>
            </a:r>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pPr/>
              <a:t>‹#›</a:t>
            </a:fld>
            <a:endParaRPr lang="de-DE"/>
          </a:p>
        </p:txBody>
      </p:sp>
      <p:sp>
        <p:nvSpPr>
          <p:cNvPr id="7" name="Bildplatzhalter 6"/>
          <p:cNvSpPr>
            <a:spLocks noGrp="1"/>
          </p:cNvSpPr>
          <p:nvPr>
            <p:ph type="pic" sz="quarter" idx="13"/>
          </p:nvPr>
        </p:nvSpPr>
        <p:spPr bwMode="gray">
          <a:xfrm>
            <a:off x="522466" y="1427958"/>
            <a:ext cx="11142144" cy="4727056"/>
          </a:xfrm>
        </p:spPr>
        <p:txBody>
          <a:bodyPr/>
          <a:lstStyle/>
          <a:p>
            <a:endParaRPr lang="de-DE"/>
          </a:p>
        </p:txBody>
      </p:sp>
      <p:grpSp>
        <p:nvGrpSpPr>
          <p:cNvPr id="21" name="Gruppieren 20"/>
          <p:cNvGrpSpPr/>
          <p:nvPr userDrawn="1"/>
        </p:nvGrpSpPr>
        <p:grpSpPr bwMode="gray">
          <a:xfrm>
            <a:off x="-3089741" y="0"/>
            <a:ext cx="2694276" cy="4153020"/>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278454497"/>
      </p:ext>
    </p:extLst>
  </p:cSld>
  <p:clrMapOvr>
    <a:masterClrMapping/>
  </p:clrMapOvr>
  <p:transition advClick="0" advTm="0">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820738" y="2942627"/>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818526" y="137929"/>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527" y="1195138"/>
            <a:ext cx="1944748" cy="711778"/>
          </a:xfrm>
          <a:prstGeom prst="rect">
            <a:avLst/>
          </a:prstGeom>
        </p:spPr>
      </p:pic>
      <p:cxnSp>
        <p:nvCxnSpPr>
          <p:cNvPr id="13" name="Gerade Verbindung 19"/>
          <p:cNvCxnSpPr/>
          <p:nvPr userDrawn="1"/>
        </p:nvCxnSpPr>
        <p:spPr bwMode="gray">
          <a:xfrm flipV="1">
            <a:off x="818356"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412"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4,65</a:t>
            </a:r>
          </a:p>
        </p:txBody>
      </p:sp>
      <p:cxnSp>
        <p:nvCxnSpPr>
          <p:cNvPr id="15" name="Gerade Verbindung 19"/>
          <p:cNvCxnSpPr/>
          <p:nvPr userDrawn="1"/>
        </p:nvCxnSpPr>
        <p:spPr bwMode="gray">
          <a:xfrm flipV="1">
            <a:off x="11367293"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3349"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de-DE" sz="600">
                <a:solidFill>
                  <a:schemeClr val="accent1"/>
                </a:solidFill>
              </a:rPr>
              <a:t>14,65</a:t>
            </a:r>
          </a:p>
        </p:txBody>
      </p:sp>
      <p:cxnSp>
        <p:nvCxnSpPr>
          <p:cNvPr id="17" name="Gerade Verbindung 19"/>
          <p:cNvCxnSpPr/>
          <p:nvPr userDrawn="1"/>
        </p:nvCxnSpPr>
        <p:spPr bwMode="gray">
          <a:xfrm rot="5400000" flipV="1">
            <a:off x="12236452" y="1680882"/>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4" y="1662882"/>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4,7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4" y="6192019"/>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7,83</a:t>
            </a:r>
          </a:p>
        </p:txBody>
      </p:sp>
      <p:sp>
        <p:nvSpPr>
          <p:cNvPr id="35" name="Rechteck 34"/>
          <p:cNvSpPr/>
          <p:nvPr userDrawn="1"/>
        </p:nvSpPr>
        <p:spPr bwMode="gray">
          <a:xfrm>
            <a:off x="6307138" y="2320799"/>
            <a:ext cx="5783262" cy="22661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1"/>
          <p:cNvSpPr>
            <a:spLocks noGrp="1"/>
          </p:cNvSpPr>
          <p:nvPr>
            <p:ph type="body" sz="quarter" idx="11"/>
          </p:nvPr>
        </p:nvSpPr>
        <p:spPr bwMode="gray">
          <a:xfrm>
            <a:off x="6548438" y="3143250"/>
            <a:ext cx="5209557" cy="1181100"/>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4" name="Rechteck 43"/>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sp>
        <p:nvSpPr>
          <p:cNvPr id="4" name="Textfeld 3"/>
          <p:cNvSpPr txBox="1"/>
          <p:nvPr userDrawn="1"/>
        </p:nvSpPr>
        <p:spPr>
          <a:xfrm>
            <a:off x="6549536" y="2339055"/>
            <a:ext cx="3429000" cy="800219"/>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kumimoji="0" lang="de-DE" sz="4000" b="1" i="0" u="none" strike="noStrike" kern="1200" cap="all" spc="0" normalizeH="0" baseline="0" noProof="0">
                <a:ln>
                  <a:noFill/>
                </a:ln>
                <a:solidFill>
                  <a:schemeClr val="accent1"/>
                </a:solidFill>
                <a:effectLst/>
                <a:uLnTx/>
                <a:uFillTx/>
                <a:latin typeface="+mn-lt"/>
                <a:ea typeface="+mn-ea"/>
                <a:cs typeface="+mn-cs"/>
              </a:rPr>
              <a:t>Agenda</a:t>
            </a:r>
          </a:p>
        </p:txBody>
      </p:sp>
      <p:sp>
        <p:nvSpPr>
          <p:cNvPr id="25" name="Untertitel 2"/>
          <p:cNvSpPr>
            <a:spLocks noGrp="1"/>
          </p:cNvSpPr>
          <p:nvPr>
            <p:ph type="subTitle" idx="1"/>
          </p:nvPr>
        </p:nvSpPr>
        <p:spPr bwMode="gray">
          <a:xfrm>
            <a:off x="1247745" y="3307315"/>
            <a:ext cx="4849200" cy="2299646"/>
          </a:xfrm>
        </p:spPr>
        <p:txBody>
          <a:bodyPr anchor="ctr"/>
          <a:lstStyle>
            <a:lvl1pPr marL="0" indent="0" algn="l">
              <a:lnSpc>
                <a:spcPct val="90000"/>
              </a:lnSpc>
              <a:spcAft>
                <a:spcPts val="1500"/>
              </a:spcAft>
              <a:buNone/>
              <a:defRPr sz="4000"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Formatvorlage des Untertitelmasters durch Klicken bearbeiten</a:t>
            </a:r>
          </a:p>
        </p:txBody>
      </p:sp>
    </p:spTree>
    <p:extLst>
      <p:ext uri="{BB962C8B-B14F-4D97-AF65-F5344CB8AC3E}">
        <p14:creationId xmlns:p14="http://schemas.microsoft.com/office/powerpoint/2010/main" val="1433651836"/>
      </p:ext>
    </p:extLst>
  </p:cSld>
  <p:clrMapOvr>
    <a:masterClrMapping/>
  </p:clrMapOvr>
  <p:transition advClick="0" advTm="0">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3" name="Datumsplatzhalter 2"/>
          <p:cNvSpPr>
            <a:spLocks noGrp="1"/>
          </p:cNvSpPr>
          <p:nvPr>
            <p:ph type="dt" sz="half" idx="10"/>
          </p:nvPr>
        </p:nvSpPr>
        <p:spPr bwMode="gray"/>
        <p:txBody>
          <a:bodyPr/>
          <a:lstStyle/>
          <a:p>
            <a:endParaRPr lang="de-DE"/>
          </a:p>
        </p:txBody>
      </p:sp>
      <p:sp>
        <p:nvSpPr>
          <p:cNvPr id="4" name="Fußzeilenplatzhalter 3"/>
          <p:cNvSpPr>
            <a:spLocks noGrp="1"/>
          </p:cNvSpPr>
          <p:nvPr>
            <p:ph type="ftr" sz="quarter" idx="11"/>
          </p:nvPr>
        </p:nvSpPr>
        <p:spPr bwMode="gray"/>
        <p:txBody>
          <a:bodyPr/>
          <a:lstStyle/>
          <a:p>
            <a:r>
              <a:rPr lang="de-DE"/>
              <a:t>Schwarz Group // Corporate Presentation //</a:t>
            </a:r>
          </a:p>
        </p:txBody>
      </p:sp>
      <p:sp>
        <p:nvSpPr>
          <p:cNvPr id="5" name="Foliennummernplatzhalter 4"/>
          <p:cNvSpPr>
            <a:spLocks noGrp="1"/>
          </p:cNvSpPr>
          <p:nvPr>
            <p:ph type="sldNum" sz="quarter" idx="12"/>
          </p:nvPr>
        </p:nvSpPr>
        <p:spPr bwMode="gray"/>
        <p:txBody>
          <a:bodyPr/>
          <a:lstStyle/>
          <a:p>
            <a:fld id="{0C7C1E0B-BD27-42F8-BC6B-2F0636970842}" type="slidenum">
              <a:rPr lang="de-DE" smtClean="0"/>
              <a:pPr/>
              <a:t>‹#›</a:t>
            </a:fld>
            <a:endParaRPr lang="de-DE"/>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0"/>
            <a:ext cx="12190413" cy="6866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3996" y="2795597"/>
            <a:ext cx="10233999" cy="3067050"/>
          </a:xfrm>
        </p:spPr>
        <p:txBody>
          <a:bodyPr/>
          <a:lstStyle>
            <a:lvl1pPr marL="0" indent="0">
              <a:lnSpc>
                <a:spcPct val="100000"/>
              </a:lnSpc>
              <a:buFontTx/>
              <a:buNone/>
              <a:defRPr sz="3200" b="1">
                <a:solidFill>
                  <a:srgbClr val="965AA0"/>
                </a:solidFill>
              </a:defRPr>
            </a:lvl1pPr>
            <a:lvl2pPr marL="0" indent="0">
              <a:lnSpc>
                <a:spcPct val="100000"/>
              </a:lnSpc>
              <a:buFontTx/>
              <a:buNone/>
              <a:defRPr sz="3200" b="1">
                <a:solidFill>
                  <a:srgbClr val="965AA0"/>
                </a:solidFill>
              </a:defRPr>
            </a:lvl2pPr>
            <a:lvl3pPr marL="0" indent="0">
              <a:lnSpc>
                <a:spcPct val="100000"/>
              </a:lnSpc>
              <a:buFontTx/>
              <a:buNone/>
              <a:defRPr sz="3200" b="1">
                <a:solidFill>
                  <a:srgbClr val="965AA0"/>
                </a:solidFill>
              </a:defRPr>
            </a:lvl3pPr>
            <a:lvl4pPr marL="0" indent="0">
              <a:lnSpc>
                <a:spcPct val="100000"/>
              </a:lnSpc>
              <a:buFontTx/>
              <a:buNone/>
              <a:defRPr sz="3200" b="1">
                <a:solidFill>
                  <a:srgbClr val="965AA0"/>
                </a:solidFill>
              </a:defRPr>
            </a:lvl4pPr>
            <a:lvl5pPr marL="0" indent="0">
              <a:lnSpc>
                <a:spcPct val="100000"/>
              </a:lnSpc>
              <a:buFontTx/>
              <a:buNone/>
              <a:defRPr sz="3200" b="1">
                <a:solidFill>
                  <a:srgbClr val="965AA0"/>
                </a:solidFill>
              </a:defRPr>
            </a:lvl5pPr>
            <a:lvl6pPr marL="0" indent="0">
              <a:lnSpc>
                <a:spcPct val="100000"/>
              </a:lnSpc>
              <a:buFontTx/>
              <a:buNone/>
              <a:defRPr sz="3200" b="1">
                <a:solidFill>
                  <a:srgbClr val="965AA0"/>
                </a:solidFill>
              </a:defRPr>
            </a:lvl6pPr>
            <a:lvl7pPr marL="0" indent="0">
              <a:lnSpc>
                <a:spcPct val="100000"/>
              </a:lnSpc>
              <a:buFontTx/>
              <a:buNone/>
              <a:defRPr sz="3200" b="1">
                <a:solidFill>
                  <a:srgbClr val="965AA0"/>
                </a:solidFill>
              </a:defRPr>
            </a:lvl7pPr>
            <a:lvl8pPr marL="0" indent="0">
              <a:lnSpc>
                <a:spcPct val="100000"/>
              </a:lnSpc>
              <a:buFontTx/>
              <a:buNone/>
              <a:defRPr sz="3200" b="1">
                <a:solidFill>
                  <a:srgbClr val="965AA0"/>
                </a:solidFill>
              </a:defRPr>
            </a:lvl8pPr>
            <a:lvl9pPr marL="0" indent="0">
              <a:lnSpc>
                <a:spcPct val="100000"/>
              </a:lnSpc>
              <a:buFontTx/>
              <a:buNone/>
              <a:defRPr sz="3200" b="1">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feld 9"/>
          <p:cNvSpPr txBox="1"/>
          <p:nvPr userDrawn="1"/>
        </p:nvSpPr>
        <p:spPr>
          <a:xfrm>
            <a:off x="1508845" y="1417993"/>
            <a:ext cx="3951178" cy="1075423"/>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kumimoji="0" lang="de-DE" sz="6000" b="1" i="0" u="none" strike="noStrike" kern="1200" cap="all" spc="0" normalizeH="0" baseline="0" noProof="0">
                <a:ln>
                  <a:noFill/>
                </a:ln>
                <a:solidFill>
                  <a:schemeClr val="accent1"/>
                </a:solidFill>
                <a:effectLst/>
                <a:uLnTx/>
                <a:uFillTx/>
                <a:latin typeface="+mn-lt"/>
                <a:ea typeface="+mn-ea"/>
                <a:cs typeface="+mn-cs"/>
              </a:rPr>
              <a:t>Agenda</a:t>
            </a:r>
          </a:p>
        </p:txBody>
      </p:sp>
      <p:sp>
        <p:nvSpPr>
          <p:cNvPr id="11" name="Rechteck 10"/>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spTree>
    <p:extLst>
      <p:ext uri="{BB962C8B-B14F-4D97-AF65-F5344CB8AC3E}">
        <p14:creationId xmlns:p14="http://schemas.microsoft.com/office/powerpoint/2010/main" val="3551736085"/>
      </p:ext>
    </p:extLst>
  </p:cSld>
  <p:clrMapOvr>
    <a:masterClrMapping/>
  </p:clrMapOvr>
  <p:transition advClick="0" advTm="0">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4" imgW="347" imgH="348" progId="TCLayout.ActiveDocument.1">
                  <p:embed/>
                </p:oleObj>
              </mc:Choice>
              <mc:Fallback>
                <p:oleObj name="think-cell Folie" r:id="rId4" imgW="347" imgH="348" progId="TCLayout.ActiveDocument.1">
                  <p:embed/>
                  <p:pic>
                    <p:nvPicPr>
                      <p:cNvPr id="4" name="Objek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a:solidFill>
                <a:srgbClr val="791F82"/>
              </a:solidFill>
            </a:endParaRPr>
          </a:p>
        </p:txBody>
      </p:sp>
      <p:sp>
        <p:nvSpPr>
          <p:cNvPr id="8" name="Textplatzhalter 8"/>
          <p:cNvSpPr>
            <a:spLocks noGrp="1"/>
          </p:cNvSpPr>
          <p:nvPr>
            <p:ph type="body" sz="quarter" idx="13"/>
          </p:nvPr>
        </p:nvSpPr>
        <p:spPr bwMode="gray">
          <a:xfrm>
            <a:off x="407196" y="1447396"/>
            <a:ext cx="11350799" cy="4862789"/>
          </a:xfrm>
        </p:spPr>
        <p:txBody>
          <a:bodyPr/>
          <a:lstStyle>
            <a:lvl1pPr>
              <a:defRPr/>
            </a:lvl1pPr>
            <a:lvl2pPr>
              <a:buClrTx/>
              <a:defRPr/>
            </a:lvl2pPr>
            <a:lvl3pPr marL="359892" indent="-179946">
              <a:buClrTx/>
              <a:buFont typeface="Symbol" panose="05050102010706020507" pitchFamily="18" charset="2"/>
              <a:buChar char="-"/>
              <a:defRPr/>
            </a:lvl3pPr>
            <a:lvl4pPr marL="539838" indent="-179946">
              <a:buClrTx/>
              <a:buFont typeface="Symbol" panose="05050102010706020507" pitchFamily="18" charset="2"/>
              <a:buChar char="-"/>
              <a:defRPr/>
            </a:lvl4pPr>
            <a:lvl5pPr marL="719784" indent="-179946">
              <a:buClrTx/>
              <a:buFont typeface="Symbol" panose="05050102010706020507" pitchFamily="18" charset="2"/>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12"/>
          <p:cNvSpPr>
            <a:spLocks noGrp="1"/>
          </p:cNvSpPr>
          <p:nvPr>
            <p:ph type="body" sz="quarter" idx="15" hasCustomPrompt="1"/>
          </p:nvPr>
        </p:nvSpPr>
        <p:spPr>
          <a:xfrm>
            <a:off x="407936" y="765521"/>
            <a:ext cx="11350059" cy="437136"/>
          </a:xfrm>
        </p:spPr>
        <p:txBody>
          <a:bodyPr/>
          <a:lstStyle>
            <a:lvl1pPr marL="0" marR="0" indent="0" algn="l" defTabSz="1088175" rtl="0" eaLnBrk="1" fontAlgn="auto" latinLnBrk="0" hangingPunct="1">
              <a:lnSpc>
                <a:spcPct val="130000"/>
              </a:lnSpc>
              <a:spcBef>
                <a:spcPts val="0"/>
              </a:spcBef>
              <a:spcAft>
                <a:spcPts val="0"/>
              </a:spcAft>
              <a:buClrTx/>
              <a:buSzTx/>
              <a:buFontTx/>
              <a:buNone/>
              <a:tabLst/>
              <a:defRPr lang="de-DE" sz="1800" b="1" kern="1200" dirty="0" smtClean="0">
                <a:solidFill>
                  <a:srgbClr val="965AA0"/>
                </a:solidFill>
                <a:latin typeface="+mn-lt"/>
                <a:ea typeface="+mn-ea"/>
                <a:cs typeface="+mn-cs"/>
              </a:defRPr>
            </a:lvl1pPr>
          </a:lstStyle>
          <a:p>
            <a:pPr marL="0" marR="0" lvl="0" indent="0" algn="l" defTabSz="1088175" rtl="0" eaLnBrk="1" fontAlgn="auto" latinLnBrk="0" hangingPunct="1">
              <a:lnSpc>
                <a:spcPct val="120000"/>
              </a:lnSpc>
              <a:spcBef>
                <a:spcPts val="0"/>
              </a:spcBef>
              <a:spcAft>
                <a:spcPts val="0"/>
              </a:spcAft>
              <a:buClrTx/>
              <a:buSzTx/>
              <a:buFontTx/>
              <a:buNone/>
              <a:tabLst/>
              <a:defRPr/>
            </a:pPr>
            <a:r>
              <a:rPr lang="de-DE"/>
              <a:t>Formatvorlage des Untertitelmasters durch Klicken bearbeiten</a:t>
            </a:r>
          </a:p>
        </p:txBody>
      </p:sp>
    </p:spTree>
    <p:extLst>
      <p:ext uri="{BB962C8B-B14F-4D97-AF65-F5344CB8AC3E}">
        <p14:creationId xmlns:p14="http://schemas.microsoft.com/office/powerpoint/2010/main" val="231489557"/>
      </p:ext>
    </p:extLst>
  </p:cSld>
  <p:clrMapOvr>
    <a:masterClrMapping/>
  </p:clrMapOvr>
  <p:transition>
    <p:fade/>
  </p:transition>
  <p:extLst>
    <p:ext uri="{DCECCB84-F9BA-43D5-87BE-67443E8EF086}">
      <p15:sldGuideLst xmlns:p15="http://schemas.microsoft.com/office/powerpoint/2012/main">
        <p15:guide id="0" orient="horz" pos="913">
          <p15:clr>
            <a:srgbClr val="FBAE40"/>
          </p15:clr>
        </p15:guide>
        <p15:guide id="1"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9" name="Textplatzhalter 8"/>
          <p:cNvSpPr>
            <a:spLocks noGrp="1"/>
          </p:cNvSpPr>
          <p:nvPr>
            <p:ph type="body" sz="quarter" idx="13"/>
          </p:nvPr>
        </p:nvSpPr>
        <p:spPr bwMode="gray">
          <a:xfrm>
            <a:off x="407195" y="1326454"/>
            <a:ext cx="11350799"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4"/>
          </p:nvPr>
        </p:nvSpPr>
        <p:spPr/>
        <p:txBody>
          <a:bodyPr/>
          <a:lstStyle/>
          <a:p>
            <a:endParaRPr lang="de-DE"/>
          </a:p>
        </p:txBody>
      </p:sp>
      <p:sp>
        <p:nvSpPr>
          <p:cNvPr id="5" name="Fußzeilenplatzhalter 4"/>
          <p:cNvSpPr>
            <a:spLocks noGrp="1"/>
          </p:cNvSpPr>
          <p:nvPr>
            <p:ph type="ftr" sz="quarter" idx="15"/>
          </p:nvPr>
        </p:nvSpPr>
        <p:spPr/>
        <p:txBody>
          <a:bodyPr/>
          <a:lstStyle/>
          <a:p>
            <a:r>
              <a:rPr lang="de-DE"/>
              <a:t>Schwarz Group // Corporate Presentation //</a:t>
            </a:r>
          </a:p>
        </p:txBody>
      </p:sp>
      <p:sp>
        <p:nvSpPr>
          <p:cNvPr id="6" name="Foliennummernplatzhalter 5"/>
          <p:cNvSpPr>
            <a:spLocks noGrp="1"/>
          </p:cNvSpPr>
          <p:nvPr>
            <p:ph type="sldNum" sz="quarter" idx="16"/>
          </p:nvPr>
        </p:nvSpPr>
        <p:spPr/>
        <p:txBody>
          <a:bodyPr/>
          <a:lstStyle/>
          <a:p>
            <a:fld id="{0C7C1E0B-BD27-42F8-BC6B-2F0636970842}" type="slidenum">
              <a:rPr lang="de-DE" smtClean="0"/>
              <a:pPr/>
              <a:t>‹#›</a:t>
            </a:fld>
            <a:endParaRPr lang="de-DE"/>
          </a:p>
        </p:txBody>
      </p:sp>
    </p:spTree>
    <p:extLst>
      <p:ext uri="{BB962C8B-B14F-4D97-AF65-F5344CB8AC3E}">
        <p14:creationId xmlns:p14="http://schemas.microsoft.com/office/powerpoint/2010/main" val="2132826477"/>
      </p:ext>
    </p:extLst>
  </p:cSld>
  <p:clrMapOvr>
    <a:masterClrMapping/>
  </p:clrMapOvr>
  <p:transition advClick="0" advTm="0">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7"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pPr/>
              <a:t>‹#›</a:t>
            </a:fld>
            <a:endParaRPr lang="de-DE"/>
          </a:p>
        </p:txBody>
      </p:sp>
      <p:sp>
        <p:nvSpPr>
          <p:cNvPr id="8" name="Textplatzhalter 8"/>
          <p:cNvSpPr>
            <a:spLocks noGrp="1"/>
          </p:cNvSpPr>
          <p:nvPr>
            <p:ph type="body" sz="quarter" idx="13"/>
          </p:nvPr>
        </p:nvSpPr>
        <p:spPr bwMode="gray">
          <a:xfrm>
            <a:off x="407195" y="1326454"/>
            <a:ext cx="11350799"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5921543"/>
      </p:ext>
    </p:extLst>
  </p:cSld>
  <p:clrMapOvr>
    <a:masterClrMapping/>
  </p:clrMapOvr>
  <p:transition advClick="0" advTm="0">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9" name="Textplatzhalter 8"/>
          <p:cNvSpPr>
            <a:spLocks noGrp="1"/>
          </p:cNvSpPr>
          <p:nvPr>
            <p:ph type="body" sz="quarter" idx="13"/>
          </p:nvPr>
        </p:nvSpPr>
        <p:spPr bwMode="gray">
          <a:xfrm>
            <a:off x="407196" y="1326454"/>
            <a:ext cx="5471986"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326454"/>
            <a:ext cx="5471986"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5"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3" name="Datumsplatzhalter 12"/>
          <p:cNvSpPr>
            <a:spLocks noGrp="1"/>
          </p:cNvSpPr>
          <p:nvPr>
            <p:ph type="dt" sz="half" idx="15"/>
          </p:nvPr>
        </p:nvSpPr>
        <p:spPr/>
        <p:txBody>
          <a:bodyPr/>
          <a:lstStyle/>
          <a:p>
            <a:endParaRPr lang="de-DE"/>
          </a:p>
        </p:txBody>
      </p:sp>
      <p:sp>
        <p:nvSpPr>
          <p:cNvPr id="23" name="Fußzeilenplatzhalter 22"/>
          <p:cNvSpPr>
            <a:spLocks noGrp="1"/>
          </p:cNvSpPr>
          <p:nvPr>
            <p:ph type="ftr" sz="quarter" idx="16"/>
          </p:nvPr>
        </p:nvSpPr>
        <p:spPr/>
        <p:txBody>
          <a:bodyPr/>
          <a:lstStyle/>
          <a:p>
            <a:r>
              <a:rPr lang="de-DE"/>
              <a:t>Schwarz Group // Corporate Presentation //</a:t>
            </a:r>
          </a:p>
        </p:txBody>
      </p:sp>
      <p:sp>
        <p:nvSpPr>
          <p:cNvPr id="24" name="Foliennummernplatzhalter 23"/>
          <p:cNvSpPr>
            <a:spLocks noGrp="1"/>
          </p:cNvSpPr>
          <p:nvPr>
            <p:ph type="sldNum" sz="quarter" idx="17"/>
          </p:nvPr>
        </p:nvSpPr>
        <p:spPr/>
        <p:txBody>
          <a:bodyPr/>
          <a:lstStyle/>
          <a:p>
            <a:fld id="{0C7C1E0B-BD27-42F8-BC6B-2F0636970842}" type="slidenum">
              <a:rPr lang="de-DE" smtClean="0"/>
              <a:pPr/>
              <a:t>‹#›</a:t>
            </a:fld>
            <a:endParaRPr lang="de-DE"/>
          </a:p>
        </p:txBody>
      </p:sp>
      <p:sp>
        <p:nvSpPr>
          <p:cNvPr id="16" name="Rechteck 15"/>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19" name="Gruppieren 18"/>
          <p:cNvGrpSpPr/>
          <p:nvPr userDrawn="1"/>
        </p:nvGrpSpPr>
        <p:grpSpPr bwMode="gray">
          <a:xfrm>
            <a:off x="-3089741" y="1815282"/>
            <a:ext cx="2694276" cy="2769440"/>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47849130"/>
      </p:ext>
    </p:extLst>
  </p:cSld>
  <p:clrMapOvr>
    <a:masterClrMapping/>
  </p:clrMapOvr>
  <p:transition advClick="0" advTm="0">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9" name="Textplatzhalter 8"/>
          <p:cNvSpPr>
            <a:spLocks noGrp="1"/>
          </p:cNvSpPr>
          <p:nvPr>
            <p:ph type="body" sz="quarter" idx="13"/>
          </p:nvPr>
        </p:nvSpPr>
        <p:spPr bwMode="gray">
          <a:xfrm>
            <a:off x="407196"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5"/>
          </p:nvPr>
        </p:nvSpPr>
        <p:spPr/>
        <p:txBody>
          <a:bodyPr/>
          <a:lstStyle/>
          <a:p>
            <a:endParaRPr lang="de-DE"/>
          </a:p>
        </p:txBody>
      </p:sp>
      <p:sp>
        <p:nvSpPr>
          <p:cNvPr id="7" name="Fußzeilenplatzhalter 6"/>
          <p:cNvSpPr>
            <a:spLocks noGrp="1"/>
          </p:cNvSpPr>
          <p:nvPr>
            <p:ph type="ftr" sz="quarter" idx="16"/>
          </p:nvPr>
        </p:nvSpPr>
        <p:spPr/>
        <p:txBody>
          <a:bodyPr/>
          <a:lstStyle/>
          <a:p>
            <a:r>
              <a:rPr lang="de-DE"/>
              <a:t>Schwarz Group // Corporate Presentation //</a:t>
            </a:r>
          </a:p>
        </p:txBody>
      </p:sp>
      <p:sp>
        <p:nvSpPr>
          <p:cNvPr id="8" name="Foliennummernplatzhalter 7"/>
          <p:cNvSpPr>
            <a:spLocks noGrp="1"/>
          </p:cNvSpPr>
          <p:nvPr>
            <p:ph type="sldNum" sz="quarter" idx="17"/>
          </p:nvPr>
        </p:nvSpPr>
        <p:spPr/>
        <p:txBody>
          <a:bodyPr/>
          <a:lstStyle/>
          <a:p>
            <a:fld id="{0C7C1E0B-BD27-42F8-BC6B-2F0636970842}" type="slidenum">
              <a:rPr lang="de-DE" smtClean="0"/>
              <a:pPr/>
              <a:t>‹#›</a:t>
            </a:fld>
            <a:endParaRPr lang="de-DE"/>
          </a:p>
        </p:txBody>
      </p:sp>
      <p:sp>
        <p:nvSpPr>
          <p:cNvPr id="15" name="Rechteck 14"/>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4" name="Gruppieren 23"/>
          <p:cNvGrpSpPr/>
          <p:nvPr userDrawn="1"/>
        </p:nvGrpSpPr>
        <p:grpSpPr bwMode="gray">
          <a:xfrm>
            <a:off x="-3089741" y="1815282"/>
            <a:ext cx="2694276" cy="2769440"/>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571960679"/>
      </p:ext>
    </p:extLst>
  </p:cSld>
  <p:clrMapOvr>
    <a:masterClrMapping/>
  </p:clrMapOvr>
  <p:transition advClick="0" advTm="0">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12" name="Textplatzhalter 8"/>
          <p:cNvSpPr>
            <a:spLocks noGrp="1"/>
          </p:cNvSpPr>
          <p:nvPr>
            <p:ph type="body" sz="quarter" idx="14"/>
          </p:nvPr>
        </p:nvSpPr>
        <p:spPr bwMode="gray">
          <a:xfrm>
            <a:off x="6284237" y="1326454"/>
            <a:ext cx="5473759" cy="492001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5"/>
          </p:nvPr>
        </p:nvSpPr>
        <p:spPr bwMode="gray">
          <a:xfrm>
            <a:off x="426244" y="1427957"/>
            <a:ext cx="5452938" cy="4817100"/>
          </a:xfrm>
        </p:spPr>
        <p:txBody>
          <a:bodyPr/>
          <a:lstStyle/>
          <a:p>
            <a:endParaRPr lang="de-DE"/>
          </a:p>
        </p:txBody>
      </p:sp>
      <p:sp>
        <p:nvSpPr>
          <p:cNvPr id="19"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6"/>
          </p:nvPr>
        </p:nvSpPr>
        <p:spPr/>
        <p:txBody>
          <a:bodyPr/>
          <a:lstStyle/>
          <a:p>
            <a:endParaRPr lang="de-DE"/>
          </a:p>
        </p:txBody>
      </p:sp>
      <p:sp>
        <p:nvSpPr>
          <p:cNvPr id="9" name="Fußzeilenplatzhalter 8"/>
          <p:cNvSpPr>
            <a:spLocks noGrp="1"/>
          </p:cNvSpPr>
          <p:nvPr>
            <p:ph type="ftr" sz="quarter" idx="17"/>
          </p:nvPr>
        </p:nvSpPr>
        <p:spPr/>
        <p:txBody>
          <a:bodyPr/>
          <a:lstStyle/>
          <a:p>
            <a:r>
              <a:rPr lang="de-DE"/>
              <a:t>Schwarz Group // Corporate Presentation //</a:t>
            </a:r>
          </a:p>
        </p:txBody>
      </p:sp>
      <p:sp>
        <p:nvSpPr>
          <p:cNvPr id="29" name="Foliennummernplatzhalter 28"/>
          <p:cNvSpPr>
            <a:spLocks noGrp="1"/>
          </p:cNvSpPr>
          <p:nvPr>
            <p:ph type="sldNum" sz="quarter" idx="18"/>
          </p:nvPr>
        </p:nvSpPr>
        <p:spPr/>
        <p:txBody>
          <a:bodyPr/>
          <a:lstStyle/>
          <a:p>
            <a:fld id="{0C7C1E0B-BD27-42F8-BC6B-2F0636970842}" type="slidenum">
              <a:rPr lang="de-DE" smtClean="0"/>
              <a:pPr/>
              <a:t>‹#›</a:t>
            </a:fld>
            <a:endParaRPr lang="de-DE"/>
          </a:p>
        </p:txBody>
      </p:sp>
      <p:sp>
        <p:nvSpPr>
          <p:cNvPr id="20" name="Rechteck 19"/>
          <p:cNvSpPr/>
          <p:nvPr userDrawn="1"/>
        </p:nvSpPr>
        <p:spPr bwMode="gray">
          <a:xfrm>
            <a:off x="-3089741"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1" name="Gruppieren 20"/>
          <p:cNvGrpSpPr/>
          <p:nvPr userDrawn="1"/>
        </p:nvGrpSpPr>
        <p:grpSpPr bwMode="gray">
          <a:xfrm>
            <a:off x="-3089741" y="0"/>
            <a:ext cx="2694276" cy="4153020"/>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933676752"/>
      </p:ext>
    </p:extLst>
  </p:cSld>
  <p:clrMapOvr>
    <a:masterClrMapping/>
  </p:clrMapOvr>
  <p:transition advClick="0" advTm="0">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12" name="Textplatzhalter 8"/>
          <p:cNvSpPr>
            <a:spLocks noGrp="1"/>
          </p:cNvSpPr>
          <p:nvPr>
            <p:ph type="body" sz="quarter" idx="14"/>
          </p:nvPr>
        </p:nvSpPr>
        <p:spPr bwMode="gray">
          <a:xfrm>
            <a:off x="6284237" y="1326454"/>
            <a:ext cx="5473759"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5"/>
          </p:nvPr>
        </p:nvSpPr>
        <p:spPr bwMode="gray">
          <a:xfrm>
            <a:off x="426244" y="1427957"/>
            <a:ext cx="5452938" cy="4818522"/>
          </a:xfrm>
        </p:spPr>
        <p:txBody>
          <a:bodyPr/>
          <a:lstStyle/>
          <a:p>
            <a:endParaRPr lang="de-DE"/>
          </a:p>
        </p:txBody>
      </p:sp>
      <p:sp>
        <p:nvSpPr>
          <p:cNvPr id="1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6"/>
          </p:nvPr>
        </p:nvSpPr>
        <p:spPr/>
        <p:txBody>
          <a:bodyPr/>
          <a:lstStyle/>
          <a:p>
            <a:endParaRPr lang="de-DE"/>
          </a:p>
        </p:txBody>
      </p:sp>
      <p:sp>
        <p:nvSpPr>
          <p:cNvPr id="7" name="Fußzeilenplatzhalter 6"/>
          <p:cNvSpPr>
            <a:spLocks noGrp="1"/>
          </p:cNvSpPr>
          <p:nvPr>
            <p:ph type="ftr" sz="quarter" idx="17"/>
          </p:nvPr>
        </p:nvSpPr>
        <p:spPr/>
        <p:txBody>
          <a:bodyPr/>
          <a:lstStyle/>
          <a:p>
            <a:r>
              <a:rPr lang="de-DE"/>
              <a:t>Schwarz Group // Corporate Presentation //</a:t>
            </a:r>
          </a:p>
        </p:txBody>
      </p:sp>
      <p:sp>
        <p:nvSpPr>
          <p:cNvPr id="28" name="Foliennummernplatzhalter 27"/>
          <p:cNvSpPr>
            <a:spLocks noGrp="1"/>
          </p:cNvSpPr>
          <p:nvPr>
            <p:ph type="sldNum" sz="quarter" idx="18"/>
          </p:nvPr>
        </p:nvSpPr>
        <p:spPr/>
        <p:txBody>
          <a:bodyPr/>
          <a:lstStyle/>
          <a:p>
            <a:fld id="{0C7C1E0B-BD27-42F8-BC6B-2F0636970842}" type="slidenum">
              <a:rPr lang="de-DE" smtClean="0"/>
              <a:pPr/>
              <a:t>‹#›</a:t>
            </a:fld>
            <a:endParaRPr lang="de-DE"/>
          </a:p>
        </p:txBody>
      </p:sp>
      <p:sp>
        <p:nvSpPr>
          <p:cNvPr id="19" name="Rechteck 18"/>
          <p:cNvSpPr/>
          <p:nvPr userDrawn="1"/>
        </p:nvSpPr>
        <p:spPr bwMode="gray">
          <a:xfrm>
            <a:off x="-3089741"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0" name="Gruppieren 19"/>
          <p:cNvGrpSpPr/>
          <p:nvPr userDrawn="1"/>
        </p:nvGrpSpPr>
        <p:grpSpPr bwMode="gray">
          <a:xfrm>
            <a:off x="-3089741" y="0"/>
            <a:ext cx="2694276" cy="4153020"/>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01161403"/>
      </p:ext>
    </p:extLst>
  </p:cSld>
  <p:clrMapOvr>
    <a:masterClrMapping/>
  </p:clrMapOvr>
  <p:transition advClick="0" advTm="0">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8" name="Textplatzhalter 7"/>
          <p:cNvSpPr>
            <a:spLocks noGrp="1"/>
          </p:cNvSpPr>
          <p:nvPr>
            <p:ph type="body" sz="quarter" idx="13"/>
          </p:nvPr>
        </p:nvSpPr>
        <p:spPr bwMode="gray">
          <a:xfrm>
            <a:off x="818358" y="650166"/>
            <a:ext cx="10549729" cy="5559257"/>
          </a:xfrm>
        </p:spPr>
        <p:txBody>
          <a:bodyPr lIns="900000" rIns="900000" anchor="ctr"/>
          <a:lstStyle>
            <a:lvl1pPr algn="ctr">
              <a:lnSpc>
                <a:spcPct val="95000"/>
              </a:lnSpc>
              <a:defRPr sz="4800"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4" name="Rechteck 13"/>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15" name="Gruppieren 14"/>
          <p:cNvGrpSpPr/>
          <p:nvPr userDrawn="1"/>
        </p:nvGrpSpPr>
        <p:grpSpPr bwMode="gray">
          <a:xfrm>
            <a:off x="-3089741" y="1815282"/>
            <a:ext cx="2694276" cy="2769440"/>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45415914"/>
      </p:ext>
    </p:extLst>
  </p:cSld>
  <p:clrMapOvr>
    <a:masterClrMapping/>
  </p:clrMapOvr>
  <p:transition advClick="0" advTm="0">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Bild und Text (w)">
    <p:spTree>
      <p:nvGrpSpPr>
        <p:cNvPr id="1" name=""/>
        <p:cNvGrpSpPr/>
        <p:nvPr/>
      </p:nvGrpSpPr>
      <p:grpSpPr>
        <a:xfrm>
          <a:off x="0" y="0"/>
          <a:ext cx="0" cy="0"/>
          <a:chOff x="0" y="0"/>
          <a:chExt cx="0" cy="0"/>
        </a:xfrm>
      </p:grpSpPr>
      <p:sp>
        <p:nvSpPr>
          <p:cNvPr id="3" name="Datumsplatzhalter 2"/>
          <p:cNvSpPr>
            <a:spLocks noGrp="1"/>
          </p:cNvSpPr>
          <p:nvPr>
            <p:ph type="dt" sz="half" idx="16"/>
          </p:nvPr>
        </p:nvSpPr>
        <p:spPr/>
        <p:txBody>
          <a:bodyPr/>
          <a:lstStyle/>
          <a:p>
            <a:endParaRPr lang="de-DE"/>
          </a:p>
        </p:txBody>
      </p:sp>
      <p:sp>
        <p:nvSpPr>
          <p:cNvPr id="7" name="Fußzeilenplatzhalter 6"/>
          <p:cNvSpPr>
            <a:spLocks noGrp="1"/>
          </p:cNvSpPr>
          <p:nvPr>
            <p:ph type="ftr" sz="quarter" idx="17"/>
          </p:nvPr>
        </p:nvSpPr>
        <p:spPr/>
        <p:txBody>
          <a:bodyPr/>
          <a:lstStyle/>
          <a:p>
            <a:r>
              <a:rPr lang="de-DE"/>
              <a:t>Schwarz Group // Corporate Presentation //</a:t>
            </a:r>
          </a:p>
        </p:txBody>
      </p:sp>
      <p:sp>
        <p:nvSpPr>
          <p:cNvPr id="28" name="Foliennummernplatzhalter 27"/>
          <p:cNvSpPr>
            <a:spLocks noGrp="1"/>
          </p:cNvSpPr>
          <p:nvPr>
            <p:ph type="sldNum" sz="quarter" idx="18"/>
          </p:nvPr>
        </p:nvSpPr>
        <p:spPr/>
        <p:txBody>
          <a:bodyPr/>
          <a:lstStyle/>
          <a:p>
            <a:fld id="{0C7C1E0B-BD27-42F8-BC6B-2F0636970842}" type="slidenum">
              <a:rPr lang="de-DE" smtClean="0"/>
              <a:pPr/>
              <a:t>‹#›</a:t>
            </a:fld>
            <a:endParaRPr lang="de-DE"/>
          </a:p>
        </p:txBody>
      </p:sp>
      <p:sp>
        <p:nvSpPr>
          <p:cNvPr id="19" name="Rechteck 18"/>
          <p:cNvSpPr/>
          <p:nvPr userDrawn="1"/>
        </p:nvSpPr>
        <p:spPr bwMode="gray">
          <a:xfrm>
            <a:off x="-3089740"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61" tIns="71974" rIns="71974"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531" indent="-228531" algn="l" defTabSz="1088175"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531" indent="-228531" algn="l" defTabSz="1088175"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0" name="Gruppieren 19"/>
          <p:cNvGrpSpPr/>
          <p:nvPr userDrawn="1"/>
        </p:nvGrpSpPr>
        <p:grpSpPr bwMode="gray">
          <a:xfrm>
            <a:off x="-3089740" y="1"/>
            <a:ext cx="2694276" cy="4153020"/>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531" indent="-228531"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531" indent="-228531"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999611096"/>
      </p:ext>
    </p:extLst>
  </p:cSld>
  <p:clrMapOvr>
    <a:masterClrMapping/>
  </p:clrMapOvr>
  <p:transition advClick="0" advTm="0">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Inhaltsverzeichnis">
    <p:spTree>
      <p:nvGrpSpPr>
        <p:cNvPr id="1" name=""/>
        <p:cNvGrpSpPr/>
        <p:nvPr/>
      </p:nvGrpSpPr>
      <p:grpSpPr>
        <a:xfrm>
          <a:off x="0" y="0"/>
          <a:ext cx="0" cy="0"/>
          <a:chOff x="0" y="0"/>
          <a:chExt cx="0" cy="0"/>
        </a:xfrm>
      </p:grpSpPr>
      <p:sp>
        <p:nvSpPr>
          <p:cNvPr id="11" name="Textplatzhalter 2"/>
          <p:cNvSpPr>
            <a:spLocks noGrp="1"/>
          </p:cNvSpPr>
          <p:nvPr>
            <p:ph type="body" idx="10" hasCustomPrompt="1"/>
          </p:nvPr>
        </p:nvSpPr>
        <p:spPr>
          <a:xfrm>
            <a:off x="484654" y="873413"/>
            <a:ext cx="11182544" cy="481252"/>
          </a:xfrm>
        </p:spPr>
        <p:txBody>
          <a:bodyPr lIns="0" tIns="0" rIns="0" bIns="0" anchor="t"/>
          <a:lstStyle>
            <a:lvl1pPr marL="0" indent="0">
              <a:buNone/>
              <a:defRPr sz="2933" b="1">
                <a:solidFill>
                  <a:schemeClr val="tx2"/>
                </a:solidFill>
                <a:latin typeface="Arial" pitchFamily="34" charset="0"/>
                <a:cs typeface="Arial" pitchFamily="34" charset="0"/>
              </a:defRPr>
            </a:lvl1pPr>
            <a:lvl2pPr marL="609524" indent="0">
              <a:buNone/>
              <a:defRPr sz="2400">
                <a:solidFill>
                  <a:schemeClr val="tx1">
                    <a:tint val="75000"/>
                  </a:schemeClr>
                </a:solidFill>
              </a:defRPr>
            </a:lvl2pPr>
            <a:lvl3pPr marL="1219048" indent="0">
              <a:buNone/>
              <a:defRPr sz="2133">
                <a:solidFill>
                  <a:schemeClr val="tx1">
                    <a:tint val="75000"/>
                  </a:schemeClr>
                </a:solidFill>
              </a:defRPr>
            </a:lvl3pPr>
            <a:lvl4pPr marL="1828571" indent="0">
              <a:buNone/>
              <a:defRPr sz="1867">
                <a:solidFill>
                  <a:schemeClr val="tx1">
                    <a:tint val="75000"/>
                  </a:schemeClr>
                </a:solidFill>
              </a:defRPr>
            </a:lvl4pPr>
            <a:lvl5pPr marL="2438095" indent="0">
              <a:buNone/>
              <a:defRPr sz="1867">
                <a:solidFill>
                  <a:schemeClr val="tx1">
                    <a:tint val="75000"/>
                  </a:schemeClr>
                </a:solidFill>
              </a:defRPr>
            </a:lvl5pPr>
            <a:lvl6pPr marL="3047619" indent="0">
              <a:buNone/>
              <a:defRPr sz="1867">
                <a:solidFill>
                  <a:schemeClr val="tx1">
                    <a:tint val="75000"/>
                  </a:schemeClr>
                </a:solidFill>
              </a:defRPr>
            </a:lvl6pPr>
            <a:lvl7pPr marL="3657143" indent="0">
              <a:buNone/>
              <a:defRPr sz="1867">
                <a:solidFill>
                  <a:schemeClr val="tx1">
                    <a:tint val="75000"/>
                  </a:schemeClr>
                </a:solidFill>
              </a:defRPr>
            </a:lvl7pPr>
            <a:lvl8pPr marL="4266666" indent="0">
              <a:buNone/>
              <a:defRPr sz="1867">
                <a:solidFill>
                  <a:schemeClr val="tx1">
                    <a:tint val="75000"/>
                  </a:schemeClr>
                </a:solidFill>
              </a:defRPr>
            </a:lvl8pPr>
            <a:lvl9pPr marL="4876190" indent="0">
              <a:buNone/>
              <a:defRPr sz="1867">
                <a:solidFill>
                  <a:schemeClr val="tx1">
                    <a:tint val="75000"/>
                  </a:schemeClr>
                </a:solidFill>
              </a:defRPr>
            </a:lvl9pPr>
          </a:lstStyle>
          <a:p>
            <a:pPr lvl="0"/>
            <a:r>
              <a:rPr lang="de-DE"/>
              <a:t>Untertitel</a:t>
            </a:r>
          </a:p>
        </p:txBody>
      </p:sp>
      <p:sp>
        <p:nvSpPr>
          <p:cNvPr id="7" name="Titel 1"/>
          <p:cNvSpPr>
            <a:spLocks noGrp="1"/>
          </p:cNvSpPr>
          <p:nvPr>
            <p:ph type="title" hasCustomPrompt="1"/>
          </p:nvPr>
        </p:nvSpPr>
        <p:spPr>
          <a:xfrm>
            <a:off x="484655" y="190678"/>
            <a:ext cx="4411861" cy="614682"/>
          </a:xfrm>
          <a:solidFill>
            <a:schemeClr val="tx2"/>
          </a:solidFill>
        </p:spPr>
        <p:txBody>
          <a:bodyPr wrap="none" lIns="90000" tIns="50400" rIns="72000" bIns="50400" anchor="ctr" anchorCtr="0">
            <a:spAutoFit/>
          </a:bodyPr>
          <a:lstStyle>
            <a:lvl1pPr algn="l">
              <a:defRPr sz="3333" b="0" baseline="0">
                <a:solidFill>
                  <a:schemeClr val="bg1"/>
                </a:solidFill>
                <a:latin typeface="Arial" pitchFamily="34" charset="0"/>
                <a:cs typeface="Arial" pitchFamily="34" charset="0"/>
              </a:defRPr>
            </a:lvl1pPr>
          </a:lstStyle>
          <a:p>
            <a:r>
              <a:rPr lang="de-DE"/>
              <a:t>Inhaltsübersicht</a:t>
            </a:r>
          </a:p>
        </p:txBody>
      </p:sp>
      <p:sp>
        <p:nvSpPr>
          <p:cNvPr id="8" name="Inhaltsplatzhalter 2"/>
          <p:cNvSpPr>
            <a:spLocks noGrp="1"/>
          </p:cNvSpPr>
          <p:nvPr>
            <p:ph idx="1" hasCustomPrompt="1"/>
          </p:nvPr>
        </p:nvSpPr>
        <p:spPr>
          <a:xfrm>
            <a:off x="482538" y="1609041"/>
            <a:ext cx="11182544" cy="4729728"/>
          </a:xfrm>
        </p:spPr>
        <p:txBody>
          <a:bodyPr lIns="0" tIns="0" rIns="0" bIns="0"/>
          <a:lstStyle>
            <a:lvl1pPr marL="355555" indent="-355555">
              <a:lnSpc>
                <a:spcPct val="120000"/>
              </a:lnSpc>
              <a:spcBef>
                <a:spcPts val="0"/>
              </a:spcBef>
              <a:tabLst/>
              <a:defRPr>
                <a:latin typeface="Arial" pitchFamily="34" charset="0"/>
                <a:cs typeface="Arial" pitchFamily="34" charset="0"/>
              </a:defRPr>
            </a:lvl1pPr>
            <a:lvl2pPr>
              <a:lnSpc>
                <a:spcPct val="120000"/>
              </a:lnSpc>
              <a:spcBef>
                <a:spcPts val="0"/>
              </a:spcBef>
              <a:defRPr>
                <a:latin typeface="Arial" pitchFamily="34" charset="0"/>
                <a:cs typeface="Arial" pitchFamily="34" charset="0"/>
              </a:defRPr>
            </a:lvl2pPr>
            <a:lvl3pPr>
              <a:lnSpc>
                <a:spcPct val="110000"/>
              </a:lnSpc>
              <a:spcBef>
                <a:spcPts val="0"/>
              </a:spcBef>
              <a:defRPr>
                <a:latin typeface="Arial" pitchFamily="34" charset="0"/>
                <a:cs typeface="Arial" pitchFamily="34" charset="0"/>
              </a:defRPr>
            </a:lvl3pPr>
            <a:lvl4pPr>
              <a:lnSpc>
                <a:spcPct val="110000"/>
              </a:lnSpc>
              <a:spcBef>
                <a:spcPts val="0"/>
              </a:spcBef>
              <a:defRPr>
                <a:latin typeface="Arial" pitchFamily="34" charset="0"/>
                <a:cs typeface="Arial" pitchFamily="34" charset="0"/>
              </a:defRPr>
            </a:lvl4pPr>
            <a:lvl5pPr>
              <a:lnSpc>
                <a:spcPct val="120000"/>
              </a:lnSpc>
              <a:spcBef>
                <a:spcPts val="0"/>
              </a:spcBef>
              <a:buNone/>
              <a:defRPr>
                <a:latin typeface="Arial" pitchFamily="34" charset="0"/>
                <a:cs typeface="Arial" pitchFamily="34" charset="0"/>
              </a:defRPr>
            </a:lvl5pPr>
            <a:lvl6pPr>
              <a:defRPr/>
            </a:lvl6pPr>
            <a:lvl7pPr>
              <a:defRPr/>
            </a:lvl7pPr>
          </a:lstStyle>
          <a:p>
            <a:pPr lvl="5"/>
            <a:r>
              <a:rPr lang="de-DE"/>
              <a:t>Dritte Ebene</a:t>
            </a:r>
          </a:p>
          <a:p>
            <a:pPr lvl="6"/>
            <a:r>
              <a:rPr lang="de-DE"/>
              <a:t>Vierte Ebene</a:t>
            </a:r>
          </a:p>
          <a:p>
            <a:pPr lvl="0"/>
            <a:endParaRPr lang="de-DE"/>
          </a:p>
        </p:txBody>
      </p:sp>
    </p:spTree>
    <p:extLst>
      <p:ext uri="{BB962C8B-B14F-4D97-AF65-F5344CB8AC3E}">
        <p14:creationId xmlns:p14="http://schemas.microsoft.com/office/powerpoint/2010/main" val="4082598096"/>
      </p:ext>
    </p:extLst>
  </p:cSld>
  <p:clrMapOvr>
    <a:masterClrMapping/>
  </p:clrMapOvr>
  <p:transition advClick="0" advTm="0">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84653" y="5018488"/>
            <a:ext cx="11182544" cy="398547"/>
          </a:xfrm>
        </p:spPr>
        <p:txBody>
          <a:bodyPr anchor="t"/>
          <a:lstStyle>
            <a:lvl1pPr algn="l">
              <a:defRPr sz="2933" b="1">
                <a:solidFill>
                  <a:schemeClr val="tx2"/>
                </a:solidFill>
                <a:latin typeface="Arial" pitchFamily="34" charset="0"/>
                <a:cs typeface="Arial" pitchFamily="34" charset="0"/>
              </a:defRPr>
            </a:lvl1pPr>
          </a:lstStyle>
          <a:p>
            <a:r>
              <a:rPr lang="de-DE" noProof="0"/>
              <a:t>Titelmasterformat durch Klicken bearbeiten</a:t>
            </a:r>
          </a:p>
        </p:txBody>
      </p:sp>
    </p:spTree>
    <p:extLst>
      <p:ext uri="{BB962C8B-B14F-4D97-AF65-F5344CB8AC3E}">
        <p14:creationId xmlns:p14="http://schemas.microsoft.com/office/powerpoint/2010/main" val="2195396362"/>
      </p:ext>
    </p:extLst>
  </p:cSld>
  <p:clrMapOvr>
    <a:masterClrMapping/>
  </p:clrMapOvr>
  <p:transition advClick="0" advTm="0">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526983" y="1509536"/>
            <a:ext cx="11136449" cy="4609180"/>
          </a:xfrm>
        </p:spPr>
        <p:txBody>
          <a:bodyPr/>
          <a:lstStyle>
            <a:lvl1pPr>
              <a:defRPr/>
            </a:lvl1pPr>
            <a:lvl9pPr>
              <a:defRPr>
                <a:solidFill>
                  <a:schemeClr val="tx2"/>
                </a:solidFill>
              </a:defRPr>
            </a:lvl9pPr>
          </a:lstStyle>
          <a:p>
            <a:pPr lvl="0"/>
            <a:r>
              <a:rPr lang="de-DE" noProof="0"/>
              <a:t>Schreibe hier deinen Text.</a:t>
            </a:r>
          </a:p>
        </p:txBody>
      </p:sp>
      <p:sp>
        <p:nvSpPr>
          <p:cNvPr id="12" name="Text Placeholder 4"/>
          <p:cNvSpPr>
            <a:spLocks noGrp="1"/>
          </p:cNvSpPr>
          <p:nvPr>
            <p:ph type="body" sz="quarter" idx="20" hasCustomPrompt="1"/>
          </p:nvPr>
        </p:nvSpPr>
        <p:spPr bwMode="gray">
          <a:xfrm>
            <a:off x="526982" y="356742"/>
            <a:ext cx="11131989" cy="240297"/>
          </a:xfrm>
        </p:spPr>
        <p:txBody>
          <a:bodyPr wrap="none" bIns="18000" anchor="b"/>
          <a:lstStyle>
            <a:lvl1pPr marL="0" indent="0">
              <a:lnSpc>
                <a:spcPct val="100000"/>
              </a:lnSpc>
              <a:spcBef>
                <a:spcPts val="0"/>
              </a:spcBef>
              <a:spcAft>
                <a:spcPts val="0"/>
              </a:spcAft>
              <a:buFont typeface="Arial" panose="020B0604020202020204" pitchFamily="34" charset="0"/>
              <a:buNone/>
              <a:defRPr sz="1333" b="0" cap="all" baseline="0">
                <a:solidFill>
                  <a:schemeClr val="accent4"/>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a:t>Kapitelüberschrift (OPTIONAL)</a:t>
            </a:r>
          </a:p>
        </p:txBody>
      </p:sp>
      <p:sp>
        <p:nvSpPr>
          <p:cNvPr id="3" name="Titel 2"/>
          <p:cNvSpPr>
            <a:spLocks noGrp="1"/>
          </p:cNvSpPr>
          <p:nvPr>
            <p:ph type="title"/>
          </p:nvPr>
        </p:nvSpPr>
        <p:spPr/>
        <p:txBody>
          <a:bodyPr/>
          <a:lstStyle/>
          <a:p>
            <a:r>
              <a:rPr lang="de-DE"/>
              <a:t>Titelmasterformat durch Klicken bearbeiten</a:t>
            </a:r>
            <a:endParaRPr lang="en-US"/>
          </a:p>
        </p:txBody>
      </p:sp>
      <p:sp>
        <p:nvSpPr>
          <p:cNvPr id="9" name="Textplatzhalter 4"/>
          <p:cNvSpPr>
            <a:spLocks noGrp="1"/>
          </p:cNvSpPr>
          <p:nvPr>
            <p:ph type="body" sz="quarter" idx="28" hasCustomPrompt="1"/>
          </p:nvPr>
        </p:nvSpPr>
        <p:spPr>
          <a:xfrm>
            <a:off x="526981" y="6449706"/>
            <a:ext cx="5568226" cy="181442"/>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a:t>Quelle</a:t>
            </a:r>
            <a:endParaRPr lang="en-US"/>
          </a:p>
        </p:txBody>
      </p:sp>
      <p:sp>
        <p:nvSpPr>
          <p:cNvPr id="11" name="Datumsplatzhalter 10"/>
          <p:cNvSpPr>
            <a:spLocks noGrp="1"/>
          </p:cNvSpPr>
          <p:nvPr>
            <p:ph type="dt" sz="half" idx="29"/>
          </p:nvPr>
        </p:nvSpPr>
        <p:spPr/>
        <p:txBody>
          <a:bodyPr/>
          <a:lstStyle/>
          <a:p>
            <a:endParaRPr lang="cs-CZ"/>
          </a:p>
        </p:txBody>
      </p:sp>
      <p:sp>
        <p:nvSpPr>
          <p:cNvPr id="13" name="Fußzeilenplatzhalter 12"/>
          <p:cNvSpPr>
            <a:spLocks noGrp="1"/>
          </p:cNvSpPr>
          <p:nvPr>
            <p:ph type="ftr" sz="quarter" idx="30"/>
          </p:nvPr>
        </p:nvSpPr>
        <p:spPr/>
        <p:txBody>
          <a:bodyPr/>
          <a:lstStyle/>
          <a:p>
            <a:r>
              <a:rPr lang="de-DE" noProof="0"/>
              <a:t>Schwarz Group // Corporate Presentation //</a:t>
            </a:r>
            <a:endParaRPr lang="cs-CZ" noProof="0"/>
          </a:p>
        </p:txBody>
      </p:sp>
      <p:sp>
        <p:nvSpPr>
          <p:cNvPr id="14" name="Foliennummernplatzhalter 13"/>
          <p:cNvSpPr>
            <a:spLocks noGrp="1"/>
          </p:cNvSpPr>
          <p:nvPr>
            <p:ph type="sldNum" sz="quarter" idx="31"/>
          </p:nvPr>
        </p:nvSpPr>
        <p:spPr/>
        <p:txBody>
          <a:bodyPr/>
          <a:lstStyle/>
          <a:p>
            <a:r>
              <a:rPr lang="cs-CZ" noProof="0">
                <a:sym typeface="Wingdings"/>
              </a:rPr>
              <a:t>  </a:t>
            </a:r>
            <a:fld id="{443B15C8-972D-49F6-9B7C-5A2154A8C95F}" type="slidenum">
              <a:rPr lang="cs-CZ" noProof="0" smtClean="0"/>
              <a:pPr/>
              <a:t>‹#›</a:t>
            </a:fld>
            <a:endParaRPr lang="cs-CZ" noProof="0"/>
          </a:p>
        </p:txBody>
      </p:sp>
    </p:spTree>
    <p:extLst>
      <p:ext uri="{BB962C8B-B14F-4D97-AF65-F5344CB8AC3E}">
        <p14:creationId xmlns:p14="http://schemas.microsoft.com/office/powerpoint/2010/main" val="975710768"/>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4"/>
            <a:ext cx="11906756" cy="6577523"/>
          </a:xfrm>
          <a:prstGeom prst="rect">
            <a:avLst/>
          </a:prstGeom>
        </p:spPr>
      </p:pic>
      <p:sp>
        <p:nvSpPr>
          <p:cNvPr id="20" name="Rechteck 19"/>
          <p:cNvSpPr/>
          <p:nvPr userDrawn="1"/>
        </p:nvSpPr>
        <p:spPr bwMode="gray">
          <a:xfrm>
            <a:off x="429465" y="425627"/>
            <a:ext cx="11328532" cy="695768"/>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55" tIns="34278" rIns="68555" bIns="34278" rtlCol="0" anchor="ctr"/>
          <a:lstStyle/>
          <a:p>
            <a:pPr algn="ctr" defTabSz="685594">
              <a:defRPr/>
            </a:pPr>
            <a:endParaRPr lang="de-DE" sz="1400" kern="0">
              <a:solidFill>
                <a:srgbClr val="FFFFFF"/>
              </a:solidFill>
              <a:latin typeface="Calibri"/>
            </a:endParaRPr>
          </a:p>
        </p:txBody>
      </p:sp>
      <p:sp>
        <p:nvSpPr>
          <p:cNvPr id="2" name="Titel 1"/>
          <p:cNvSpPr>
            <a:spLocks noGrp="1"/>
          </p:cNvSpPr>
          <p:nvPr userDrawn="1">
            <p:ph type="title"/>
          </p:nvPr>
        </p:nvSpPr>
        <p:spPr bwMode="gray">
          <a:xfrm>
            <a:off x="497681" y="557092"/>
            <a:ext cx="11166929" cy="432841"/>
          </a:xfrm>
        </p:spPr>
        <p:txBody>
          <a:bodyPr anchor="ctr"/>
          <a:lstStyle>
            <a:lvl1pPr>
              <a:defRPr>
                <a:solidFill>
                  <a:schemeClr val="bg1"/>
                </a:solidFill>
              </a:defRPr>
            </a:lvl1pPr>
          </a:lstStyle>
          <a:p>
            <a:r>
              <a:rPr lang="de-DE"/>
              <a:t>Titelmasterformat durch Klicken bearbeiten</a:t>
            </a:r>
          </a:p>
        </p:txBody>
      </p:sp>
      <p:sp>
        <p:nvSpPr>
          <p:cNvPr id="3" name="Datumsplatzhalter 2"/>
          <p:cNvSpPr>
            <a:spLocks noGrp="1"/>
          </p:cNvSpPr>
          <p:nvPr userDrawn="1">
            <p:ph type="dt" sz="half" idx="10"/>
          </p:nvPr>
        </p:nvSpPr>
        <p:spPr bwMode="gray"/>
        <p:txBody>
          <a:bodyPr/>
          <a:lstStyle/>
          <a:p>
            <a:endParaRPr lang="de-DE"/>
          </a:p>
        </p:txBody>
      </p:sp>
      <p:sp>
        <p:nvSpPr>
          <p:cNvPr id="4" name="Fußzeilenplatzhalter 3"/>
          <p:cNvSpPr>
            <a:spLocks noGrp="1"/>
          </p:cNvSpPr>
          <p:nvPr userDrawn="1">
            <p:ph type="ftr" sz="quarter" idx="11"/>
          </p:nvPr>
        </p:nvSpPr>
        <p:spPr bwMode="gray"/>
        <p:txBody>
          <a:bodyPr/>
          <a:lstStyle/>
          <a:p>
            <a:r>
              <a:rPr lang="de-DE"/>
              <a:t>Schwarz Group // Corporate Presentation //</a:t>
            </a:r>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a:t>
            </a:fld>
            <a:endParaRPr lang="de-DE">
              <a:solidFill>
                <a:srgbClr val="791F82"/>
              </a:solidFill>
            </a:endParaRPr>
          </a:p>
        </p:txBody>
      </p:sp>
      <p:grpSp>
        <p:nvGrpSpPr>
          <p:cNvPr id="21" name="Gruppieren 20"/>
          <p:cNvGrpSpPr/>
          <p:nvPr userDrawn="1"/>
        </p:nvGrpSpPr>
        <p:grpSpPr bwMode="gray">
          <a:xfrm>
            <a:off x="-3089740" y="1"/>
            <a:ext cx="2694276" cy="4153020"/>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r>
                <a:rPr lang="de-DE" sz="1200" b="1">
                  <a:solidFill>
                    <a:srgbClr val="FFFFFF"/>
                  </a:solidFill>
                </a:rPr>
                <a:t>Bilder in Bildplatzhalter einfügen</a:t>
              </a:r>
            </a:p>
            <a:p>
              <a:endParaRPr lang="de-DE" sz="1200" b="1">
                <a:solidFill>
                  <a:srgbClr val="FFFFFF"/>
                </a:solidFill>
              </a:endParaRPr>
            </a:p>
            <a:p>
              <a:pPr>
                <a:buClr>
                  <a:srgbClr val="FFFFFF"/>
                </a:buClr>
                <a:buFont typeface="+mj-lt"/>
                <a:buNone/>
              </a:pPr>
              <a:r>
                <a:rPr lang="de-DE" sz="1000">
                  <a:solidFill>
                    <a:srgbClr val="FFFFFF"/>
                  </a:solidFill>
                </a:rPr>
                <a:t>Die Bildplatzhalter erlauben das unkomplizierte Platzieren von Bildern auf </a:t>
              </a:r>
              <a:br>
                <a:rPr lang="de-DE" sz="1000">
                  <a:solidFill>
                    <a:srgbClr val="FFFFFF"/>
                  </a:solidFill>
                </a:rPr>
              </a:br>
              <a:r>
                <a:rPr lang="de-DE" sz="1000">
                  <a:solidFill>
                    <a:srgbClr val="FFFFFF"/>
                  </a:solidFill>
                </a:rPr>
                <a:t>der Folie. Sie definieren den Bereich, in welchem die Bilder auf den Folien platziert werden sollen.</a:t>
              </a:r>
            </a:p>
            <a:p>
              <a:pPr>
                <a:buClr>
                  <a:srgbClr val="FFFFFF"/>
                </a:buClr>
                <a:buFont typeface="+mj-lt"/>
                <a:buNone/>
              </a:pPr>
              <a:endParaRPr lang="de-DE" sz="1000">
                <a:solidFill>
                  <a:srgbClr val="FFFFFF"/>
                </a:solidFill>
              </a:endParaRPr>
            </a:p>
            <a:p>
              <a:pPr marL="228531" indent="-228531">
                <a:spcAft>
                  <a:spcPts val="600"/>
                </a:spcAft>
                <a:buClr>
                  <a:srgbClr val="FFFFFF"/>
                </a:buClr>
                <a:buFont typeface="+mj-lt"/>
                <a:buAutoNum type="arabicParenBoth"/>
              </a:pPr>
              <a:r>
                <a:rPr lang="de-DE" sz="1000">
                  <a:solidFill>
                    <a:srgbClr val="FFFFFF"/>
                  </a:solidFill>
                </a:rPr>
                <a:t>Um ein gewünschtes Bild in den Bildplatzhalter einzufügen klicke </a:t>
              </a:r>
              <a:br>
                <a:rPr lang="de-DE" sz="1000">
                  <a:solidFill>
                    <a:srgbClr val="FFFFFF"/>
                  </a:solidFill>
                </a:rPr>
              </a:br>
              <a:r>
                <a:rPr lang="de-DE" sz="1000">
                  <a:solidFill>
                    <a:srgbClr val="FFFFFF"/>
                  </a:solidFill>
                </a:rPr>
                <a:t>auf das entsprechende „Icon“         im Platzhalter.</a:t>
              </a:r>
            </a:p>
            <a:p>
              <a:pPr marL="228531" indent="-228531">
                <a:buClr>
                  <a:srgbClr val="FFFFFF"/>
                </a:buClr>
                <a:buFont typeface="+mj-lt"/>
                <a:buAutoNum type="arabicParenBoth"/>
              </a:pPr>
              <a:r>
                <a:rPr lang="de-DE" sz="1000">
                  <a:solidFill>
                    <a:srgbClr val="FFFFFF"/>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98233366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Empty Slide with Headlne">
    <p:bg>
      <p:bgRef idx="1001">
        <a:schemeClr val="bg2"/>
      </p:bgRef>
    </p:bg>
    <p:spTree>
      <p:nvGrpSpPr>
        <p:cNvPr id="1" name=""/>
        <p:cNvGrpSpPr/>
        <p:nvPr/>
      </p:nvGrpSpPr>
      <p:grpSpPr>
        <a:xfrm>
          <a:off x="0" y="0"/>
          <a:ext cx="0" cy="0"/>
          <a:chOff x="0" y="0"/>
          <a:chExt cx="0" cy="0"/>
        </a:xfrm>
      </p:grpSpPr>
      <p:cxnSp>
        <p:nvCxnSpPr>
          <p:cNvPr id="2" name="Straight Connector 1"/>
          <p:cNvCxnSpPr/>
          <p:nvPr userDrawn="1"/>
        </p:nvCxnSpPr>
        <p:spPr>
          <a:xfrm>
            <a:off x="469839" y="528974"/>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84125" y="727533"/>
            <a:ext cx="10843693" cy="461772"/>
          </a:xfrm>
          <a:prstGeom prst="rect">
            <a:avLst/>
          </a:prstGeom>
          <a:noFill/>
        </p:spPr>
        <p:txBody>
          <a:bodyPr wrap="square" rtlCol="0" anchor="b">
            <a:spAutoFit/>
          </a:bodyPr>
          <a:lstStyle>
            <a:lvl1pPr>
              <a:defRPr lang="uk-UA" sz="3000" b="0" i="0">
                <a:solidFill>
                  <a:schemeClr val="tx1"/>
                </a:solidFill>
                <a:latin typeface="Calibri Light" panose="020F0302020204030204" pitchFamily="34" charset="0"/>
                <a:ea typeface="Motiva Sans Light" pitchFamily="2" charset="77"/>
                <a:cs typeface="+mn-cs"/>
              </a:defRPr>
            </a:lvl1pPr>
          </a:lstStyle>
          <a:p>
            <a:pPr marL="0" lvl="0"/>
            <a:r>
              <a:rPr lang="en-US"/>
              <a:t>click to add headline</a:t>
            </a:r>
            <a:endParaRPr lang="uk-UA"/>
          </a:p>
        </p:txBody>
      </p:sp>
    </p:spTree>
    <p:extLst>
      <p:ext uri="{BB962C8B-B14F-4D97-AF65-F5344CB8AC3E}">
        <p14:creationId xmlns:p14="http://schemas.microsoft.com/office/powerpoint/2010/main" val="413246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0">
          <p15:clr>
            <a:srgbClr val="FBAE40"/>
          </p15:clr>
        </p15:guide>
        <p15:guide id="2" pos="28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ontent hell">
    <p:spTree>
      <p:nvGrpSpPr>
        <p:cNvPr id="1" name=""/>
        <p:cNvGrpSpPr/>
        <p:nvPr/>
      </p:nvGrpSpPr>
      <p:grpSpPr>
        <a:xfrm>
          <a:off x="0" y="0"/>
          <a:ext cx="0" cy="0"/>
          <a:chOff x="0" y="0"/>
          <a:chExt cx="0" cy="0"/>
        </a:xfrm>
      </p:grpSpPr>
      <p:pic>
        <p:nvPicPr>
          <p:cNvPr id="6" name="Hintergr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 y="787"/>
            <a:ext cx="12188977" cy="6858014"/>
          </a:xfrm>
          <a:prstGeom prst="rect">
            <a:avLst/>
          </a:prstGeom>
        </p:spPr>
      </p:pic>
      <p:sp>
        <p:nvSpPr>
          <p:cNvPr id="8" name="Untertitel 2"/>
          <p:cNvSpPr>
            <a:spLocks noGrp="1"/>
          </p:cNvSpPr>
          <p:nvPr>
            <p:ph type="subTitle" idx="1"/>
          </p:nvPr>
        </p:nvSpPr>
        <p:spPr bwMode="gray">
          <a:xfrm>
            <a:off x="431800" y="739136"/>
            <a:ext cx="11325224" cy="244319"/>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15" name="Titel 14"/>
          <p:cNvSpPr>
            <a:spLocks noGrp="1"/>
          </p:cNvSpPr>
          <p:nvPr>
            <p:ph type="title"/>
          </p:nvPr>
        </p:nvSpPr>
        <p:spPr/>
        <p:txBody>
          <a:bodyPr/>
          <a:lstStyle/>
          <a:p>
            <a:r>
              <a:rPr lang="de-DE"/>
              <a:t>Titelmasterformat durch Klicken bearbeiten</a:t>
            </a:r>
          </a:p>
        </p:txBody>
      </p:sp>
      <p:sp>
        <p:nvSpPr>
          <p:cNvPr id="17" name="Inhaltsplatzhalter 16"/>
          <p:cNvSpPr>
            <a:spLocks noGrp="1"/>
          </p:cNvSpPr>
          <p:nvPr>
            <p:ph sz="quarter" idx="13"/>
          </p:nvPr>
        </p:nvSpPr>
        <p:spPr>
          <a:xfrm>
            <a:off x="431801" y="1412875"/>
            <a:ext cx="5591174" cy="5014913"/>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m</a:t>
            </a:r>
          </a:p>
        </p:txBody>
      </p:sp>
    </p:spTree>
    <p:extLst>
      <p:ext uri="{BB962C8B-B14F-4D97-AF65-F5344CB8AC3E}">
        <p14:creationId xmlns:p14="http://schemas.microsoft.com/office/powerpoint/2010/main" val="4107850910"/>
      </p:ext>
    </p:extLst>
  </p:cSld>
  <p:clrMapOvr>
    <a:masterClrMapping/>
  </p:clrMapOvr>
  <p:transition>
    <p:fade/>
  </p:transition>
  <p:extLst>
    <p:ext uri="{DCECCB84-F9BA-43D5-87BE-67443E8EF086}">
      <p15:sldGuideLst xmlns:p15="http://schemas.microsoft.com/office/powerpoint/2012/main">
        <p15:guide id="1" pos="3794">
          <p15:clr>
            <a:srgbClr val="FBAE40"/>
          </p15:clr>
        </p15:guide>
        <p15:guide id="2" pos="3885">
          <p15:clr>
            <a:srgbClr val="FBAE40"/>
          </p15:clr>
        </p15:guide>
        <p15:guide id="3" pos="2590">
          <p15:clr>
            <a:srgbClr val="FBAE40"/>
          </p15:clr>
        </p15:guide>
        <p15:guide id="4" pos="2680">
          <p15:clr>
            <a:srgbClr val="FBAE40"/>
          </p15:clr>
        </p15:guide>
        <p15:guide id="5" pos="4998">
          <p15:clr>
            <a:srgbClr val="FBAE40"/>
          </p15:clr>
        </p15:guide>
        <p15:guide id="6" pos="5088">
          <p15:clr>
            <a:srgbClr val="FBAE40"/>
          </p15:clr>
        </p15:guide>
        <p15:guide id="7" pos="2080">
          <p15:clr>
            <a:srgbClr val="FBAE40"/>
          </p15:clr>
        </p15:guide>
        <p15:guide id="8" pos="1988">
          <p15:clr>
            <a:srgbClr val="FBAE40"/>
          </p15:clr>
        </p15:guide>
        <p15:guide id="9" pos="5600">
          <p15:clr>
            <a:srgbClr val="FBAE40"/>
          </p15:clr>
        </p15:guide>
        <p15:guide id="10" pos="5690">
          <p15:clr>
            <a:srgbClr val="FBAE40"/>
          </p15:clr>
        </p15:guide>
        <p15:guide id="11" pos="1386">
          <p15:clr>
            <a:srgbClr val="FBAE40"/>
          </p15:clr>
        </p15:guide>
        <p15:guide id="12" pos="1476">
          <p15:clr>
            <a:srgbClr val="FBAE40"/>
          </p15:clr>
        </p15:guide>
        <p15:guide id="13" pos="6203">
          <p15:clr>
            <a:srgbClr val="FBAE40"/>
          </p15:clr>
        </p15:guide>
        <p15:guide id="14" pos="6293">
          <p15:clr>
            <a:srgbClr val="FBAE40"/>
          </p15:clr>
        </p15:guide>
        <p15:guide id="15" orient="horz" pos="2423">
          <p15:clr>
            <a:srgbClr val="FBAE40"/>
          </p15:clr>
        </p15:guide>
        <p15:guide id="16" orient="horz" pos="2514">
          <p15:clr>
            <a:srgbClr val="FBAE40"/>
          </p15:clr>
        </p15:guide>
        <p15:guide id="17" orient="horz" pos="1881">
          <p15:clr>
            <a:srgbClr val="FBAE40"/>
          </p15:clr>
        </p15:guide>
        <p15:guide id="18" orient="horz" pos="1971">
          <p15:clr>
            <a:srgbClr val="FBAE40"/>
          </p15:clr>
        </p15:guide>
        <p15:guide id="19" orient="horz" pos="3056">
          <p15:clr>
            <a:srgbClr val="FBAE40"/>
          </p15:clr>
        </p15:guide>
        <p15:guide id="20" orient="horz" pos="2966">
          <p15:clr>
            <a:srgbClr val="FBAE40"/>
          </p15:clr>
        </p15:guide>
        <p15:guide id="21" pos="3839">
          <p15:clr>
            <a:srgbClr val="9FCC3B"/>
          </p15:clr>
        </p15:guide>
        <p15:guide id="22" orient="horz" pos="2160">
          <p15:clr>
            <a:srgbClr val="9FCC3B"/>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Folie" r:id="rId4" imgW="347" imgH="348" progId="TCLayout.ActiveDocument.1">
                  <p:embed/>
                </p:oleObj>
              </mc:Choice>
              <mc:Fallback>
                <p:oleObj name="think-cell Folie" r:id="rId4" imgW="347" imgH="348" progId="TCLayout.ActiveDocument.1">
                  <p:embed/>
                  <p:pic>
                    <p:nvPicPr>
                      <p:cNvPr id="4" name="Objek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a:solidFill>
                <a:srgbClr val="791F82"/>
              </a:solidFill>
            </a:endParaRPr>
          </a:p>
        </p:txBody>
      </p:sp>
      <p:sp>
        <p:nvSpPr>
          <p:cNvPr id="8" name="Textplatzhalter 8"/>
          <p:cNvSpPr>
            <a:spLocks noGrp="1"/>
          </p:cNvSpPr>
          <p:nvPr>
            <p:ph type="body" sz="quarter" idx="13"/>
          </p:nvPr>
        </p:nvSpPr>
        <p:spPr bwMode="gray">
          <a:xfrm>
            <a:off x="407196" y="1447396"/>
            <a:ext cx="11350799" cy="4862789"/>
          </a:xfrm>
        </p:spPr>
        <p:txBody>
          <a:bodyPr/>
          <a:lstStyle>
            <a:lvl1pPr>
              <a:defRPr/>
            </a:lvl1pPr>
            <a:lvl2pPr>
              <a:buClrTx/>
              <a:defRPr/>
            </a:lvl2pPr>
            <a:lvl3pPr marL="359892" indent="-179946">
              <a:buClrTx/>
              <a:buFont typeface="Symbol" panose="05050102010706020507" pitchFamily="18" charset="2"/>
              <a:buChar char="-"/>
              <a:defRPr/>
            </a:lvl3pPr>
            <a:lvl4pPr marL="539838" indent="-179946">
              <a:buClrTx/>
              <a:buFont typeface="Symbol" panose="05050102010706020507" pitchFamily="18" charset="2"/>
              <a:buChar char="-"/>
              <a:defRPr/>
            </a:lvl4pPr>
            <a:lvl5pPr marL="719784" indent="-179946">
              <a:buClrTx/>
              <a:buFont typeface="Symbol" panose="05050102010706020507" pitchFamily="18" charset="2"/>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12"/>
          <p:cNvSpPr>
            <a:spLocks noGrp="1"/>
          </p:cNvSpPr>
          <p:nvPr>
            <p:ph type="body" sz="quarter" idx="15" hasCustomPrompt="1"/>
          </p:nvPr>
        </p:nvSpPr>
        <p:spPr>
          <a:xfrm>
            <a:off x="407936" y="765521"/>
            <a:ext cx="11350059" cy="437136"/>
          </a:xfrm>
        </p:spPr>
        <p:txBody>
          <a:bodyPr/>
          <a:lstStyle>
            <a:lvl1pPr marL="0" marR="0" indent="0" algn="l" defTabSz="1088175" rtl="0" eaLnBrk="1" fontAlgn="auto" latinLnBrk="0" hangingPunct="1">
              <a:lnSpc>
                <a:spcPct val="130000"/>
              </a:lnSpc>
              <a:spcBef>
                <a:spcPts val="0"/>
              </a:spcBef>
              <a:spcAft>
                <a:spcPts val="0"/>
              </a:spcAft>
              <a:buClrTx/>
              <a:buSzTx/>
              <a:buFontTx/>
              <a:buNone/>
              <a:tabLst/>
              <a:defRPr lang="de-DE" sz="1800" b="1" kern="1200" dirty="0" smtClean="0">
                <a:solidFill>
                  <a:srgbClr val="965AA0"/>
                </a:solidFill>
                <a:latin typeface="+mn-lt"/>
                <a:ea typeface="+mn-ea"/>
                <a:cs typeface="+mn-cs"/>
              </a:defRPr>
            </a:lvl1pPr>
          </a:lstStyle>
          <a:p>
            <a:pPr marL="0" marR="0" lvl="0" indent="0" algn="l" defTabSz="1088175" rtl="0" eaLnBrk="1" fontAlgn="auto" latinLnBrk="0" hangingPunct="1">
              <a:lnSpc>
                <a:spcPct val="120000"/>
              </a:lnSpc>
              <a:spcBef>
                <a:spcPts val="0"/>
              </a:spcBef>
              <a:spcAft>
                <a:spcPts val="0"/>
              </a:spcAft>
              <a:buClrTx/>
              <a:buSzTx/>
              <a:buFontTx/>
              <a:buNone/>
              <a:tabLst/>
              <a:defRPr/>
            </a:pPr>
            <a:r>
              <a:rPr lang="de-DE"/>
              <a:t>Formatvorlage des Untertitelmasters durch Klicken bearbeiten</a:t>
            </a:r>
          </a:p>
        </p:txBody>
      </p:sp>
    </p:spTree>
    <p:extLst>
      <p:ext uri="{BB962C8B-B14F-4D97-AF65-F5344CB8AC3E}">
        <p14:creationId xmlns:p14="http://schemas.microsoft.com/office/powerpoint/2010/main" val="1639364924"/>
      </p:ext>
    </p:extLst>
  </p:cSld>
  <p:clrMapOvr>
    <a:masterClrMapping/>
  </p:clrMapOvr>
  <p:transition>
    <p:fade/>
  </p:transition>
  <p:extLst>
    <p:ext uri="{DCECCB84-F9BA-43D5-87BE-67443E8EF086}">
      <p15:sldGuideLst xmlns:p15="http://schemas.microsoft.com/office/powerpoint/2012/main">
        <p15:guide id="0" orient="horz" pos="913">
          <p15:clr>
            <a:srgbClr val="FBAE40"/>
          </p15:clr>
        </p15:guide>
        <p15:guide id="1"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11266" name="think-cell Folie" r:id="rId4" imgW="360" imgH="360" progId="TCLayout.ActiveDocument.1">
                  <p:embed/>
                </p:oleObj>
              </mc:Choice>
              <mc:Fallback>
                <p:oleObj name="think-cell Folie" r:id="rId4" imgW="360" imgH="360" progId="TCLayout.ActiveDocument.1">
                  <p:embed/>
                  <p:pic>
                    <p:nvPicPr>
                      <p:cNvPr id="4" name="Objekt 3" hidden="1"/>
                      <p:cNvPicPr/>
                      <p:nvPr/>
                    </p:nvPicPr>
                    <p:blipFill>
                      <a:blip r:embed="rId5"/>
                      <a:stretch>
                        <a:fillRect/>
                      </a:stretch>
                    </p:blipFill>
                    <p:spPr>
                      <a:xfrm>
                        <a:off x="1592" y="1589"/>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7" name="Untertitel 2"/>
          <p:cNvSpPr>
            <a:spLocks noGrp="1"/>
          </p:cNvSpPr>
          <p:nvPr>
            <p:ph type="subTitle" idx="1"/>
          </p:nvPr>
        </p:nvSpPr>
        <p:spPr bwMode="gray">
          <a:xfrm>
            <a:off x="409579" y="739137"/>
            <a:ext cx="11348417"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pPr/>
              <a:t>‹#›</a:t>
            </a:fld>
            <a:endParaRPr lang="de-DE"/>
          </a:p>
        </p:txBody>
      </p:sp>
      <p:sp>
        <p:nvSpPr>
          <p:cNvPr id="8" name="Textplatzhalter 8"/>
          <p:cNvSpPr>
            <a:spLocks noGrp="1"/>
          </p:cNvSpPr>
          <p:nvPr>
            <p:ph type="body" sz="quarter" idx="13"/>
          </p:nvPr>
        </p:nvSpPr>
        <p:spPr bwMode="gray">
          <a:xfrm>
            <a:off x="407196" y="1326457"/>
            <a:ext cx="11350799"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1179612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ontent weiss">
    <p:spTree>
      <p:nvGrpSpPr>
        <p:cNvPr id="1" name=""/>
        <p:cNvGrpSpPr/>
        <p:nvPr/>
      </p:nvGrpSpPr>
      <p:grpSpPr>
        <a:xfrm>
          <a:off x="0" y="0"/>
          <a:ext cx="0" cy="0"/>
          <a:chOff x="0" y="0"/>
          <a:chExt cx="0" cy="0"/>
        </a:xfrm>
      </p:grpSpPr>
      <p:sp>
        <p:nvSpPr>
          <p:cNvPr id="8" name="Untertitel 2"/>
          <p:cNvSpPr>
            <a:spLocks noGrp="1"/>
          </p:cNvSpPr>
          <p:nvPr>
            <p:ph type="subTitle" idx="1"/>
          </p:nvPr>
        </p:nvSpPr>
        <p:spPr bwMode="gray">
          <a:xfrm>
            <a:off x="431800" y="739136"/>
            <a:ext cx="11325224" cy="244319"/>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15" name="Titel 14"/>
          <p:cNvSpPr>
            <a:spLocks noGrp="1"/>
          </p:cNvSpPr>
          <p:nvPr>
            <p:ph type="title"/>
          </p:nvPr>
        </p:nvSpPr>
        <p:spPr/>
        <p:txBody>
          <a:bodyPr/>
          <a:lstStyle/>
          <a:p>
            <a:r>
              <a:rPr lang="de-DE"/>
              <a:t>Titelmasterformat durch Klicken bearbeiten</a:t>
            </a:r>
          </a:p>
        </p:txBody>
      </p:sp>
      <p:sp>
        <p:nvSpPr>
          <p:cNvPr id="17" name="Inhaltsplatzhalter 16"/>
          <p:cNvSpPr>
            <a:spLocks noGrp="1"/>
          </p:cNvSpPr>
          <p:nvPr>
            <p:ph sz="quarter" idx="13"/>
          </p:nvPr>
        </p:nvSpPr>
        <p:spPr>
          <a:xfrm>
            <a:off x="431801" y="1412875"/>
            <a:ext cx="5591174" cy="5014913"/>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m</a:t>
            </a:r>
          </a:p>
        </p:txBody>
      </p:sp>
    </p:spTree>
    <p:extLst>
      <p:ext uri="{BB962C8B-B14F-4D97-AF65-F5344CB8AC3E}">
        <p14:creationId xmlns:p14="http://schemas.microsoft.com/office/powerpoint/2010/main" val="879221125"/>
      </p:ext>
    </p:extLst>
  </p:cSld>
  <p:clrMapOvr>
    <a:masterClrMapping/>
  </p:clrMapOvr>
  <p:transition>
    <p:fade/>
  </p:transition>
  <p:extLst>
    <p:ext uri="{DCECCB84-F9BA-43D5-87BE-67443E8EF086}">
      <p15:sldGuideLst xmlns:p15="http://schemas.microsoft.com/office/powerpoint/2012/main">
        <p15:guide id="1" pos="3794">
          <p15:clr>
            <a:srgbClr val="FBAE40"/>
          </p15:clr>
        </p15:guide>
        <p15:guide id="2" pos="3885">
          <p15:clr>
            <a:srgbClr val="FBAE40"/>
          </p15:clr>
        </p15:guide>
        <p15:guide id="3" pos="2590">
          <p15:clr>
            <a:srgbClr val="FBAE40"/>
          </p15:clr>
        </p15:guide>
        <p15:guide id="4" pos="2680">
          <p15:clr>
            <a:srgbClr val="FBAE40"/>
          </p15:clr>
        </p15:guide>
        <p15:guide id="5" pos="4998">
          <p15:clr>
            <a:srgbClr val="FBAE40"/>
          </p15:clr>
        </p15:guide>
        <p15:guide id="6" pos="5088">
          <p15:clr>
            <a:srgbClr val="FBAE40"/>
          </p15:clr>
        </p15:guide>
        <p15:guide id="7" pos="2080">
          <p15:clr>
            <a:srgbClr val="FBAE40"/>
          </p15:clr>
        </p15:guide>
        <p15:guide id="8" pos="1988">
          <p15:clr>
            <a:srgbClr val="FBAE40"/>
          </p15:clr>
        </p15:guide>
        <p15:guide id="9" pos="5600">
          <p15:clr>
            <a:srgbClr val="FBAE40"/>
          </p15:clr>
        </p15:guide>
        <p15:guide id="10" pos="5690">
          <p15:clr>
            <a:srgbClr val="FBAE40"/>
          </p15:clr>
        </p15:guide>
        <p15:guide id="11" pos="1386">
          <p15:clr>
            <a:srgbClr val="FBAE40"/>
          </p15:clr>
        </p15:guide>
        <p15:guide id="12" pos="1476">
          <p15:clr>
            <a:srgbClr val="FBAE40"/>
          </p15:clr>
        </p15:guide>
        <p15:guide id="13" pos="6203">
          <p15:clr>
            <a:srgbClr val="FBAE40"/>
          </p15:clr>
        </p15:guide>
        <p15:guide id="14" pos="6293">
          <p15:clr>
            <a:srgbClr val="FBAE40"/>
          </p15:clr>
        </p15:guide>
        <p15:guide id="15" orient="horz" pos="2423">
          <p15:clr>
            <a:srgbClr val="FBAE40"/>
          </p15:clr>
        </p15:guide>
        <p15:guide id="16" orient="horz" pos="2514">
          <p15:clr>
            <a:srgbClr val="FBAE40"/>
          </p15:clr>
        </p15:guide>
        <p15:guide id="17" orient="horz" pos="1881">
          <p15:clr>
            <a:srgbClr val="FBAE40"/>
          </p15:clr>
        </p15:guide>
        <p15:guide id="18" orient="horz" pos="1971">
          <p15:clr>
            <a:srgbClr val="FBAE40"/>
          </p15:clr>
        </p15:guide>
        <p15:guide id="19" orient="horz" pos="3056">
          <p15:clr>
            <a:srgbClr val="FBAE40"/>
          </p15:clr>
        </p15:guide>
        <p15:guide id="20" orient="horz" pos="2966">
          <p15:clr>
            <a:srgbClr val="FBAE40"/>
          </p15:clr>
        </p15:guide>
        <p15:guide id="21" pos="3839">
          <p15:clr>
            <a:srgbClr val="9FCC3B"/>
          </p15:clr>
        </p15:guide>
        <p15:guide id="22" orient="horz" pos="2160">
          <p15:clr>
            <a:srgbClr val="9FCC3B"/>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4"/>
            <a:ext cx="11906757" cy="6577523"/>
          </a:xfrm>
          <a:prstGeom prst="rect">
            <a:avLst/>
          </a:prstGeom>
        </p:spPr>
      </p:pic>
      <p:sp>
        <p:nvSpPr>
          <p:cNvPr id="19" name="Rechteck 18"/>
          <p:cNvSpPr/>
          <p:nvPr userDrawn="1"/>
        </p:nvSpPr>
        <p:spPr bwMode="gray">
          <a:xfrm>
            <a:off x="820739" y="2942628"/>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55" tIns="34278" rIns="68555" bIns="34278" rtlCol="0" anchor="ctr"/>
          <a:lstStyle/>
          <a:p>
            <a:pPr marL="0" marR="0" lvl="0" indent="0" algn="ctr" defTabSz="685549"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FFFFFF"/>
              </a:solidFill>
              <a:effectLst/>
              <a:uLnTx/>
              <a:uFillTx/>
              <a:latin typeface="Calibri"/>
              <a:ea typeface="+mn-ea"/>
              <a:cs typeface="+mn-cs"/>
            </a:endParaRPr>
          </a:p>
        </p:txBody>
      </p:sp>
      <p:sp>
        <p:nvSpPr>
          <p:cNvPr id="20" name="Rechteck 19"/>
          <p:cNvSpPr/>
          <p:nvPr userDrawn="1"/>
        </p:nvSpPr>
        <p:spPr bwMode="gray">
          <a:xfrm>
            <a:off x="818528" y="137929"/>
            <a:ext cx="1944681" cy="1944682"/>
          </a:xfrm>
          <a:prstGeom prst="rect">
            <a:avLst/>
          </a:prstGeom>
          <a:solidFill>
            <a:srgbClr val="FFFFFF"/>
          </a:solidFill>
          <a:ln w="6350" cap="flat" cmpd="sng" algn="ctr">
            <a:noFill/>
            <a:prstDash val="solid"/>
            <a:miter lim="800000"/>
          </a:ln>
          <a:effectLst/>
        </p:spPr>
        <p:txBody>
          <a:bodyPr lIns="68555" tIns="34278" rIns="68555" bIns="34278" spcCol="0" rtlCol="0" anchor="ctr"/>
          <a:lstStyle/>
          <a:p>
            <a:pPr marL="0" marR="0" lvl="0" indent="0" algn="ctr" defTabSz="685549"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3" name="Untertitel 2"/>
          <p:cNvSpPr>
            <a:spLocks noGrp="1"/>
          </p:cNvSpPr>
          <p:nvPr userDrawn="1">
            <p:ph type="subTitle" idx="1" hasCustomPrompt="1"/>
          </p:nvPr>
        </p:nvSpPr>
        <p:spPr bwMode="gray">
          <a:xfrm>
            <a:off x="1247745" y="3307315"/>
            <a:ext cx="10120342" cy="2299646"/>
          </a:xfrm>
        </p:spPr>
        <p:txBody>
          <a:bodyPr anchor="ctr"/>
          <a:lstStyle>
            <a:lvl1pPr marL="0" indent="0" algn="l">
              <a:lnSpc>
                <a:spcPct val="90000"/>
              </a:lnSpc>
              <a:spcAft>
                <a:spcPts val="1500"/>
              </a:spcAft>
              <a:buNone/>
              <a:defRPr sz="4998"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err="1"/>
              <a:t>Mindshift</a:t>
            </a:r>
            <a:r>
              <a:rPr lang="de-DE" dirty="0"/>
              <a:t> Slowakei </a:t>
            </a:r>
          </a:p>
        </p:txBody>
      </p:sp>
      <p:cxnSp>
        <p:nvCxnSpPr>
          <p:cNvPr id="13" name="Gerade Verbindung 19"/>
          <p:cNvCxnSpPr/>
          <p:nvPr userDrawn="1"/>
        </p:nvCxnSpPr>
        <p:spPr bwMode="gray">
          <a:xfrm flipV="1">
            <a:off x="428626" y="-84177"/>
            <a:ext cx="0" cy="7199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680" y="-219844"/>
            <a:ext cx="27265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chemeClr val="accent1"/>
                </a:solidFill>
              </a:rPr>
              <a:t>15,74</a:t>
            </a:r>
          </a:p>
        </p:txBody>
      </p:sp>
      <p:cxnSp>
        <p:nvCxnSpPr>
          <p:cNvPr id="15" name="Gerade Verbindung 19"/>
          <p:cNvCxnSpPr/>
          <p:nvPr userDrawn="1"/>
        </p:nvCxnSpPr>
        <p:spPr bwMode="gray">
          <a:xfrm flipV="1">
            <a:off x="11757819" y="-84177"/>
            <a:ext cx="0" cy="7199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3875" y="-219844"/>
            <a:ext cx="27265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chemeClr val="accent1"/>
                </a:solidFill>
              </a:rPr>
              <a:t>15,74</a:t>
            </a:r>
          </a:p>
        </p:txBody>
      </p:sp>
      <p:cxnSp>
        <p:nvCxnSpPr>
          <p:cNvPr id="17" name="Gerade Verbindung 19"/>
          <p:cNvCxnSpPr/>
          <p:nvPr userDrawn="1"/>
        </p:nvCxnSpPr>
        <p:spPr bwMode="gray">
          <a:xfrm rot="5400000" flipV="1">
            <a:off x="12236452" y="139433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3" y="1376339"/>
            <a:ext cx="27265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dirty="0">
                <a:solidFill>
                  <a:schemeClr val="accent1"/>
                </a:solidFill>
              </a:rPr>
              <a:t>5,5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3" y="6192019"/>
            <a:ext cx="27265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dirty="0">
                <a:solidFill>
                  <a:schemeClr val="accent1"/>
                </a:solidFill>
              </a:rPr>
              <a:t>7,83</a:t>
            </a:r>
          </a:p>
        </p:txBody>
      </p:sp>
      <p:pic>
        <p:nvPicPr>
          <p:cNvPr id="4" name="Grafik 3">
            <a:extLst>
              <a:ext uri="{FF2B5EF4-FFF2-40B4-BE49-F238E27FC236}">
                <a16:creationId xmlns:a16="http://schemas.microsoft.com/office/drawing/2014/main" id="{A8E17600-9F66-6549-998D-81ED7D4865D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6730" y="1195139"/>
            <a:ext cx="1946479" cy="714052"/>
          </a:xfrm>
          <a:prstGeom prst="rect">
            <a:avLst/>
          </a:prstGeom>
        </p:spPr>
      </p:pic>
    </p:spTree>
    <p:extLst>
      <p:ext uri="{BB962C8B-B14F-4D97-AF65-F5344CB8AC3E}">
        <p14:creationId xmlns:p14="http://schemas.microsoft.com/office/powerpoint/2010/main" val="215823545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820738" y="2942627"/>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818526" y="137929"/>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3" name="Untertitel 2"/>
          <p:cNvSpPr>
            <a:spLocks noGrp="1"/>
          </p:cNvSpPr>
          <p:nvPr userDrawn="1">
            <p:ph type="subTitle" idx="1"/>
          </p:nvPr>
        </p:nvSpPr>
        <p:spPr bwMode="gray">
          <a:xfrm>
            <a:off x="1247745" y="3307315"/>
            <a:ext cx="10120342" cy="2299646"/>
          </a:xfrm>
        </p:spPr>
        <p:txBody>
          <a:bodyPr anchor="ctr"/>
          <a:lstStyle>
            <a:lvl1pPr marL="0" indent="0" algn="l">
              <a:lnSpc>
                <a:spcPct val="90000"/>
              </a:lnSpc>
              <a:spcAft>
                <a:spcPts val="1500"/>
              </a:spcAft>
              <a:buNone/>
              <a:defRPr sz="5000"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Formatvorlage des Untertitelmasters durch Klicken bearbeiten</a:t>
            </a:r>
          </a:p>
        </p:txBody>
      </p:sp>
      <p:grpSp>
        <p:nvGrpSpPr>
          <p:cNvPr id="8" name="Gruppieren 7"/>
          <p:cNvGrpSpPr/>
          <p:nvPr userDrawn="1"/>
        </p:nvGrpSpPr>
        <p:grpSpPr bwMode="gray">
          <a:xfrm>
            <a:off x="-3089741" y="0"/>
            <a:ext cx="2694276" cy="2908553"/>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Folie zurücksetzen:</a:t>
              </a:r>
            </a:p>
            <a:p>
              <a:pPr algn="l"/>
              <a:endParaRPr lang="de-DE" sz="1200" b="1"/>
            </a:p>
            <a:p>
              <a:pPr marL="0" indent="0" algn="l">
                <a:buClr>
                  <a:schemeClr val="bg1"/>
                </a:buClr>
                <a:buFont typeface="+mj-lt"/>
                <a:buNone/>
              </a:pPr>
              <a:r>
                <a:rPr lang="de-DE" sz="1000" b="0"/>
                <a:t>Falls sich auf einer durch ein Folienlayout definierten Folie Platzhalter verschieben oder ungewünschte Veränderungen in der Schriftgestaltung auftreten, klicke mit der rechten</a:t>
              </a:r>
              <a:r>
                <a:rPr lang="de-DE" sz="1000" b="0" baseline="0"/>
                <a:t> Maustaste</a:t>
              </a:r>
              <a:r>
                <a:rPr lang="de-DE" sz="1000" b="0"/>
                <a:t>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25"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681"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5" name="Gerade Verbindung 19"/>
          <p:cNvCxnSpPr/>
          <p:nvPr userDrawn="1"/>
        </p:nvCxnSpPr>
        <p:spPr bwMode="gray">
          <a:xfrm flipV="1">
            <a:off x="11757819"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3875"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7" name="Gerade Verbindung 19"/>
          <p:cNvCxnSpPr/>
          <p:nvPr userDrawn="1"/>
        </p:nvCxnSpPr>
        <p:spPr bwMode="gray">
          <a:xfrm rot="5400000" flipV="1">
            <a:off x="12236452" y="139433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4" y="1376338"/>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5,5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4" y="6192019"/>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7,83</a:t>
            </a:r>
          </a:p>
        </p:txBody>
      </p:sp>
      <p:grpSp>
        <p:nvGrpSpPr>
          <p:cNvPr id="21" name="Group 124"/>
          <p:cNvGrpSpPr/>
          <p:nvPr userDrawn="1"/>
        </p:nvGrpSpPr>
        <p:grpSpPr>
          <a:xfrm>
            <a:off x="1003853" y="1427557"/>
            <a:ext cx="1574028" cy="475202"/>
            <a:chOff x="0" y="0"/>
            <a:chExt cx="5784393" cy="1746753"/>
          </a:xfrm>
        </p:grpSpPr>
        <p:sp>
          <p:nvSpPr>
            <p:cNvPr id="25" name="Shape 133"/>
            <p:cNvSpPr/>
            <p:nvPr userDrawn="1"/>
          </p:nvSpPr>
          <p:spPr>
            <a:xfrm>
              <a:off x="2437371" y="1481582"/>
              <a:ext cx="53658" cy="258508"/>
            </a:xfrm>
            <a:custGeom>
              <a:avLst/>
              <a:gdLst/>
              <a:ahLst/>
              <a:cxnLst/>
              <a:rect l="0" t="0" r="0" b="0"/>
              <a:pathLst>
                <a:path w="53658" h="258508">
                  <a:moveTo>
                    <a:pt x="0" y="0"/>
                  </a:moveTo>
                  <a:lnTo>
                    <a:pt x="53658" y="0"/>
                  </a:lnTo>
                  <a:lnTo>
                    <a:pt x="53658" y="258508"/>
                  </a:lnTo>
                  <a:lnTo>
                    <a:pt x="0" y="258508"/>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6" name="Shape 8"/>
            <p:cNvSpPr/>
            <p:nvPr userDrawn="1"/>
          </p:nvSpPr>
          <p:spPr>
            <a:xfrm>
              <a:off x="2519972" y="1481590"/>
              <a:ext cx="209398" cy="258508"/>
            </a:xfrm>
            <a:custGeom>
              <a:avLst/>
              <a:gdLst/>
              <a:ahLst/>
              <a:cxnLst/>
              <a:rect l="0" t="0" r="0" b="0"/>
              <a:pathLst>
                <a:path w="209398" h="258508">
                  <a:moveTo>
                    <a:pt x="0" y="0"/>
                  </a:moveTo>
                  <a:lnTo>
                    <a:pt x="209398" y="0"/>
                  </a:lnTo>
                  <a:lnTo>
                    <a:pt x="209398" y="45771"/>
                  </a:lnTo>
                  <a:lnTo>
                    <a:pt x="132055" y="45771"/>
                  </a:lnTo>
                  <a:lnTo>
                    <a:pt x="132055" y="258508"/>
                  </a:lnTo>
                  <a:lnTo>
                    <a:pt x="77686" y="258508"/>
                  </a:lnTo>
                  <a:lnTo>
                    <a:pt x="77686" y="45771"/>
                  </a:lnTo>
                  <a:lnTo>
                    <a:pt x="0" y="45771"/>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7" name="Shape 9"/>
            <p:cNvSpPr/>
            <p:nvPr userDrawn="1"/>
          </p:nvSpPr>
          <p:spPr>
            <a:xfrm>
              <a:off x="2860726" y="1481590"/>
              <a:ext cx="228244" cy="258508"/>
            </a:xfrm>
            <a:custGeom>
              <a:avLst/>
              <a:gdLst/>
              <a:ahLst/>
              <a:cxnLst/>
              <a:rect l="0" t="0" r="0" b="0"/>
              <a:pathLst>
                <a:path w="228244" h="258508">
                  <a:moveTo>
                    <a:pt x="0" y="0"/>
                  </a:moveTo>
                  <a:lnTo>
                    <a:pt x="53137" y="0"/>
                  </a:lnTo>
                  <a:lnTo>
                    <a:pt x="53137" y="106515"/>
                  </a:lnTo>
                  <a:lnTo>
                    <a:pt x="153010" y="0"/>
                  </a:lnTo>
                  <a:lnTo>
                    <a:pt x="222809" y="0"/>
                  </a:lnTo>
                  <a:lnTo>
                    <a:pt x="116726" y="106312"/>
                  </a:lnTo>
                  <a:lnTo>
                    <a:pt x="228244" y="258508"/>
                  </a:lnTo>
                  <a:lnTo>
                    <a:pt x="158801" y="258508"/>
                  </a:lnTo>
                  <a:lnTo>
                    <a:pt x="79146" y="145669"/>
                  </a:lnTo>
                  <a:lnTo>
                    <a:pt x="53137" y="172047"/>
                  </a:lnTo>
                  <a:lnTo>
                    <a:pt x="53137" y="258508"/>
                  </a:lnTo>
                  <a:lnTo>
                    <a:pt x="0" y="258508"/>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8" name="Shape 10"/>
            <p:cNvSpPr/>
            <p:nvPr userDrawn="1"/>
          </p:nvSpPr>
          <p:spPr>
            <a:xfrm>
              <a:off x="3106764" y="1474922"/>
              <a:ext cx="240259" cy="271831"/>
            </a:xfrm>
            <a:custGeom>
              <a:avLst/>
              <a:gdLst/>
              <a:ahLst/>
              <a:cxnLst/>
              <a:rect l="0" t="0" r="0" b="0"/>
              <a:pathLst>
                <a:path w="240259" h="271831">
                  <a:moveTo>
                    <a:pt x="125921" y="0"/>
                  </a:moveTo>
                  <a:cubicBezTo>
                    <a:pt x="158776" y="0"/>
                    <a:pt x="185166" y="8331"/>
                    <a:pt x="205093" y="24994"/>
                  </a:cubicBezTo>
                  <a:cubicBezTo>
                    <a:pt x="225031" y="41656"/>
                    <a:pt x="236462" y="62433"/>
                    <a:pt x="239395" y="87338"/>
                  </a:cubicBezTo>
                  <a:lnTo>
                    <a:pt x="186246" y="87338"/>
                  </a:lnTo>
                  <a:cubicBezTo>
                    <a:pt x="182156" y="69685"/>
                    <a:pt x="172161" y="57353"/>
                    <a:pt x="156261" y="50343"/>
                  </a:cubicBezTo>
                  <a:cubicBezTo>
                    <a:pt x="147371" y="46482"/>
                    <a:pt x="137490" y="44552"/>
                    <a:pt x="126619" y="44552"/>
                  </a:cubicBezTo>
                  <a:cubicBezTo>
                    <a:pt x="105804" y="44552"/>
                    <a:pt x="88710" y="52400"/>
                    <a:pt x="75324" y="68085"/>
                  </a:cubicBezTo>
                  <a:cubicBezTo>
                    <a:pt x="61938" y="83795"/>
                    <a:pt x="55245" y="107391"/>
                    <a:pt x="55245" y="138887"/>
                  </a:cubicBezTo>
                  <a:cubicBezTo>
                    <a:pt x="55245" y="170637"/>
                    <a:pt x="62497" y="193091"/>
                    <a:pt x="76988" y="206286"/>
                  </a:cubicBezTo>
                  <a:cubicBezTo>
                    <a:pt x="91478" y="219469"/>
                    <a:pt x="107976" y="226060"/>
                    <a:pt x="126441" y="226060"/>
                  </a:cubicBezTo>
                  <a:cubicBezTo>
                    <a:pt x="144564" y="226060"/>
                    <a:pt x="159423" y="220866"/>
                    <a:pt x="170993" y="210464"/>
                  </a:cubicBezTo>
                  <a:cubicBezTo>
                    <a:pt x="182563" y="200063"/>
                    <a:pt x="189687" y="186436"/>
                    <a:pt x="192380" y="169596"/>
                  </a:cubicBezTo>
                  <a:lnTo>
                    <a:pt x="132575" y="169596"/>
                  </a:lnTo>
                  <a:lnTo>
                    <a:pt x="132575" y="126454"/>
                  </a:lnTo>
                  <a:lnTo>
                    <a:pt x="240259" y="126454"/>
                  </a:lnTo>
                  <a:lnTo>
                    <a:pt x="240259" y="265176"/>
                  </a:lnTo>
                  <a:lnTo>
                    <a:pt x="204483" y="265176"/>
                  </a:lnTo>
                  <a:lnTo>
                    <a:pt x="199047" y="232905"/>
                  </a:lnTo>
                  <a:cubicBezTo>
                    <a:pt x="188633" y="245123"/>
                    <a:pt x="179286" y="253733"/>
                    <a:pt x="170993" y="258737"/>
                  </a:cubicBezTo>
                  <a:cubicBezTo>
                    <a:pt x="156731" y="267475"/>
                    <a:pt x="139192" y="271831"/>
                    <a:pt x="118377" y="271831"/>
                  </a:cubicBezTo>
                  <a:cubicBezTo>
                    <a:pt x="84112" y="271831"/>
                    <a:pt x="56058" y="259969"/>
                    <a:pt x="34189" y="236258"/>
                  </a:cubicBezTo>
                  <a:cubicBezTo>
                    <a:pt x="11392" y="212420"/>
                    <a:pt x="0" y="179819"/>
                    <a:pt x="0" y="138455"/>
                  </a:cubicBezTo>
                  <a:cubicBezTo>
                    <a:pt x="0" y="96634"/>
                    <a:pt x="11506" y="63094"/>
                    <a:pt x="34557" y="37859"/>
                  </a:cubicBezTo>
                  <a:cubicBezTo>
                    <a:pt x="57582" y="12624"/>
                    <a:pt x="88036" y="0"/>
                    <a:pt x="125921"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9" name="Shape 134"/>
            <p:cNvSpPr/>
            <p:nvPr userDrawn="1"/>
          </p:nvSpPr>
          <p:spPr>
            <a:xfrm>
              <a:off x="46558" y="1013663"/>
              <a:ext cx="3744671" cy="146495"/>
            </a:xfrm>
            <a:custGeom>
              <a:avLst/>
              <a:gdLst/>
              <a:ahLst/>
              <a:cxnLst/>
              <a:rect l="0" t="0" r="0" b="0"/>
              <a:pathLst>
                <a:path w="3744671" h="146495">
                  <a:moveTo>
                    <a:pt x="0" y="0"/>
                  </a:moveTo>
                  <a:lnTo>
                    <a:pt x="3744671" y="0"/>
                  </a:lnTo>
                  <a:lnTo>
                    <a:pt x="3744671"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0" name="Shape 12"/>
            <p:cNvSpPr/>
            <p:nvPr userDrawn="1"/>
          </p:nvSpPr>
          <p:spPr>
            <a:xfrm>
              <a:off x="3373514" y="19253"/>
              <a:ext cx="417716" cy="809282"/>
            </a:xfrm>
            <a:custGeom>
              <a:avLst/>
              <a:gdLst/>
              <a:ahLst/>
              <a:cxnLst/>
              <a:rect l="0" t="0" r="0" b="0"/>
              <a:pathLst>
                <a:path w="417716" h="809282">
                  <a:moveTo>
                    <a:pt x="298107" y="0"/>
                  </a:moveTo>
                  <a:lnTo>
                    <a:pt x="417716" y="0"/>
                  </a:lnTo>
                  <a:lnTo>
                    <a:pt x="417716" y="276396"/>
                  </a:lnTo>
                  <a:lnTo>
                    <a:pt x="341185" y="520268"/>
                  </a:lnTo>
                  <a:lnTo>
                    <a:pt x="417716" y="520268"/>
                  </a:lnTo>
                  <a:lnTo>
                    <a:pt x="417716" y="693636"/>
                  </a:lnTo>
                  <a:lnTo>
                    <a:pt x="286804" y="693636"/>
                  </a:lnTo>
                  <a:lnTo>
                    <a:pt x="250520" y="809282"/>
                  </a:lnTo>
                  <a:lnTo>
                    <a:pt x="0" y="809282"/>
                  </a:lnTo>
                  <a:lnTo>
                    <a:pt x="298107"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 name="Shape 13"/>
            <p:cNvSpPr/>
            <p:nvPr userDrawn="1"/>
          </p:nvSpPr>
          <p:spPr>
            <a:xfrm>
              <a:off x="2385060" y="19253"/>
              <a:ext cx="1107325" cy="809282"/>
            </a:xfrm>
            <a:custGeom>
              <a:avLst/>
              <a:gdLst/>
              <a:ahLst/>
              <a:cxnLst/>
              <a:rect l="0" t="0" r="0" b="0"/>
              <a:pathLst>
                <a:path w="1107325" h="809282">
                  <a:moveTo>
                    <a:pt x="0" y="0"/>
                  </a:moveTo>
                  <a:lnTo>
                    <a:pt x="244792" y="0"/>
                  </a:lnTo>
                  <a:lnTo>
                    <a:pt x="343408" y="499859"/>
                  </a:lnTo>
                  <a:lnTo>
                    <a:pt x="345668" y="499859"/>
                  </a:lnTo>
                  <a:lnTo>
                    <a:pt x="443116" y="0"/>
                  </a:lnTo>
                  <a:lnTo>
                    <a:pt x="662927" y="0"/>
                  </a:lnTo>
                  <a:lnTo>
                    <a:pt x="758165" y="506616"/>
                  </a:lnTo>
                  <a:lnTo>
                    <a:pt x="760488" y="506616"/>
                  </a:lnTo>
                  <a:lnTo>
                    <a:pt x="861377" y="0"/>
                  </a:lnTo>
                  <a:lnTo>
                    <a:pt x="1107325" y="0"/>
                  </a:lnTo>
                  <a:lnTo>
                    <a:pt x="880605" y="809282"/>
                  </a:lnTo>
                  <a:lnTo>
                    <a:pt x="638061" y="809282"/>
                  </a:lnTo>
                  <a:lnTo>
                    <a:pt x="550837" y="316255"/>
                  </a:lnTo>
                  <a:lnTo>
                    <a:pt x="548564" y="316255"/>
                  </a:lnTo>
                  <a:lnTo>
                    <a:pt x="463474" y="809282"/>
                  </a:lnTo>
                  <a:lnTo>
                    <a:pt x="219875" y="809282"/>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 name="Shape 14"/>
            <p:cNvSpPr/>
            <p:nvPr userDrawn="1"/>
          </p:nvSpPr>
          <p:spPr>
            <a:xfrm>
              <a:off x="1610804" y="19253"/>
              <a:ext cx="732193" cy="809295"/>
            </a:xfrm>
            <a:custGeom>
              <a:avLst/>
              <a:gdLst/>
              <a:ahLst/>
              <a:cxnLst/>
              <a:rect l="0" t="0" r="0" b="0"/>
              <a:pathLst>
                <a:path w="732193" h="809295">
                  <a:moveTo>
                    <a:pt x="0" y="0"/>
                  </a:moveTo>
                  <a:lnTo>
                    <a:pt x="249339" y="0"/>
                  </a:lnTo>
                  <a:lnTo>
                    <a:pt x="249339" y="281076"/>
                  </a:lnTo>
                  <a:lnTo>
                    <a:pt x="482854" y="281076"/>
                  </a:lnTo>
                  <a:lnTo>
                    <a:pt x="482854" y="0"/>
                  </a:lnTo>
                  <a:lnTo>
                    <a:pt x="732193" y="0"/>
                  </a:lnTo>
                  <a:lnTo>
                    <a:pt x="732193" y="809282"/>
                  </a:lnTo>
                  <a:lnTo>
                    <a:pt x="482854" y="809282"/>
                  </a:lnTo>
                  <a:lnTo>
                    <a:pt x="482854" y="488531"/>
                  </a:lnTo>
                  <a:lnTo>
                    <a:pt x="249339" y="488531"/>
                  </a:lnTo>
                  <a:lnTo>
                    <a:pt x="249339" y="809282"/>
                  </a:lnTo>
                  <a:lnTo>
                    <a:pt x="0" y="809295"/>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3" name="Shape 15"/>
            <p:cNvSpPr/>
            <p:nvPr userDrawn="1"/>
          </p:nvSpPr>
          <p:spPr>
            <a:xfrm>
              <a:off x="767258" y="0"/>
              <a:ext cx="779793" cy="847789"/>
            </a:xfrm>
            <a:custGeom>
              <a:avLst/>
              <a:gdLst/>
              <a:ahLst/>
              <a:cxnLst/>
              <a:rect l="0" t="0" r="0" b="0"/>
              <a:pathLst>
                <a:path w="779793" h="847789">
                  <a:moveTo>
                    <a:pt x="410312" y="0"/>
                  </a:moveTo>
                  <a:cubicBezTo>
                    <a:pt x="632460" y="1105"/>
                    <a:pt x="754875" y="117869"/>
                    <a:pt x="776402" y="320751"/>
                  </a:cubicBezTo>
                  <a:lnTo>
                    <a:pt x="533844" y="320751"/>
                  </a:lnTo>
                  <a:cubicBezTo>
                    <a:pt x="529336" y="291300"/>
                    <a:pt x="506666" y="201778"/>
                    <a:pt x="403492" y="201778"/>
                  </a:cubicBezTo>
                  <a:cubicBezTo>
                    <a:pt x="286792" y="201778"/>
                    <a:pt x="249326" y="315087"/>
                    <a:pt x="249326" y="423926"/>
                  </a:cubicBezTo>
                  <a:cubicBezTo>
                    <a:pt x="249326" y="532689"/>
                    <a:pt x="286792" y="646062"/>
                    <a:pt x="403492" y="646062"/>
                  </a:cubicBezTo>
                  <a:cubicBezTo>
                    <a:pt x="487413" y="646062"/>
                    <a:pt x="520268" y="587146"/>
                    <a:pt x="535000" y="511162"/>
                  </a:cubicBezTo>
                  <a:lnTo>
                    <a:pt x="779793" y="511162"/>
                  </a:lnTo>
                  <a:cubicBezTo>
                    <a:pt x="779793" y="674370"/>
                    <a:pt x="647217" y="847789"/>
                    <a:pt x="410312" y="847789"/>
                  </a:cubicBezTo>
                  <a:cubicBezTo>
                    <a:pt x="148488" y="847789"/>
                    <a:pt x="0" y="663042"/>
                    <a:pt x="0" y="423926"/>
                  </a:cubicBezTo>
                  <a:cubicBezTo>
                    <a:pt x="0" y="168859"/>
                    <a:pt x="160998" y="0"/>
                    <a:pt x="410312"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 name="Shape 16"/>
            <p:cNvSpPr/>
            <p:nvPr userDrawn="1"/>
          </p:nvSpPr>
          <p:spPr>
            <a:xfrm>
              <a:off x="0" y="0"/>
              <a:ext cx="729907" cy="847789"/>
            </a:xfrm>
            <a:custGeom>
              <a:avLst/>
              <a:gdLst/>
              <a:ahLst/>
              <a:cxnLst/>
              <a:rect l="0" t="0" r="0" b="0"/>
              <a:pathLst>
                <a:path w="729907" h="847789">
                  <a:moveTo>
                    <a:pt x="358165" y="0"/>
                  </a:moveTo>
                  <a:cubicBezTo>
                    <a:pt x="533857" y="0"/>
                    <a:pt x="689115" y="66878"/>
                    <a:pt x="695947" y="264096"/>
                  </a:cubicBezTo>
                  <a:lnTo>
                    <a:pt x="460197" y="264096"/>
                  </a:lnTo>
                  <a:cubicBezTo>
                    <a:pt x="464706" y="233515"/>
                    <a:pt x="451117" y="213106"/>
                    <a:pt x="430682" y="199492"/>
                  </a:cubicBezTo>
                  <a:cubicBezTo>
                    <a:pt x="410324" y="184734"/>
                    <a:pt x="381965" y="179083"/>
                    <a:pt x="357048" y="179083"/>
                  </a:cubicBezTo>
                  <a:cubicBezTo>
                    <a:pt x="323025" y="179083"/>
                    <a:pt x="267475" y="188189"/>
                    <a:pt x="267475" y="233515"/>
                  </a:cubicBezTo>
                  <a:cubicBezTo>
                    <a:pt x="272034" y="291300"/>
                    <a:pt x="387629" y="303721"/>
                    <a:pt x="502107" y="335509"/>
                  </a:cubicBezTo>
                  <a:cubicBezTo>
                    <a:pt x="616585" y="367195"/>
                    <a:pt x="729907" y="420548"/>
                    <a:pt x="729907" y="568973"/>
                  </a:cubicBezTo>
                  <a:cubicBezTo>
                    <a:pt x="729907" y="779805"/>
                    <a:pt x="536143" y="847789"/>
                    <a:pt x="355879" y="847789"/>
                  </a:cubicBezTo>
                  <a:cubicBezTo>
                    <a:pt x="264097" y="847789"/>
                    <a:pt x="2286" y="814921"/>
                    <a:pt x="0" y="556476"/>
                  </a:cubicBezTo>
                  <a:lnTo>
                    <a:pt x="249390" y="556476"/>
                  </a:lnTo>
                  <a:cubicBezTo>
                    <a:pt x="249390" y="576910"/>
                    <a:pt x="252781" y="595008"/>
                    <a:pt x="258445" y="609765"/>
                  </a:cubicBezTo>
                  <a:cubicBezTo>
                    <a:pt x="276568" y="658508"/>
                    <a:pt x="330975" y="668706"/>
                    <a:pt x="377431" y="668706"/>
                  </a:cubicBezTo>
                  <a:cubicBezTo>
                    <a:pt x="418262" y="668706"/>
                    <a:pt x="480568" y="655079"/>
                    <a:pt x="480568" y="595008"/>
                  </a:cubicBezTo>
                  <a:cubicBezTo>
                    <a:pt x="480568" y="553123"/>
                    <a:pt x="445465" y="541795"/>
                    <a:pt x="306057" y="502107"/>
                  </a:cubicBezTo>
                  <a:cubicBezTo>
                    <a:pt x="177965" y="465823"/>
                    <a:pt x="31750" y="430695"/>
                    <a:pt x="31750" y="267487"/>
                  </a:cubicBezTo>
                  <a:cubicBezTo>
                    <a:pt x="31750" y="80467"/>
                    <a:pt x="191567" y="0"/>
                    <a:pt x="358165"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 name="Shape 135"/>
            <p:cNvSpPr/>
            <p:nvPr userDrawn="1"/>
          </p:nvSpPr>
          <p:spPr>
            <a:xfrm>
              <a:off x="3791230" y="1013663"/>
              <a:ext cx="816756" cy="146495"/>
            </a:xfrm>
            <a:custGeom>
              <a:avLst/>
              <a:gdLst/>
              <a:ahLst/>
              <a:cxnLst/>
              <a:rect l="0" t="0" r="0" b="0"/>
              <a:pathLst>
                <a:path w="816756" h="146495">
                  <a:moveTo>
                    <a:pt x="0" y="0"/>
                  </a:moveTo>
                  <a:lnTo>
                    <a:pt x="816756" y="0"/>
                  </a:lnTo>
                  <a:lnTo>
                    <a:pt x="816756"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 name="Shape 18"/>
            <p:cNvSpPr/>
            <p:nvPr userDrawn="1"/>
          </p:nvSpPr>
          <p:spPr>
            <a:xfrm>
              <a:off x="4238549" y="19253"/>
              <a:ext cx="369437" cy="809282"/>
            </a:xfrm>
            <a:custGeom>
              <a:avLst/>
              <a:gdLst/>
              <a:ahLst/>
              <a:cxnLst/>
              <a:rect l="0" t="0" r="0" b="0"/>
              <a:pathLst>
                <a:path w="369437" h="809282">
                  <a:moveTo>
                    <a:pt x="0" y="0"/>
                  </a:moveTo>
                  <a:lnTo>
                    <a:pt x="369437" y="0"/>
                  </a:lnTo>
                  <a:lnTo>
                    <a:pt x="369437" y="192873"/>
                  </a:lnTo>
                  <a:lnTo>
                    <a:pt x="366141" y="192735"/>
                  </a:lnTo>
                  <a:lnTo>
                    <a:pt x="249288" y="192735"/>
                  </a:lnTo>
                  <a:lnTo>
                    <a:pt x="249288" y="353632"/>
                  </a:lnTo>
                  <a:lnTo>
                    <a:pt x="369437" y="353632"/>
                  </a:lnTo>
                  <a:lnTo>
                    <a:pt x="369437" y="527075"/>
                  </a:lnTo>
                  <a:lnTo>
                    <a:pt x="249288" y="527075"/>
                  </a:lnTo>
                  <a:lnTo>
                    <a:pt x="249288" y="809282"/>
                  </a:lnTo>
                  <a:lnTo>
                    <a:pt x="0" y="809282"/>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7" name="Shape 19"/>
            <p:cNvSpPr/>
            <p:nvPr userDrawn="1"/>
          </p:nvSpPr>
          <p:spPr>
            <a:xfrm>
              <a:off x="3791230" y="19253"/>
              <a:ext cx="418808" cy="809282"/>
            </a:xfrm>
            <a:custGeom>
              <a:avLst/>
              <a:gdLst/>
              <a:ahLst/>
              <a:cxnLst/>
              <a:rect l="0" t="0" r="0" b="0"/>
              <a:pathLst>
                <a:path w="418808" h="809282">
                  <a:moveTo>
                    <a:pt x="0" y="0"/>
                  </a:moveTo>
                  <a:lnTo>
                    <a:pt x="124117" y="0"/>
                  </a:lnTo>
                  <a:lnTo>
                    <a:pt x="418808" y="809282"/>
                  </a:lnTo>
                  <a:lnTo>
                    <a:pt x="160439" y="809282"/>
                  </a:lnTo>
                  <a:lnTo>
                    <a:pt x="126352" y="693636"/>
                  </a:lnTo>
                  <a:lnTo>
                    <a:pt x="0" y="693636"/>
                  </a:lnTo>
                  <a:lnTo>
                    <a:pt x="0" y="520268"/>
                  </a:lnTo>
                  <a:lnTo>
                    <a:pt x="76530" y="520268"/>
                  </a:lnTo>
                  <a:lnTo>
                    <a:pt x="3925" y="270891"/>
                  </a:lnTo>
                  <a:lnTo>
                    <a:pt x="1727" y="270891"/>
                  </a:lnTo>
                  <a:lnTo>
                    <a:pt x="0" y="276396"/>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8" name="Shape 136"/>
            <p:cNvSpPr/>
            <p:nvPr userDrawn="1"/>
          </p:nvSpPr>
          <p:spPr>
            <a:xfrm>
              <a:off x="4607986" y="1013663"/>
              <a:ext cx="1174197" cy="146495"/>
            </a:xfrm>
            <a:custGeom>
              <a:avLst/>
              <a:gdLst/>
              <a:ahLst/>
              <a:cxnLst/>
              <a:rect l="0" t="0" r="0" b="0"/>
              <a:pathLst>
                <a:path w="1174197" h="146495">
                  <a:moveTo>
                    <a:pt x="0" y="0"/>
                  </a:moveTo>
                  <a:lnTo>
                    <a:pt x="1174197" y="0"/>
                  </a:lnTo>
                  <a:lnTo>
                    <a:pt x="1174197"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9" name="Shape 21"/>
            <p:cNvSpPr/>
            <p:nvPr userDrawn="1"/>
          </p:nvSpPr>
          <p:spPr>
            <a:xfrm>
              <a:off x="5061306" y="19253"/>
              <a:ext cx="723087" cy="809282"/>
            </a:xfrm>
            <a:custGeom>
              <a:avLst/>
              <a:gdLst/>
              <a:ahLst/>
              <a:cxnLst/>
              <a:rect l="0" t="0" r="0" b="0"/>
              <a:pathLst>
                <a:path w="723087" h="809282">
                  <a:moveTo>
                    <a:pt x="21552" y="0"/>
                  </a:moveTo>
                  <a:lnTo>
                    <a:pt x="704888" y="0"/>
                  </a:lnTo>
                  <a:lnTo>
                    <a:pt x="704888" y="181356"/>
                  </a:lnTo>
                  <a:lnTo>
                    <a:pt x="325196" y="601815"/>
                  </a:lnTo>
                  <a:lnTo>
                    <a:pt x="723087" y="601815"/>
                  </a:lnTo>
                  <a:lnTo>
                    <a:pt x="723087" y="809282"/>
                  </a:lnTo>
                  <a:lnTo>
                    <a:pt x="0" y="809282"/>
                  </a:lnTo>
                  <a:lnTo>
                    <a:pt x="0" y="614312"/>
                  </a:lnTo>
                  <a:lnTo>
                    <a:pt x="376238" y="207442"/>
                  </a:lnTo>
                  <a:lnTo>
                    <a:pt x="21552" y="207442"/>
                  </a:lnTo>
                  <a:lnTo>
                    <a:pt x="21552"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40" name="Shape 22"/>
            <p:cNvSpPr/>
            <p:nvPr userDrawn="1"/>
          </p:nvSpPr>
          <p:spPr>
            <a:xfrm>
              <a:off x="4607986" y="19253"/>
              <a:ext cx="394481" cy="809282"/>
            </a:xfrm>
            <a:custGeom>
              <a:avLst/>
              <a:gdLst/>
              <a:ahLst/>
              <a:cxnLst/>
              <a:rect l="0" t="0" r="0" b="0"/>
              <a:pathLst>
                <a:path w="394481" h="809282">
                  <a:moveTo>
                    <a:pt x="0" y="0"/>
                  </a:moveTo>
                  <a:lnTo>
                    <a:pt x="105505" y="0"/>
                  </a:lnTo>
                  <a:cubicBezTo>
                    <a:pt x="247097" y="0"/>
                    <a:pt x="369538" y="78257"/>
                    <a:pt x="369538" y="231191"/>
                  </a:cubicBezTo>
                  <a:cubicBezTo>
                    <a:pt x="369538" y="315100"/>
                    <a:pt x="331006" y="403504"/>
                    <a:pt x="248202" y="434124"/>
                  </a:cubicBezTo>
                  <a:cubicBezTo>
                    <a:pt x="316236" y="460159"/>
                    <a:pt x="358222" y="534987"/>
                    <a:pt x="367290" y="635825"/>
                  </a:cubicBezTo>
                  <a:cubicBezTo>
                    <a:pt x="370643" y="675538"/>
                    <a:pt x="371849" y="771868"/>
                    <a:pt x="394481" y="809282"/>
                  </a:cubicBezTo>
                  <a:lnTo>
                    <a:pt x="145129" y="809282"/>
                  </a:lnTo>
                  <a:cubicBezTo>
                    <a:pt x="132696" y="768477"/>
                    <a:pt x="128136" y="726542"/>
                    <a:pt x="124670" y="684555"/>
                  </a:cubicBezTo>
                  <a:cubicBezTo>
                    <a:pt x="117913" y="607505"/>
                    <a:pt x="111156" y="527075"/>
                    <a:pt x="12465" y="527075"/>
                  </a:cubicBezTo>
                  <a:lnTo>
                    <a:pt x="0" y="527075"/>
                  </a:lnTo>
                  <a:lnTo>
                    <a:pt x="0" y="353632"/>
                  </a:lnTo>
                  <a:lnTo>
                    <a:pt x="10280" y="353632"/>
                  </a:lnTo>
                  <a:cubicBezTo>
                    <a:pt x="56635" y="353632"/>
                    <a:pt x="120148" y="345732"/>
                    <a:pt x="120148" y="273202"/>
                  </a:cubicBezTo>
                  <a:cubicBezTo>
                    <a:pt x="120148" y="228541"/>
                    <a:pt x="98455" y="200429"/>
                    <a:pt x="29315" y="194099"/>
                  </a:cubicBezTo>
                  <a:lnTo>
                    <a:pt x="0" y="192873"/>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7038724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429464" y="1336953"/>
            <a:ext cx="11328532" cy="4911447"/>
          </a:xfrm>
          <a:prstGeom prst="rect">
            <a:avLst/>
          </a:prstGeom>
          <a:solidFill>
            <a:srgbClr val="FFFFFF"/>
          </a:soli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429464" y="425627"/>
            <a:ext cx="11328532" cy="695768"/>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 name="Titel 1"/>
          <p:cNvSpPr>
            <a:spLocks noGrp="1"/>
          </p:cNvSpPr>
          <p:nvPr userDrawn="1">
            <p:ph type="title"/>
          </p:nvPr>
        </p:nvSpPr>
        <p:spPr bwMode="gray">
          <a:xfrm>
            <a:off x="497680" y="557091"/>
            <a:ext cx="11166929" cy="432841"/>
          </a:xfrm>
        </p:spPr>
        <p:txBody>
          <a:bodyPr anchor="ctr"/>
          <a:lstStyle>
            <a:lvl1pPr>
              <a:defRPr>
                <a:solidFill>
                  <a:schemeClr val="bg1"/>
                </a:solidFill>
              </a:defRPr>
            </a:lvl1pPr>
          </a:lstStyle>
          <a:p>
            <a:r>
              <a:rPr lang="de-DE"/>
              <a:t>Titelmasterformat durch Klicken bearbeiten</a:t>
            </a:r>
          </a:p>
        </p:txBody>
      </p:sp>
      <p:sp>
        <p:nvSpPr>
          <p:cNvPr id="3" name="Datumsplatzhalter 2"/>
          <p:cNvSpPr>
            <a:spLocks noGrp="1"/>
          </p:cNvSpPr>
          <p:nvPr userDrawn="1">
            <p:ph type="dt" sz="half" idx="10"/>
          </p:nvPr>
        </p:nvSpPr>
        <p:spPr bwMode="gray"/>
        <p:txBody>
          <a:bodyPr/>
          <a:lstStyle/>
          <a:p>
            <a:endParaRPr lang="de-DE"/>
          </a:p>
        </p:txBody>
      </p:sp>
      <p:sp>
        <p:nvSpPr>
          <p:cNvPr id="4" name="Fußzeilenplatzhalter 3"/>
          <p:cNvSpPr>
            <a:spLocks noGrp="1"/>
          </p:cNvSpPr>
          <p:nvPr userDrawn="1">
            <p:ph type="ftr" sz="quarter" idx="11"/>
          </p:nvPr>
        </p:nvSpPr>
        <p:spPr bwMode="gray"/>
        <p:txBody>
          <a:bodyPr/>
          <a:lstStyle/>
          <a:p>
            <a:r>
              <a:rPr lang="de-DE"/>
              <a:t>Schwarz Group // Corporate Presentation //</a:t>
            </a:r>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pPr/>
              <a:t>‹#›</a:t>
            </a:fld>
            <a:endParaRPr lang="de-DE"/>
          </a:p>
        </p:txBody>
      </p:sp>
      <p:sp>
        <p:nvSpPr>
          <p:cNvPr id="7" name="Bildplatzhalter 6"/>
          <p:cNvSpPr>
            <a:spLocks noGrp="1"/>
          </p:cNvSpPr>
          <p:nvPr>
            <p:ph type="pic" sz="quarter" idx="13"/>
          </p:nvPr>
        </p:nvSpPr>
        <p:spPr bwMode="gray">
          <a:xfrm>
            <a:off x="522466" y="1427958"/>
            <a:ext cx="11142144" cy="4727056"/>
          </a:xfrm>
        </p:spPr>
        <p:txBody>
          <a:bodyPr/>
          <a:lstStyle/>
          <a:p>
            <a:endParaRPr lang="de-DE"/>
          </a:p>
        </p:txBody>
      </p:sp>
      <p:grpSp>
        <p:nvGrpSpPr>
          <p:cNvPr id="21" name="Gruppieren 20"/>
          <p:cNvGrpSpPr/>
          <p:nvPr userDrawn="1"/>
        </p:nvGrpSpPr>
        <p:grpSpPr bwMode="gray">
          <a:xfrm>
            <a:off x="-3089741" y="0"/>
            <a:ext cx="2694276" cy="4153020"/>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828076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820738" y="2942627"/>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818526" y="137929"/>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cxnSp>
        <p:nvCxnSpPr>
          <p:cNvPr id="13" name="Gerade Verbindung 19"/>
          <p:cNvCxnSpPr/>
          <p:nvPr userDrawn="1"/>
        </p:nvCxnSpPr>
        <p:spPr bwMode="gray">
          <a:xfrm flipV="1">
            <a:off x="818356"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412"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4,65</a:t>
            </a:r>
          </a:p>
        </p:txBody>
      </p:sp>
      <p:cxnSp>
        <p:nvCxnSpPr>
          <p:cNvPr id="15" name="Gerade Verbindung 19"/>
          <p:cNvCxnSpPr/>
          <p:nvPr userDrawn="1"/>
        </p:nvCxnSpPr>
        <p:spPr bwMode="gray">
          <a:xfrm flipV="1">
            <a:off x="11367293"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3349"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de-DE" sz="600">
                <a:solidFill>
                  <a:schemeClr val="accent1"/>
                </a:solidFill>
              </a:rPr>
              <a:t>14,65</a:t>
            </a:r>
          </a:p>
        </p:txBody>
      </p:sp>
      <p:cxnSp>
        <p:nvCxnSpPr>
          <p:cNvPr id="17" name="Gerade Verbindung 19"/>
          <p:cNvCxnSpPr/>
          <p:nvPr userDrawn="1"/>
        </p:nvCxnSpPr>
        <p:spPr bwMode="gray">
          <a:xfrm rot="5400000" flipV="1">
            <a:off x="12236452" y="1680882"/>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4" y="1662882"/>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4,7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4" y="6192019"/>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7,83</a:t>
            </a:r>
          </a:p>
        </p:txBody>
      </p:sp>
      <p:sp>
        <p:nvSpPr>
          <p:cNvPr id="35" name="Rechteck 34"/>
          <p:cNvSpPr/>
          <p:nvPr userDrawn="1"/>
        </p:nvSpPr>
        <p:spPr bwMode="gray">
          <a:xfrm>
            <a:off x="6307138" y="2320799"/>
            <a:ext cx="5783262" cy="22661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1"/>
          <p:cNvSpPr>
            <a:spLocks noGrp="1"/>
          </p:cNvSpPr>
          <p:nvPr>
            <p:ph type="body" sz="quarter" idx="11"/>
          </p:nvPr>
        </p:nvSpPr>
        <p:spPr bwMode="gray">
          <a:xfrm>
            <a:off x="6548438" y="3143250"/>
            <a:ext cx="5209557" cy="1181100"/>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4" name="Rechteck 43"/>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sp>
        <p:nvSpPr>
          <p:cNvPr id="4" name="Textfeld 3"/>
          <p:cNvSpPr txBox="1"/>
          <p:nvPr userDrawn="1"/>
        </p:nvSpPr>
        <p:spPr>
          <a:xfrm>
            <a:off x="6549536" y="2339055"/>
            <a:ext cx="3429000" cy="800219"/>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kumimoji="0" lang="de-DE" sz="4000" b="1" i="0" u="none" strike="noStrike" kern="1200" cap="all" spc="0" normalizeH="0" baseline="0" noProof="0">
                <a:ln>
                  <a:noFill/>
                </a:ln>
                <a:solidFill>
                  <a:schemeClr val="accent1"/>
                </a:solidFill>
                <a:effectLst/>
                <a:uLnTx/>
                <a:uFillTx/>
                <a:latin typeface="+mn-lt"/>
                <a:ea typeface="+mn-ea"/>
                <a:cs typeface="+mn-cs"/>
              </a:rPr>
              <a:t>Agenda</a:t>
            </a:r>
          </a:p>
        </p:txBody>
      </p:sp>
      <p:sp>
        <p:nvSpPr>
          <p:cNvPr id="25" name="Untertitel 2"/>
          <p:cNvSpPr>
            <a:spLocks noGrp="1"/>
          </p:cNvSpPr>
          <p:nvPr>
            <p:ph type="subTitle" idx="1"/>
          </p:nvPr>
        </p:nvSpPr>
        <p:spPr bwMode="gray">
          <a:xfrm>
            <a:off x="1247745" y="3307315"/>
            <a:ext cx="4849200" cy="2299646"/>
          </a:xfrm>
        </p:spPr>
        <p:txBody>
          <a:bodyPr anchor="ctr"/>
          <a:lstStyle>
            <a:lvl1pPr marL="0" indent="0" algn="l">
              <a:lnSpc>
                <a:spcPct val="90000"/>
              </a:lnSpc>
              <a:spcAft>
                <a:spcPts val="1500"/>
              </a:spcAft>
              <a:buNone/>
              <a:defRPr sz="4000"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Formatvorlage des Untertitelmasters durch Klicken bearbeiten</a:t>
            </a:r>
          </a:p>
        </p:txBody>
      </p:sp>
      <p:grpSp>
        <p:nvGrpSpPr>
          <p:cNvPr id="26" name="Group 124"/>
          <p:cNvGrpSpPr/>
          <p:nvPr userDrawn="1"/>
        </p:nvGrpSpPr>
        <p:grpSpPr>
          <a:xfrm>
            <a:off x="1003853" y="1427557"/>
            <a:ext cx="1574028" cy="475202"/>
            <a:chOff x="0" y="0"/>
            <a:chExt cx="5784393" cy="1746753"/>
          </a:xfrm>
        </p:grpSpPr>
        <p:sp>
          <p:nvSpPr>
            <p:cNvPr id="27" name="Shape 133"/>
            <p:cNvSpPr/>
            <p:nvPr userDrawn="1"/>
          </p:nvSpPr>
          <p:spPr>
            <a:xfrm>
              <a:off x="2437371" y="1481582"/>
              <a:ext cx="53658" cy="258508"/>
            </a:xfrm>
            <a:custGeom>
              <a:avLst/>
              <a:gdLst/>
              <a:ahLst/>
              <a:cxnLst/>
              <a:rect l="0" t="0" r="0" b="0"/>
              <a:pathLst>
                <a:path w="53658" h="258508">
                  <a:moveTo>
                    <a:pt x="0" y="0"/>
                  </a:moveTo>
                  <a:lnTo>
                    <a:pt x="53658" y="0"/>
                  </a:lnTo>
                  <a:lnTo>
                    <a:pt x="53658" y="258508"/>
                  </a:lnTo>
                  <a:lnTo>
                    <a:pt x="0" y="258508"/>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8" name="Shape 8"/>
            <p:cNvSpPr/>
            <p:nvPr userDrawn="1"/>
          </p:nvSpPr>
          <p:spPr>
            <a:xfrm>
              <a:off x="2519972" y="1481590"/>
              <a:ext cx="209398" cy="258508"/>
            </a:xfrm>
            <a:custGeom>
              <a:avLst/>
              <a:gdLst/>
              <a:ahLst/>
              <a:cxnLst/>
              <a:rect l="0" t="0" r="0" b="0"/>
              <a:pathLst>
                <a:path w="209398" h="258508">
                  <a:moveTo>
                    <a:pt x="0" y="0"/>
                  </a:moveTo>
                  <a:lnTo>
                    <a:pt x="209398" y="0"/>
                  </a:lnTo>
                  <a:lnTo>
                    <a:pt x="209398" y="45771"/>
                  </a:lnTo>
                  <a:lnTo>
                    <a:pt x="132055" y="45771"/>
                  </a:lnTo>
                  <a:lnTo>
                    <a:pt x="132055" y="258508"/>
                  </a:lnTo>
                  <a:lnTo>
                    <a:pt x="77686" y="258508"/>
                  </a:lnTo>
                  <a:lnTo>
                    <a:pt x="77686" y="45771"/>
                  </a:lnTo>
                  <a:lnTo>
                    <a:pt x="0" y="45771"/>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9" name="Shape 9"/>
            <p:cNvSpPr/>
            <p:nvPr userDrawn="1"/>
          </p:nvSpPr>
          <p:spPr>
            <a:xfrm>
              <a:off x="2860726" y="1481590"/>
              <a:ext cx="228244" cy="258508"/>
            </a:xfrm>
            <a:custGeom>
              <a:avLst/>
              <a:gdLst/>
              <a:ahLst/>
              <a:cxnLst/>
              <a:rect l="0" t="0" r="0" b="0"/>
              <a:pathLst>
                <a:path w="228244" h="258508">
                  <a:moveTo>
                    <a:pt x="0" y="0"/>
                  </a:moveTo>
                  <a:lnTo>
                    <a:pt x="53137" y="0"/>
                  </a:lnTo>
                  <a:lnTo>
                    <a:pt x="53137" y="106515"/>
                  </a:lnTo>
                  <a:lnTo>
                    <a:pt x="153010" y="0"/>
                  </a:lnTo>
                  <a:lnTo>
                    <a:pt x="222809" y="0"/>
                  </a:lnTo>
                  <a:lnTo>
                    <a:pt x="116726" y="106312"/>
                  </a:lnTo>
                  <a:lnTo>
                    <a:pt x="228244" y="258508"/>
                  </a:lnTo>
                  <a:lnTo>
                    <a:pt x="158801" y="258508"/>
                  </a:lnTo>
                  <a:lnTo>
                    <a:pt x="79146" y="145669"/>
                  </a:lnTo>
                  <a:lnTo>
                    <a:pt x="53137" y="172047"/>
                  </a:lnTo>
                  <a:lnTo>
                    <a:pt x="53137" y="258508"/>
                  </a:lnTo>
                  <a:lnTo>
                    <a:pt x="0" y="258508"/>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0" name="Shape 10"/>
            <p:cNvSpPr/>
            <p:nvPr userDrawn="1"/>
          </p:nvSpPr>
          <p:spPr>
            <a:xfrm>
              <a:off x="3106764" y="1474922"/>
              <a:ext cx="240259" cy="271831"/>
            </a:xfrm>
            <a:custGeom>
              <a:avLst/>
              <a:gdLst/>
              <a:ahLst/>
              <a:cxnLst/>
              <a:rect l="0" t="0" r="0" b="0"/>
              <a:pathLst>
                <a:path w="240259" h="271831">
                  <a:moveTo>
                    <a:pt x="125921" y="0"/>
                  </a:moveTo>
                  <a:cubicBezTo>
                    <a:pt x="158776" y="0"/>
                    <a:pt x="185166" y="8331"/>
                    <a:pt x="205093" y="24994"/>
                  </a:cubicBezTo>
                  <a:cubicBezTo>
                    <a:pt x="225031" y="41656"/>
                    <a:pt x="236462" y="62433"/>
                    <a:pt x="239395" y="87338"/>
                  </a:cubicBezTo>
                  <a:lnTo>
                    <a:pt x="186246" y="87338"/>
                  </a:lnTo>
                  <a:cubicBezTo>
                    <a:pt x="182156" y="69685"/>
                    <a:pt x="172161" y="57353"/>
                    <a:pt x="156261" y="50343"/>
                  </a:cubicBezTo>
                  <a:cubicBezTo>
                    <a:pt x="147371" y="46482"/>
                    <a:pt x="137490" y="44552"/>
                    <a:pt x="126619" y="44552"/>
                  </a:cubicBezTo>
                  <a:cubicBezTo>
                    <a:pt x="105804" y="44552"/>
                    <a:pt x="88710" y="52400"/>
                    <a:pt x="75324" y="68085"/>
                  </a:cubicBezTo>
                  <a:cubicBezTo>
                    <a:pt x="61938" y="83795"/>
                    <a:pt x="55245" y="107391"/>
                    <a:pt x="55245" y="138887"/>
                  </a:cubicBezTo>
                  <a:cubicBezTo>
                    <a:pt x="55245" y="170637"/>
                    <a:pt x="62497" y="193091"/>
                    <a:pt x="76988" y="206286"/>
                  </a:cubicBezTo>
                  <a:cubicBezTo>
                    <a:pt x="91478" y="219469"/>
                    <a:pt x="107976" y="226060"/>
                    <a:pt x="126441" y="226060"/>
                  </a:cubicBezTo>
                  <a:cubicBezTo>
                    <a:pt x="144564" y="226060"/>
                    <a:pt x="159423" y="220866"/>
                    <a:pt x="170993" y="210464"/>
                  </a:cubicBezTo>
                  <a:cubicBezTo>
                    <a:pt x="182563" y="200063"/>
                    <a:pt x="189687" y="186436"/>
                    <a:pt x="192380" y="169596"/>
                  </a:cubicBezTo>
                  <a:lnTo>
                    <a:pt x="132575" y="169596"/>
                  </a:lnTo>
                  <a:lnTo>
                    <a:pt x="132575" y="126454"/>
                  </a:lnTo>
                  <a:lnTo>
                    <a:pt x="240259" y="126454"/>
                  </a:lnTo>
                  <a:lnTo>
                    <a:pt x="240259" y="265176"/>
                  </a:lnTo>
                  <a:lnTo>
                    <a:pt x="204483" y="265176"/>
                  </a:lnTo>
                  <a:lnTo>
                    <a:pt x="199047" y="232905"/>
                  </a:lnTo>
                  <a:cubicBezTo>
                    <a:pt x="188633" y="245123"/>
                    <a:pt x="179286" y="253733"/>
                    <a:pt x="170993" y="258737"/>
                  </a:cubicBezTo>
                  <a:cubicBezTo>
                    <a:pt x="156731" y="267475"/>
                    <a:pt x="139192" y="271831"/>
                    <a:pt x="118377" y="271831"/>
                  </a:cubicBezTo>
                  <a:cubicBezTo>
                    <a:pt x="84112" y="271831"/>
                    <a:pt x="56058" y="259969"/>
                    <a:pt x="34189" y="236258"/>
                  </a:cubicBezTo>
                  <a:cubicBezTo>
                    <a:pt x="11392" y="212420"/>
                    <a:pt x="0" y="179819"/>
                    <a:pt x="0" y="138455"/>
                  </a:cubicBezTo>
                  <a:cubicBezTo>
                    <a:pt x="0" y="96634"/>
                    <a:pt x="11506" y="63094"/>
                    <a:pt x="34557" y="37859"/>
                  </a:cubicBezTo>
                  <a:cubicBezTo>
                    <a:pt x="57582" y="12624"/>
                    <a:pt x="88036" y="0"/>
                    <a:pt x="125921"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 name="Shape 134"/>
            <p:cNvSpPr/>
            <p:nvPr userDrawn="1"/>
          </p:nvSpPr>
          <p:spPr>
            <a:xfrm>
              <a:off x="46558" y="1013663"/>
              <a:ext cx="3744671" cy="146495"/>
            </a:xfrm>
            <a:custGeom>
              <a:avLst/>
              <a:gdLst/>
              <a:ahLst/>
              <a:cxnLst/>
              <a:rect l="0" t="0" r="0" b="0"/>
              <a:pathLst>
                <a:path w="3744671" h="146495">
                  <a:moveTo>
                    <a:pt x="0" y="0"/>
                  </a:moveTo>
                  <a:lnTo>
                    <a:pt x="3744671" y="0"/>
                  </a:lnTo>
                  <a:lnTo>
                    <a:pt x="3744671"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 name="Shape 12"/>
            <p:cNvSpPr/>
            <p:nvPr userDrawn="1"/>
          </p:nvSpPr>
          <p:spPr>
            <a:xfrm>
              <a:off x="3373514" y="19253"/>
              <a:ext cx="417716" cy="809282"/>
            </a:xfrm>
            <a:custGeom>
              <a:avLst/>
              <a:gdLst/>
              <a:ahLst/>
              <a:cxnLst/>
              <a:rect l="0" t="0" r="0" b="0"/>
              <a:pathLst>
                <a:path w="417716" h="809282">
                  <a:moveTo>
                    <a:pt x="298107" y="0"/>
                  </a:moveTo>
                  <a:lnTo>
                    <a:pt x="417716" y="0"/>
                  </a:lnTo>
                  <a:lnTo>
                    <a:pt x="417716" y="276396"/>
                  </a:lnTo>
                  <a:lnTo>
                    <a:pt x="341185" y="520268"/>
                  </a:lnTo>
                  <a:lnTo>
                    <a:pt x="417716" y="520268"/>
                  </a:lnTo>
                  <a:lnTo>
                    <a:pt x="417716" y="693636"/>
                  </a:lnTo>
                  <a:lnTo>
                    <a:pt x="286804" y="693636"/>
                  </a:lnTo>
                  <a:lnTo>
                    <a:pt x="250520" y="809282"/>
                  </a:lnTo>
                  <a:lnTo>
                    <a:pt x="0" y="809282"/>
                  </a:lnTo>
                  <a:lnTo>
                    <a:pt x="298107"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3" name="Shape 13"/>
            <p:cNvSpPr/>
            <p:nvPr userDrawn="1"/>
          </p:nvSpPr>
          <p:spPr>
            <a:xfrm>
              <a:off x="2385060" y="19253"/>
              <a:ext cx="1107325" cy="809282"/>
            </a:xfrm>
            <a:custGeom>
              <a:avLst/>
              <a:gdLst/>
              <a:ahLst/>
              <a:cxnLst/>
              <a:rect l="0" t="0" r="0" b="0"/>
              <a:pathLst>
                <a:path w="1107325" h="809282">
                  <a:moveTo>
                    <a:pt x="0" y="0"/>
                  </a:moveTo>
                  <a:lnTo>
                    <a:pt x="244792" y="0"/>
                  </a:lnTo>
                  <a:lnTo>
                    <a:pt x="343408" y="499859"/>
                  </a:lnTo>
                  <a:lnTo>
                    <a:pt x="345668" y="499859"/>
                  </a:lnTo>
                  <a:lnTo>
                    <a:pt x="443116" y="0"/>
                  </a:lnTo>
                  <a:lnTo>
                    <a:pt x="662927" y="0"/>
                  </a:lnTo>
                  <a:lnTo>
                    <a:pt x="758165" y="506616"/>
                  </a:lnTo>
                  <a:lnTo>
                    <a:pt x="760488" y="506616"/>
                  </a:lnTo>
                  <a:lnTo>
                    <a:pt x="861377" y="0"/>
                  </a:lnTo>
                  <a:lnTo>
                    <a:pt x="1107325" y="0"/>
                  </a:lnTo>
                  <a:lnTo>
                    <a:pt x="880605" y="809282"/>
                  </a:lnTo>
                  <a:lnTo>
                    <a:pt x="638061" y="809282"/>
                  </a:lnTo>
                  <a:lnTo>
                    <a:pt x="550837" y="316255"/>
                  </a:lnTo>
                  <a:lnTo>
                    <a:pt x="548564" y="316255"/>
                  </a:lnTo>
                  <a:lnTo>
                    <a:pt x="463474" y="809282"/>
                  </a:lnTo>
                  <a:lnTo>
                    <a:pt x="219875" y="809282"/>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 name="Shape 14"/>
            <p:cNvSpPr/>
            <p:nvPr userDrawn="1"/>
          </p:nvSpPr>
          <p:spPr>
            <a:xfrm>
              <a:off x="1610804" y="19253"/>
              <a:ext cx="732193" cy="809295"/>
            </a:xfrm>
            <a:custGeom>
              <a:avLst/>
              <a:gdLst/>
              <a:ahLst/>
              <a:cxnLst/>
              <a:rect l="0" t="0" r="0" b="0"/>
              <a:pathLst>
                <a:path w="732193" h="809295">
                  <a:moveTo>
                    <a:pt x="0" y="0"/>
                  </a:moveTo>
                  <a:lnTo>
                    <a:pt x="249339" y="0"/>
                  </a:lnTo>
                  <a:lnTo>
                    <a:pt x="249339" y="281076"/>
                  </a:lnTo>
                  <a:lnTo>
                    <a:pt x="482854" y="281076"/>
                  </a:lnTo>
                  <a:lnTo>
                    <a:pt x="482854" y="0"/>
                  </a:lnTo>
                  <a:lnTo>
                    <a:pt x="732193" y="0"/>
                  </a:lnTo>
                  <a:lnTo>
                    <a:pt x="732193" y="809282"/>
                  </a:lnTo>
                  <a:lnTo>
                    <a:pt x="482854" y="809282"/>
                  </a:lnTo>
                  <a:lnTo>
                    <a:pt x="482854" y="488531"/>
                  </a:lnTo>
                  <a:lnTo>
                    <a:pt x="249339" y="488531"/>
                  </a:lnTo>
                  <a:lnTo>
                    <a:pt x="249339" y="809282"/>
                  </a:lnTo>
                  <a:lnTo>
                    <a:pt x="0" y="809295"/>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 name="Shape 15"/>
            <p:cNvSpPr/>
            <p:nvPr userDrawn="1"/>
          </p:nvSpPr>
          <p:spPr>
            <a:xfrm>
              <a:off x="767258" y="0"/>
              <a:ext cx="779793" cy="847789"/>
            </a:xfrm>
            <a:custGeom>
              <a:avLst/>
              <a:gdLst/>
              <a:ahLst/>
              <a:cxnLst/>
              <a:rect l="0" t="0" r="0" b="0"/>
              <a:pathLst>
                <a:path w="779793" h="847789">
                  <a:moveTo>
                    <a:pt x="410312" y="0"/>
                  </a:moveTo>
                  <a:cubicBezTo>
                    <a:pt x="632460" y="1105"/>
                    <a:pt x="754875" y="117869"/>
                    <a:pt x="776402" y="320751"/>
                  </a:cubicBezTo>
                  <a:lnTo>
                    <a:pt x="533844" y="320751"/>
                  </a:lnTo>
                  <a:cubicBezTo>
                    <a:pt x="529336" y="291300"/>
                    <a:pt x="506666" y="201778"/>
                    <a:pt x="403492" y="201778"/>
                  </a:cubicBezTo>
                  <a:cubicBezTo>
                    <a:pt x="286792" y="201778"/>
                    <a:pt x="249326" y="315087"/>
                    <a:pt x="249326" y="423926"/>
                  </a:cubicBezTo>
                  <a:cubicBezTo>
                    <a:pt x="249326" y="532689"/>
                    <a:pt x="286792" y="646062"/>
                    <a:pt x="403492" y="646062"/>
                  </a:cubicBezTo>
                  <a:cubicBezTo>
                    <a:pt x="487413" y="646062"/>
                    <a:pt x="520268" y="587146"/>
                    <a:pt x="535000" y="511162"/>
                  </a:cubicBezTo>
                  <a:lnTo>
                    <a:pt x="779793" y="511162"/>
                  </a:lnTo>
                  <a:cubicBezTo>
                    <a:pt x="779793" y="674370"/>
                    <a:pt x="647217" y="847789"/>
                    <a:pt x="410312" y="847789"/>
                  </a:cubicBezTo>
                  <a:cubicBezTo>
                    <a:pt x="148488" y="847789"/>
                    <a:pt x="0" y="663042"/>
                    <a:pt x="0" y="423926"/>
                  </a:cubicBezTo>
                  <a:cubicBezTo>
                    <a:pt x="0" y="168859"/>
                    <a:pt x="160998" y="0"/>
                    <a:pt x="410312"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7" name="Shape 16"/>
            <p:cNvSpPr/>
            <p:nvPr userDrawn="1"/>
          </p:nvSpPr>
          <p:spPr>
            <a:xfrm>
              <a:off x="0" y="0"/>
              <a:ext cx="729907" cy="847789"/>
            </a:xfrm>
            <a:custGeom>
              <a:avLst/>
              <a:gdLst/>
              <a:ahLst/>
              <a:cxnLst/>
              <a:rect l="0" t="0" r="0" b="0"/>
              <a:pathLst>
                <a:path w="729907" h="847789">
                  <a:moveTo>
                    <a:pt x="358165" y="0"/>
                  </a:moveTo>
                  <a:cubicBezTo>
                    <a:pt x="533857" y="0"/>
                    <a:pt x="689115" y="66878"/>
                    <a:pt x="695947" y="264096"/>
                  </a:cubicBezTo>
                  <a:lnTo>
                    <a:pt x="460197" y="264096"/>
                  </a:lnTo>
                  <a:cubicBezTo>
                    <a:pt x="464706" y="233515"/>
                    <a:pt x="451117" y="213106"/>
                    <a:pt x="430682" y="199492"/>
                  </a:cubicBezTo>
                  <a:cubicBezTo>
                    <a:pt x="410324" y="184734"/>
                    <a:pt x="381965" y="179083"/>
                    <a:pt x="357048" y="179083"/>
                  </a:cubicBezTo>
                  <a:cubicBezTo>
                    <a:pt x="323025" y="179083"/>
                    <a:pt x="267475" y="188189"/>
                    <a:pt x="267475" y="233515"/>
                  </a:cubicBezTo>
                  <a:cubicBezTo>
                    <a:pt x="272034" y="291300"/>
                    <a:pt x="387629" y="303721"/>
                    <a:pt x="502107" y="335509"/>
                  </a:cubicBezTo>
                  <a:cubicBezTo>
                    <a:pt x="616585" y="367195"/>
                    <a:pt x="729907" y="420548"/>
                    <a:pt x="729907" y="568973"/>
                  </a:cubicBezTo>
                  <a:cubicBezTo>
                    <a:pt x="729907" y="779805"/>
                    <a:pt x="536143" y="847789"/>
                    <a:pt x="355879" y="847789"/>
                  </a:cubicBezTo>
                  <a:cubicBezTo>
                    <a:pt x="264097" y="847789"/>
                    <a:pt x="2286" y="814921"/>
                    <a:pt x="0" y="556476"/>
                  </a:cubicBezTo>
                  <a:lnTo>
                    <a:pt x="249390" y="556476"/>
                  </a:lnTo>
                  <a:cubicBezTo>
                    <a:pt x="249390" y="576910"/>
                    <a:pt x="252781" y="595008"/>
                    <a:pt x="258445" y="609765"/>
                  </a:cubicBezTo>
                  <a:cubicBezTo>
                    <a:pt x="276568" y="658508"/>
                    <a:pt x="330975" y="668706"/>
                    <a:pt x="377431" y="668706"/>
                  </a:cubicBezTo>
                  <a:cubicBezTo>
                    <a:pt x="418262" y="668706"/>
                    <a:pt x="480568" y="655079"/>
                    <a:pt x="480568" y="595008"/>
                  </a:cubicBezTo>
                  <a:cubicBezTo>
                    <a:pt x="480568" y="553123"/>
                    <a:pt x="445465" y="541795"/>
                    <a:pt x="306057" y="502107"/>
                  </a:cubicBezTo>
                  <a:cubicBezTo>
                    <a:pt x="177965" y="465823"/>
                    <a:pt x="31750" y="430695"/>
                    <a:pt x="31750" y="267487"/>
                  </a:cubicBezTo>
                  <a:cubicBezTo>
                    <a:pt x="31750" y="80467"/>
                    <a:pt x="191567" y="0"/>
                    <a:pt x="358165"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8" name="Shape 135"/>
            <p:cNvSpPr/>
            <p:nvPr userDrawn="1"/>
          </p:nvSpPr>
          <p:spPr>
            <a:xfrm>
              <a:off x="3791230" y="1013663"/>
              <a:ext cx="816756" cy="146495"/>
            </a:xfrm>
            <a:custGeom>
              <a:avLst/>
              <a:gdLst/>
              <a:ahLst/>
              <a:cxnLst/>
              <a:rect l="0" t="0" r="0" b="0"/>
              <a:pathLst>
                <a:path w="816756" h="146495">
                  <a:moveTo>
                    <a:pt x="0" y="0"/>
                  </a:moveTo>
                  <a:lnTo>
                    <a:pt x="816756" y="0"/>
                  </a:lnTo>
                  <a:lnTo>
                    <a:pt x="816756"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9" name="Shape 18"/>
            <p:cNvSpPr/>
            <p:nvPr userDrawn="1"/>
          </p:nvSpPr>
          <p:spPr>
            <a:xfrm>
              <a:off x="4238549" y="19253"/>
              <a:ext cx="369437" cy="809282"/>
            </a:xfrm>
            <a:custGeom>
              <a:avLst/>
              <a:gdLst/>
              <a:ahLst/>
              <a:cxnLst/>
              <a:rect l="0" t="0" r="0" b="0"/>
              <a:pathLst>
                <a:path w="369437" h="809282">
                  <a:moveTo>
                    <a:pt x="0" y="0"/>
                  </a:moveTo>
                  <a:lnTo>
                    <a:pt x="369437" y="0"/>
                  </a:lnTo>
                  <a:lnTo>
                    <a:pt x="369437" y="192873"/>
                  </a:lnTo>
                  <a:lnTo>
                    <a:pt x="366141" y="192735"/>
                  </a:lnTo>
                  <a:lnTo>
                    <a:pt x="249288" y="192735"/>
                  </a:lnTo>
                  <a:lnTo>
                    <a:pt x="249288" y="353632"/>
                  </a:lnTo>
                  <a:lnTo>
                    <a:pt x="369437" y="353632"/>
                  </a:lnTo>
                  <a:lnTo>
                    <a:pt x="369437" y="527075"/>
                  </a:lnTo>
                  <a:lnTo>
                    <a:pt x="249288" y="527075"/>
                  </a:lnTo>
                  <a:lnTo>
                    <a:pt x="249288" y="809282"/>
                  </a:lnTo>
                  <a:lnTo>
                    <a:pt x="0" y="809282"/>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40" name="Shape 19"/>
            <p:cNvSpPr/>
            <p:nvPr userDrawn="1"/>
          </p:nvSpPr>
          <p:spPr>
            <a:xfrm>
              <a:off x="3791230" y="19253"/>
              <a:ext cx="418808" cy="809282"/>
            </a:xfrm>
            <a:custGeom>
              <a:avLst/>
              <a:gdLst/>
              <a:ahLst/>
              <a:cxnLst/>
              <a:rect l="0" t="0" r="0" b="0"/>
              <a:pathLst>
                <a:path w="418808" h="809282">
                  <a:moveTo>
                    <a:pt x="0" y="0"/>
                  </a:moveTo>
                  <a:lnTo>
                    <a:pt x="124117" y="0"/>
                  </a:lnTo>
                  <a:lnTo>
                    <a:pt x="418808" y="809282"/>
                  </a:lnTo>
                  <a:lnTo>
                    <a:pt x="160439" y="809282"/>
                  </a:lnTo>
                  <a:lnTo>
                    <a:pt x="126352" y="693636"/>
                  </a:lnTo>
                  <a:lnTo>
                    <a:pt x="0" y="693636"/>
                  </a:lnTo>
                  <a:lnTo>
                    <a:pt x="0" y="520268"/>
                  </a:lnTo>
                  <a:lnTo>
                    <a:pt x="76530" y="520268"/>
                  </a:lnTo>
                  <a:lnTo>
                    <a:pt x="3925" y="270891"/>
                  </a:lnTo>
                  <a:lnTo>
                    <a:pt x="1727" y="270891"/>
                  </a:lnTo>
                  <a:lnTo>
                    <a:pt x="0" y="276396"/>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41" name="Shape 136"/>
            <p:cNvSpPr/>
            <p:nvPr userDrawn="1"/>
          </p:nvSpPr>
          <p:spPr>
            <a:xfrm>
              <a:off x="4607986" y="1013663"/>
              <a:ext cx="1174197" cy="146495"/>
            </a:xfrm>
            <a:custGeom>
              <a:avLst/>
              <a:gdLst/>
              <a:ahLst/>
              <a:cxnLst/>
              <a:rect l="0" t="0" r="0" b="0"/>
              <a:pathLst>
                <a:path w="1174197" h="146495">
                  <a:moveTo>
                    <a:pt x="0" y="0"/>
                  </a:moveTo>
                  <a:lnTo>
                    <a:pt x="1174197" y="0"/>
                  </a:lnTo>
                  <a:lnTo>
                    <a:pt x="1174197"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43" name="Shape 21"/>
            <p:cNvSpPr/>
            <p:nvPr userDrawn="1"/>
          </p:nvSpPr>
          <p:spPr>
            <a:xfrm>
              <a:off x="5061306" y="19253"/>
              <a:ext cx="723087" cy="809282"/>
            </a:xfrm>
            <a:custGeom>
              <a:avLst/>
              <a:gdLst/>
              <a:ahLst/>
              <a:cxnLst/>
              <a:rect l="0" t="0" r="0" b="0"/>
              <a:pathLst>
                <a:path w="723087" h="809282">
                  <a:moveTo>
                    <a:pt x="21552" y="0"/>
                  </a:moveTo>
                  <a:lnTo>
                    <a:pt x="704888" y="0"/>
                  </a:lnTo>
                  <a:lnTo>
                    <a:pt x="704888" y="181356"/>
                  </a:lnTo>
                  <a:lnTo>
                    <a:pt x="325196" y="601815"/>
                  </a:lnTo>
                  <a:lnTo>
                    <a:pt x="723087" y="601815"/>
                  </a:lnTo>
                  <a:lnTo>
                    <a:pt x="723087" y="809282"/>
                  </a:lnTo>
                  <a:lnTo>
                    <a:pt x="0" y="809282"/>
                  </a:lnTo>
                  <a:lnTo>
                    <a:pt x="0" y="614312"/>
                  </a:lnTo>
                  <a:lnTo>
                    <a:pt x="376238" y="207442"/>
                  </a:lnTo>
                  <a:lnTo>
                    <a:pt x="21552" y="207442"/>
                  </a:lnTo>
                  <a:lnTo>
                    <a:pt x="21552"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45" name="Shape 22"/>
            <p:cNvSpPr/>
            <p:nvPr userDrawn="1"/>
          </p:nvSpPr>
          <p:spPr>
            <a:xfrm>
              <a:off x="4607986" y="19253"/>
              <a:ext cx="394481" cy="809282"/>
            </a:xfrm>
            <a:custGeom>
              <a:avLst/>
              <a:gdLst/>
              <a:ahLst/>
              <a:cxnLst/>
              <a:rect l="0" t="0" r="0" b="0"/>
              <a:pathLst>
                <a:path w="394481" h="809282">
                  <a:moveTo>
                    <a:pt x="0" y="0"/>
                  </a:moveTo>
                  <a:lnTo>
                    <a:pt x="105505" y="0"/>
                  </a:lnTo>
                  <a:cubicBezTo>
                    <a:pt x="247097" y="0"/>
                    <a:pt x="369538" y="78257"/>
                    <a:pt x="369538" y="231191"/>
                  </a:cubicBezTo>
                  <a:cubicBezTo>
                    <a:pt x="369538" y="315100"/>
                    <a:pt x="331006" y="403504"/>
                    <a:pt x="248202" y="434124"/>
                  </a:cubicBezTo>
                  <a:cubicBezTo>
                    <a:pt x="316236" y="460159"/>
                    <a:pt x="358222" y="534987"/>
                    <a:pt x="367290" y="635825"/>
                  </a:cubicBezTo>
                  <a:cubicBezTo>
                    <a:pt x="370643" y="675538"/>
                    <a:pt x="371849" y="771868"/>
                    <a:pt x="394481" y="809282"/>
                  </a:cubicBezTo>
                  <a:lnTo>
                    <a:pt x="145129" y="809282"/>
                  </a:lnTo>
                  <a:cubicBezTo>
                    <a:pt x="132696" y="768477"/>
                    <a:pt x="128136" y="726542"/>
                    <a:pt x="124670" y="684555"/>
                  </a:cubicBezTo>
                  <a:cubicBezTo>
                    <a:pt x="117913" y="607505"/>
                    <a:pt x="111156" y="527075"/>
                    <a:pt x="12465" y="527075"/>
                  </a:cubicBezTo>
                  <a:lnTo>
                    <a:pt x="0" y="527075"/>
                  </a:lnTo>
                  <a:lnTo>
                    <a:pt x="0" y="353632"/>
                  </a:lnTo>
                  <a:lnTo>
                    <a:pt x="10280" y="353632"/>
                  </a:lnTo>
                  <a:cubicBezTo>
                    <a:pt x="56635" y="353632"/>
                    <a:pt x="120148" y="345732"/>
                    <a:pt x="120148" y="273202"/>
                  </a:cubicBezTo>
                  <a:cubicBezTo>
                    <a:pt x="120148" y="228541"/>
                    <a:pt x="98455" y="200429"/>
                    <a:pt x="29315" y="194099"/>
                  </a:cubicBezTo>
                  <a:lnTo>
                    <a:pt x="0" y="192873"/>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3160284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ags" Target="../tags/tag21.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ags" Target="../tags/tag20.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vmlDrawing" Target="../drawings/vmlDrawing14.vml"/><Relationship Id="rId5" Type="http://schemas.openxmlformats.org/officeDocument/2006/relationships/slideLayout" Target="../slideLayouts/slideLayout132.xml"/><Relationship Id="rId15" Type="http://schemas.openxmlformats.org/officeDocument/2006/relationships/image" Target="../media/image8.emf"/><Relationship Id="rId10" Type="http://schemas.openxmlformats.org/officeDocument/2006/relationships/theme" Target="../theme/theme10.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oleObject" Target="../embeddings/oleObject13.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oleObject" Target="../embeddings/oleObject14.bin"/><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tags" Target="../tags/tag23.xml"/><Relationship Id="rId2" Type="http://schemas.openxmlformats.org/officeDocument/2006/relationships/slideLayout" Target="../slideLayouts/slideLayout138.xml"/><Relationship Id="rId16" Type="http://schemas.openxmlformats.org/officeDocument/2006/relationships/tags" Target="../tags/tag22.xml"/><Relationship Id="rId20" Type="http://schemas.openxmlformats.org/officeDocument/2006/relationships/image" Target="../media/image21.png"/><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vmlDrawing" Target="../drawings/vmlDrawing15.vml"/><Relationship Id="rId10" Type="http://schemas.openxmlformats.org/officeDocument/2006/relationships/slideLayout" Target="../slideLayouts/slideLayout146.xml"/><Relationship Id="rId19" Type="http://schemas.openxmlformats.org/officeDocument/2006/relationships/image" Target="../media/image8.emf"/><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vmlDrawing" Target="../drawings/vmlDrawing16.vml"/><Relationship Id="rId3" Type="http://schemas.openxmlformats.org/officeDocument/2006/relationships/slideLayout" Target="../slideLayouts/slideLayout152.xml"/><Relationship Id="rId21" Type="http://schemas.openxmlformats.org/officeDocument/2006/relationships/oleObject" Target="../embeddings/oleObject15.bin"/><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theme" Target="../theme/theme12.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tags" Target="../tags/tag25.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image" Target="../media/image21.png"/><Relationship Id="rId10" Type="http://schemas.openxmlformats.org/officeDocument/2006/relationships/slideLayout" Target="../slideLayouts/slideLayout159.xml"/><Relationship Id="rId19" Type="http://schemas.openxmlformats.org/officeDocument/2006/relationships/tags" Target="../tags/tag24.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image" Target="../media/image8.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2.vml"/><Relationship Id="rId5" Type="http://schemas.openxmlformats.org/officeDocument/2006/relationships/slideLayout" Target="../slideLayouts/slideLayout17.xml"/><Relationship Id="rId15" Type="http://schemas.openxmlformats.org/officeDocument/2006/relationships/image" Target="../media/image8.emf"/><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oleObject" Target="../embeddings/oleObject3.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tags" Target="../tags/tag5.xml"/><Relationship Id="rId2" Type="http://schemas.openxmlformats.org/officeDocument/2006/relationships/slideLayout" Target="../slideLayouts/slideLayout23.xml"/><Relationship Id="rId16" Type="http://schemas.openxmlformats.org/officeDocument/2006/relationships/tags" Target="../tags/tag4.xml"/><Relationship Id="rId20" Type="http://schemas.openxmlformats.org/officeDocument/2006/relationships/image" Target="../media/image21.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vmlDrawing" Target="../drawings/vmlDrawing3.vml"/><Relationship Id="rId10" Type="http://schemas.openxmlformats.org/officeDocument/2006/relationships/slideLayout" Target="../slideLayouts/slideLayout31.xml"/><Relationship Id="rId19" Type="http://schemas.openxmlformats.org/officeDocument/2006/relationships/image" Target="../media/image8.emf"/><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oleObject" Target="../embeddings/oleObject4.bin"/><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ags" Target="../tags/tag7.xml"/><Relationship Id="rId2" Type="http://schemas.openxmlformats.org/officeDocument/2006/relationships/slideLayout" Target="../slideLayouts/slideLayout36.xml"/><Relationship Id="rId16" Type="http://schemas.openxmlformats.org/officeDocument/2006/relationships/tags" Target="../tags/tag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vmlDrawing" Target="../drawings/vmlDrawing4.vml"/><Relationship Id="rId10" Type="http://schemas.openxmlformats.org/officeDocument/2006/relationships/slideLayout" Target="../slideLayouts/slideLayout44.xml"/><Relationship Id="rId19" Type="http://schemas.openxmlformats.org/officeDocument/2006/relationships/image" Target="../media/image8.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vmlDrawing" Target="../drawings/vmlDrawing6.vml"/><Relationship Id="rId3" Type="http://schemas.openxmlformats.org/officeDocument/2006/relationships/slideLayout" Target="../slideLayouts/slideLayout50.xml"/><Relationship Id="rId21" Type="http://schemas.openxmlformats.org/officeDocument/2006/relationships/oleObject" Target="../embeddings/oleObject6.bin"/><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5.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tags" Target="../tags/tag10.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image" Target="../media/image21.png"/><Relationship Id="rId10" Type="http://schemas.openxmlformats.org/officeDocument/2006/relationships/slideLayout" Target="../slideLayouts/slideLayout57.xml"/><Relationship Id="rId19" Type="http://schemas.openxmlformats.org/officeDocument/2006/relationships/tags" Target="../tags/tag9.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image" Target="../media/image8.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theme" Target="../theme/theme6.xml"/><Relationship Id="rId18" Type="http://schemas.openxmlformats.org/officeDocument/2006/relationships/image" Target="../media/image8.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oleObject" Target="../embeddings/oleObject7.bin"/><Relationship Id="rId2" Type="http://schemas.openxmlformats.org/officeDocument/2006/relationships/slideLayout" Target="../slideLayouts/slideLayout65.xml"/><Relationship Id="rId16" Type="http://schemas.openxmlformats.org/officeDocument/2006/relationships/tags" Target="../tags/tag1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tags" Target="../tags/tag11.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vmlDrawing" Target="../drawings/vmlDrawing7.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image" Target="../media/image8.emf"/><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oleObject" Target="../embeddings/oleObject9.bin"/><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ags" Target="../tags/tag1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vmlDrawing" Target="../drawings/vmlDrawing9.v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theme" Target="../theme/theme8.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tags" Target="../tags/tag18.xml"/><Relationship Id="rId3" Type="http://schemas.openxmlformats.org/officeDocument/2006/relationships/slideLayout" Target="../slideLayouts/slideLayout115.xml"/><Relationship Id="rId21" Type="http://schemas.openxmlformats.org/officeDocument/2006/relationships/image" Target="../media/image32.emf"/><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vmlDrawing" Target="../drawings/vmlDrawing13.vml"/><Relationship Id="rId2" Type="http://schemas.openxmlformats.org/officeDocument/2006/relationships/slideLayout" Target="../slideLayouts/slideLayout114.xml"/><Relationship Id="rId16" Type="http://schemas.openxmlformats.org/officeDocument/2006/relationships/theme" Target="../theme/theme9.xml"/><Relationship Id="rId20" Type="http://schemas.openxmlformats.org/officeDocument/2006/relationships/oleObject" Target="../embeddings/oleObject12.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tags" Target="../tags/tag19.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image" Target="../media/image3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31800" y="428625"/>
            <a:ext cx="11325225" cy="335046"/>
          </a:xfrm>
          <a:prstGeom prst="rect">
            <a:avLst/>
          </a:prstGeom>
        </p:spPr>
        <p:txBody>
          <a:bodyPr vert="horz" lIns="0" tIns="0" rIns="0" bIns="0" rtlCol="0" anchor="b">
            <a:noAutofit/>
          </a:bodyPr>
          <a:lstStyle/>
          <a:p>
            <a:r>
              <a:rPr lang="de-DE"/>
              <a:t>Titelmasterformat durch Klicken bearbeiten</a:t>
            </a:r>
          </a:p>
        </p:txBody>
      </p:sp>
      <p:sp>
        <p:nvSpPr>
          <p:cNvPr id="3" name="Textplatzhalter 2"/>
          <p:cNvSpPr>
            <a:spLocks noGrp="1"/>
          </p:cNvSpPr>
          <p:nvPr>
            <p:ph type="body" idx="1"/>
          </p:nvPr>
        </p:nvSpPr>
        <p:spPr bwMode="gray">
          <a:xfrm>
            <a:off x="431800" y="1412874"/>
            <a:ext cx="11325225" cy="5014913"/>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3"/>
          </p:nvPr>
        </p:nvSpPr>
        <p:spPr bwMode="gray">
          <a:xfrm>
            <a:off x="431800" y="6427788"/>
            <a:ext cx="10962480" cy="246858"/>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5" indent="0" algn="r">
              <a:tabLst/>
              <a:defRPr sz="1100">
                <a:solidFill>
                  <a:srgbClr val="965AA0"/>
                </a:solidFill>
              </a:defRPr>
            </a:lvl7pPr>
            <a:lvl8pPr marL="3175" indent="0" algn="r">
              <a:defRPr sz="1100">
                <a:solidFill>
                  <a:srgbClr val="965AA0"/>
                </a:solidFill>
              </a:defRPr>
            </a:lvl8pPr>
            <a:lvl9pPr marL="0" indent="0" algn="r">
              <a:defRPr sz="1100">
                <a:solidFill>
                  <a:srgbClr val="965AA0"/>
                </a:solidFill>
              </a:defRPr>
            </a:lvl9pPr>
          </a:lstStyle>
          <a:p>
            <a:r>
              <a:rPr lang="de-DE"/>
              <a:t>Schwarz Group // Corporate Presentation //</a:t>
            </a:r>
          </a:p>
        </p:txBody>
      </p:sp>
      <p:sp>
        <p:nvSpPr>
          <p:cNvPr id="6" name="Foliennummernplatzhalter 5"/>
          <p:cNvSpPr>
            <a:spLocks noGrp="1"/>
          </p:cNvSpPr>
          <p:nvPr>
            <p:ph type="sldNum" sz="quarter" idx="4"/>
          </p:nvPr>
        </p:nvSpPr>
        <p:spPr bwMode="gray">
          <a:xfrm>
            <a:off x="11394280" y="6427788"/>
            <a:ext cx="362744" cy="256383"/>
          </a:xfrm>
          <a:prstGeom prst="rect">
            <a:avLst/>
          </a:prstGeom>
        </p:spPr>
        <p:txBody>
          <a:bodyPr vert="horz" lIns="0" tIns="0" rIns="0" bIns="0" rtlCol="0" anchor="b">
            <a:noAutofit/>
          </a:bodyPr>
          <a:lstStyle>
            <a:lvl1pPr algn="r">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5"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fld id="{0C7C1E0B-BD27-42F8-BC6B-2F0636970842}" type="slidenum">
              <a:rPr lang="de-DE" smtClean="0"/>
              <a:pPr/>
              <a:t>‹#›</a:t>
            </a:fld>
            <a:endParaRPr lang="de-DE"/>
          </a:p>
        </p:txBody>
      </p:sp>
    </p:spTree>
    <p:extLst>
      <p:ext uri="{BB962C8B-B14F-4D97-AF65-F5344CB8AC3E}">
        <p14:creationId xmlns:p14="http://schemas.microsoft.com/office/powerpoint/2010/main" val="703567775"/>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61" r:id="rId3"/>
    <p:sldLayoutId id="2147483669" r:id="rId4"/>
    <p:sldLayoutId id="2147483668" r:id="rId5"/>
    <p:sldLayoutId id="2147483681" r:id="rId6"/>
    <p:sldLayoutId id="2147483684" r:id="rId7"/>
    <p:sldLayoutId id="2147483688" r:id="rId8"/>
    <p:sldLayoutId id="2147483689" r:id="rId9"/>
    <p:sldLayoutId id="2147483936" r:id="rId10"/>
    <p:sldLayoutId id="2147483937" r:id="rId11"/>
    <p:sldLayoutId id="2147483938" r:id="rId12"/>
  </p:sldLayoutIdLst>
  <p:transition>
    <p:fade/>
  </p:transition>
  <p:hf hdr="0" dt="0"/>
  <p:txStyles>
    <p:titleStyle>
      <a:lvl1pPr algn="l" defTabSz="1088545" rtl="0" eaLnBrk="1" latinLnBrk="0" hangingPunct="1">
        <a:spcBef>
          <a:spcPct val="0"/>
        </a:spcBef>
        <a:buNone/>
        <a:defRPr sz="2800" b="1" kern="1200" cap="all" baseline="0">
          <a:solidFill>
            <a:schemeClr val="accent1"/>
          </a:solidFill>
          <a:latin typeface="+mj-lt"/>
          <a:ea typeface="+mj-ea"/>
          <a:cs typeface="+mj-cs"/>
        </a:defRPr>
      </a:lvl1pPr>
    </p:titleStyle>
    <p:bodyStyle>
      <a:lvl1pPr marL="0" indent="0" algn="l" defTabSz="1088545" rtl="0" eaLnBrk="1" latinLnBrk="0" hangingPunct="1">
        <a:lnSpc>
          <a:spcPct val="130000"/>
        </a:lnSpc>
        <a:spcBef>
          <a:spcPts val="0"/>
        </a:spcBef>
        <a:buFontTx/>
        <a:buNone/>
        <a:defRPr sz="1800" kern="1200">
          <a:solidFill>
            <a:schemeClr val="tx1"/>
          </a:solidFill>
          <a:latin typeface="+mn-lt"/>
          <a:ea typeface="+mn-ea"/>
          <a:cs typeface="+mn-cs"/>
        </a:defRPr>
      </a:lvl1pPr>
      <a:lvl2pPr marL="180007"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14"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21"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28"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28"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28"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28"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28"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545" rtl="0" eaLnBrk="1" latinLnBrk="0" hangingPunct="1">
        <a:defRPr sz="2100" kern="1200">
          <a:solidFill>
            <a:schemeClr val="tx1"/>
          </a:solidFill>
          <a:latin typeface="+mn-lt"/>
          <a:ea typeface="+mn-ea"/>
          <a:cs typeface="+mn-cs"/>
        </a:defRPr>
      </a:lvl1pPr>
      <a:lvl2pPr marL="544272" algn="l" defTabSz="1088545" rtl="0" eaLnBrk="1" latinLnBrk="0" hangingPunct="1">
        <a:defRPr sz="2100" kern="1200">
          <a:solidFill>
            <a:schemeClr val="tx1"/>
          </a:solidFill>
          <a:latin typeface="+mn-lt"/>
          <a:ea typeface="+mn-ea"/>
          <a:cs typeface="+mn-cs"/>
        </a:defRPr>
      </a:lvl2pPr>
      <a:lvl3pPr marL="1088545" algn="l" defTabSz="1088545" rtl="0" eaLnBrk="1" latinLnBrk="0" hangingPunct="1">
        <a:defRPr sz="2100" kern="1200">
          <a:solidFill>
            <a:schemeClr val="tx1"/>
          </a:solidFill>
          <a:latin typeface="+mn-lt"/>
          <a:ea typeface="+mn-ea"/>
          <a:cs typeface="+mn-cs"/>
        </a:defRPr>
      </a:lvl3pPr>
      <a:lvl4pPr marL="1632817" algn="l" defTabSz="1088545" rtl="0" eaLnBrk="1" latinLnBrk="0" hangingPunct="1">
        <a:defRPr sz="2100" kern="1200">
          <a:solidFill>
            <a:schemeClr val="tx1"/>
          </a:solidFill>
          <a:latin typeface="+mn-lt"/>
          <a:ea typeface="+mn-ea"/>
          <a:cs typeface="+mn-cs"/>
        </a:defRPr>
      </a:lvl4pPr>
      <a:lvl5pPr marL="2177089" algn="l" defTabSz="1088545" rtl="0" eaLnBrk="1" latinLnBrk="0" hangingPunct="1">
        <a:defRPr sz="2100" kern="1200">
          <a:solidFill>
            <a:schemeClr val="tx1"/>
          </a:solidFill>
          <a:latin typeface="+mn-lt"/>
          <a:ea typeface="+mn-ea"/>
          <a:cs typeface="+mn-cs"/>
        </a:defRPr>
      </a:lvl5pPr>
      <a:lvl6pPr marL="2721361" algn="l" defTabSz="1088545" rtl="0" eaLnBrk="1" latinLnBrk="0" hangingPunct="1">
        <a:defRPr sz="2100" kern="1200">
          <a:solidFill>
            <a:schemeClr val="tx1"/>
          </a:solidFill>
          <a:latin typeface="+mn-lt"/>
          <a:ea typeface="+mn-ea"/>
          <a:cs typeface="+mn-cs"/>
        </a:defRPr>
      </a:lvl6pPr>
      <a:lvl7pPr marL="3265633" algn="l" defTabSz="1088545" rtl="0" eaLnBrk="1" latinLnBrk="0" hangingPunct="1">
        <a:defRPr sz="2100" kern="1200">
          <a:solidFill>
            <a:schemeClr val="tx1"/>
          </a:solidFill>
          <a:latin typeface="+mn-lt"/>
          <a:ea typeface="+mn-ea"/>
          <a:cs typeface="+mn-cs"/>
        </a:defRPr>
      </a:lvl7pPr>
      <a:lvl8pPr marL="3809906" algn="l" defTabSz="1088545" rtl="0" eaLnBrk="1" latinLnBrk="0" hangingPunct="1">
        <a:defRPr sz="2100" kern="1200">
          <a:solidFill>
            <a:schemeClr val="tx1"/>
          </a:solidFill>
          <a:latin typeface="+mn-lt"/>
          <a:ea typeface="+mn-ea"/>
          <a:cs typeface="+mn-cs"/>
        </a:defRPr>
      </a:lvl8pPr>
      <a:lvl9pPr marL="4354178" algn="l" defTabSz="108854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90" userDrawn="1">
          <p15:clr>
            <a:srgbClr val="5ACBF0"/>
          </p15:clr>
        </p15:guide>
        <p15:guide id="5" pos="7587" userDrawn="1">
          <p15:clr>
            <a:srgbClr val="5ACBF0"/>
          </p15:clr>
        </p15:guide>
        <p15:guide id="7" pos="272" userDrawn="1">
          <p15:clr>
            <a:srgbClr val="5ACBF0"/>
          </p15:clr>
        </p15:guide>
        <p15:guide id="8" pos="7406" userDrawn="1">
          <p15:clr>
            <a:srgbClr val="5ACBF0"/>
          </p15:clr>
        </p15:guide>
        <p15:guide id="9" orient="horz" pos="270" userDrawn="1">
          <p15:clr>
            <a:srgbClr val="5ACBF0"/>
          </p15:clr>
        </p15:guide>
        <p15:guide id="10" orient="horz" pos="4049" userDrawn="1">
          <p15:clr>
            <a:srgbClr val="5ACBF0"/>
          </p15:clr>
        </p15:guide>
        <p15:guide id="11" pos="90" userDrawn="1">
          <p15:clr>
            <a:srgbClr val="5ACBF0"/>
          </p15:clr>
        </p15:guide>
        <p15:guide id="12" orient="horz" pos="4230" userDrawn="1">
          <p15:clr>
            <a:srgbClr val="5ACBF0"/>
          </p15:clr>
        </p15:guide>
        <p15:guide id="13" orient="horz" pos="890"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FACF27A-7AF7-4159-A6FF-067A4976AA79}"/>
              </a:ext>
            </a:extLst>
          </p:cNvPr>
          <p:cNvGraphicFramePr>
            <a:graphicFrameLocks noChangeAspect="1"/>
          </p:cNvGraphicFramePr>
          <p:nvPr userDrawn="1">
            <p:custDataLst>
              <p:tags r:id="rId12"/>
            </p:custDataLst>
            <p:extLst>
              <p:ext uri="{D42A27DB-BD31-4B8C-83A1-F6EECF244321}">
                <p14:modId xmlns:p14="http://schemas.microsoft.com/office/powerpoint/2010/main" val="161477126"/>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14" imgW="347" imgH="348" progId="TCLayout.ActiveDocument.1">
                  <p:embed/>
                </p:oleObj>
              </mc:Choice>
              <mc:Fallback>
                <p:oleObj name="think-cell Folie" r:id="rId14" imgW="347" imgH="348" progId="TCLayout.ActiveDocument.1">
                  <p:embed/>
                  <p:pic>
                    <p:nvPicPr>
                      <p:cNvPr id="7" name="Objekt 6" hidden="1">
                        <a:extLst>
                          <a:ext uri="{FF2B5EF4-FFF2-40B4-BE49-F238E27FC236}">
                            <a16:creationId xmlns:a16="http://schemas.microsoft.com/office/drawing/2014/main" id="{7FACF27A-7AF7-4159-A6FF-067A4976AA79}"/>
                          </a:ext>
                        </a:extLst>
                      </p:cNvPr>
                      <p:cNvPicPr/>
                      <p:nvPr/>
                    </p:nvPicPr>
                    <p:blipFill>
                      <a:blip r:embed="rId15"/>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5EF087A-CB8D-436D-8194-F3C22DA10B6E}"/>
              </a:ext>
            </a:extLst>
          </p:cNvPr>
          <p:cNvSpPr/>
          <p:nvPr userDrawn="1">
            <p:custDataLst>
              <p:tags r:id="rId13"/>
            </p:custDataLst>
          </p:nvPr>
        </p:nvSpPr>
        <p:spPr>
          <a:xfrm>
            <a:off x="0" y="0"/>
            <a:ext cx="158709"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999"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FE62D056-30C9-4942-842F-EE766A824940}"/>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98A8E5-C192-984F-A109-48A3BD38268F}"/>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225369"/>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8" r:id="rId9"/>
  </p:sldLayoutIdLst>
  <p:hf hdr="0" dt="0"/>
  <p:txStyles>
    <p:titleStyle>
      <a:lvl1pPr algn="l" defTabSz="914126"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Clr>
          <a:schemeClr val="accent1"/>
        </a:buClr>
        <a:buFont typeface="Arial" panose="020B0604020202020204" pitchFamily="34" charset="0"/>
        <a:buChar char="•"/>
        <a:defRPr sz="2399" kern="1200">
          <a:solidFill>
            <a:schemeClr val="bg2"/>
          </a:solidFill>
          <a:latin typeface="+mj-lt"/>
          <a:ea typeface="+mn-ea"/>
          <a:cs typeface="+mn-cs"/>
        </a:defRPr>
      </a:lvl1pPr>
      <a:lvl2pPr marL="685594"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2pPr>
      <a:lvl3pPr marL="1142657"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3pPr>
      <a:lvl4pPr marL="1599720"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4pPr>
      <a:lvl5pPr marL="2056783"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ACAA9DB-86A2-4ECD-84D2-D6EB5F5D6A1D}"/>
              </a:ext>
            </a:extLst>
          </p:cNvPr>
          <p:cNvGraphicFramePr>
            <a:graphicFrameLocks noChangeAspect="1"/>
          </p:cNvGraphicFramePr>
          <p:nvPr userDrawn="1">
            <p:custDataLst>
              <p:tags r:id="rId16"/>
            </p:custDataLst>
            <p:extLst>
              <p:ext uri="{D42A27DB-BD31-4B8C-83A1-F6EECF244321}">
                <p14:modId xmlns:p14="http://schemas.microsoft.com/office/powerpoint/2010/main" val="352010959"/>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18" imgW="347" imgH="348" progId="TCLayout.ActiveDocument.1">
                  <p:embed/>
                </p:oleObj>
              </mc:Choice>
              <mc:Fallback>
                <p:oleObj name="think-cell Folie" r:id="rId18" imgW="347" imgH="348" progId="TCLayout.ActiveDocument.1">
                  <p:embed/>
                  <p:pic>
                    <p:nvPicPr>
                      <p:cNvPr id="7" name="Objekt 6" hidden="1">
                        <a:extLst>
                          <a:ext uri="{FF2B5EF4-FFF2-40B4-BE49-F238E27FC236}">
                            <a16:creationId xmlns:a16="http://schemas.microsoft.com/office/drawing/2014/main" id="{6ACAA9DB-86A2-4ECD-84D2-D6EB5F5D6A1D}"/>
                          </a:ext>
                        </a:extLst>
                      </p:cNvPr>
                      <p:cNvPicPr/>
                      <p:nvPr/>
                    </p:nvPicPr>
                    <p:blipFill>
                      <a:blip r:embed="rId19"/>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7B9840F-AF41-44AE-B7D9-02CD603D9504}"/>
              </a:ext>
            </a:extLst>
          </p:cNvPr>
          <p:cNvSpPr/>
          <p:nvPr userDrawn="1">
            <p:custDataLst>
              <p:tags r:id="rId17"/>
            </p:custDataLst>
          </p:nvPr>
        </p:nvSpPr>
        <p:spPr>
          <a:xfrm>
            <a:off x="0" y="0"/>
            <a:ext cx="158709" cy="158787"/>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999" b="0" i="0" baseline="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0" name="Line 12">
            <a:extLst>
              <a:ext uri="{FF2B5EF4-FFF2-40B4-BE49-F238E27FC236}">
                <a16:creationId xmlns:a16="http://schemas.microsoft.com/office/drawing/2014/main" id="{2BD66F38-EB14-1F42-8A36-CBE33ECD111D}"/>
              </a:ext>
            </a:extLst>
          </p:cNvPr>
          <p:cNvSpPr>
            <a:spLocks noChangeShapeType="1"/>
          </p:cNvSpPr>
          <p:nvPr userDrawn="1"/>
        </p:nvSpPr>
        <p:spPr bwMode="gray">
          <a:xfrm>
            <a:off x="451007" y="6275263"/>
            <a:ext cx="10976812" cy="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00" noProof="0"/>
          </a:p>
        </p:txBody>
      </p:sp>
      <p:pic>
        <p:nvPicPr>
          <p:cNvPr id="16" name="Picture 15">
            <a:extLst>
              <a:ext uri="{FF2B5EF4-FFF2-40B4-BE49-F238E27FC236}">
                <a16:creationId xmlns:a16="http://schemas.microsoft.com/office/drawing/2014/main" id="{A48B2DD1-72CC-0B49-9851-B9FD70C701DB}"/>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437473" y="6326065"/>
            <a:ext cx="1165596" cy="415729"/>
          </a:xfrm>
          <a:prstGeom prst="rect">
            <a:avLst/>
          </a:prstGeom>
        </p:spPr>
      </p:pic>
      <p:sp>
        <p:nvSpPr>
          <p:cNvPr id="2" name="Text Placeholder 1">
            <a:extLst>
              <a:ext uri="{FF2B5EF4-FFF2-40B4-BE49-F238E27FC236}">
                <a16:creationId xmlns:a16="http://schemas.microsoft.com/office/drawing/2014/main" id="{C140C0BD-1CFB-B448-B477-C0E8BFD2CFF6}"/>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a:extLst>
              <a:ext uri="{FF2B5EF4-FFF2-40B4-BE49-F238E27FC236}">
                <a16:creationId xmlns:a16="http://schemas.microsoft.com/office/drawing/2014/main" id="{95FDF7D0-60C0-C542-B75E-DB8E71727684}"/>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17"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9"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705966644"/>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264"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66" indent="-228566" algn="l" defTabSz="914264" rtl="0" eaLnBrk="1" latinLnBrk="0" hangingPunct="1">
        <a:lnSpc>
          <a:spcPct val="90000"/>
        </a:lnSpc>
        <a:spcBef>
          <a:spcPts val="1000"/>
        </a:spcBef>
        <a:buClr>
          <a:schemeClr val="accent1"/>
        </a:buClr>
        <a:buFont typeface="Arial" panose="020B0604020202020204" pitchFamily="34" charset="0"/>
        <a:buChar char="•"/>
        <a:defRPr sz="2399" kern="1200">
          <a:solidFill>
            <a:schemeClr val="tx1"/>
          </a:solidFill>
          <a:latin typeface="+mj-lt"/>
          <a:ea typeface="+mn-ea"/>
          <a:cs typeface="+mn-cs"/>
        </a:defRPr>
      </a:lvl1pPr>
      <a:lvl2pPr marL="685696" indent="-228566" algn="l" defTabSz="914264" rtl="0" eaLnBrk="1" latinLnBrk="0" hangingPunct="1">
        <a:lnSpc>
          <a:spcPct val="90000"/>
        </a:lnSpc>
        <a:spcBef>
          <a:spcPts val="500"/>
        </a:spcBef>
        <a:buClr>
          <a:schemeClr val="accent1"/>
        </a:buClr>
        <a:buFont typeface="Arial" panose="020B0604020202020204" pitchFamily="34" charset="0"/>
        <a:buChar char="•"/>
        <a:defRPr sz="1799" kern="1200">
          <a:solidFill>
            <a:schemeClr val="tx1"/>
          </a:solidFill>
          <a:latin typeface="+mj-lt"/>
          <a:ea typeface="+mn-ea"/>
          <a:cs typeface="+mn-cs"/>
        </a:defRPr>
      </a:lvl2pPr>
      <a:lvl3pPr marL="1142829"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3pPr>
      <a:lvl4pPr marL="1599960"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4pPr>
      <a:lvl5pPr marL="2057093"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5pPr>
      <a:lvl6pPr marL="2514224"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5"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264" rtl="0" eaLnBrk="1" latinLnBrk="0" hangingPunct="1">
        <a:defRPr sz="1799" kern="1200">
          <a:solidFill>
            <a:schemeClr val="tx1"/>
          </a:solidFill>
          <a:latin typeface="+mn-lt"/>
          <a:ea typeface="+mn-ea"/>
          <a:cs typeface="+mn-cs"/>
        </a:defRPr>
      </a:lvl1pPr>
      <a:lvl2pPr marL="457133" algn="l" defTabSz="914264" rtl="0" eaLnBrk="1" latinLnBrk="0" hangingPunct="1">
        <a:defRPr sz="1799" kern="1200">
          <a:solidFill>
            <a:schemeClr val="tx1"/>
          </a:solidFill>
          <a:latin typeface="+mn-lt"/>
          <a:ea typeface="+mn-ea"/>
          <a:cs typeface="+mn-cs"/>
        </a:defRPr>
      </a:lvl2pPr>
      <a:lvl3pPr marL="914264" algn="l" defTabSz="914264" rtl="0" eaLnBrk="1" latinLnBrk="0" hangingPunct="1">
        <a:defRPr sz="1799" kern="1200">
          <a:solidFill>
            <a:schemeClr val="tx1"/>
          </a:solidFill>
          <a:latin typeface="+mn-lt"/>
          <a:ea typeface="+mn-ea"/>
          <a:cs typeface="+mn-cs"/>
        </a:defRPr>
      </a:lvl3pPr>
      <a:lvl4pPr marL="1371395" algn="l" defTabSz="914264" rtl="0" eaLnBrk="1" latinLnBrk="0" hangingPunct="1">
        <a:defRPr sz="1799" kern="1200">
          <a:solidFill>
            <a:schemeClr val="tx1"/>
          </a:solidFill>
          <a:latin typeface="+mn-lt"/>
          <a:ea typeface="+mn-ea"/>
          <a:cs typeface="+mn-cs"/>
        </a:defRPr>
      </a:lvl4pPr>
      <a:lvl5pPr marL="1828526" algn="l" defTabSz="914264" rtl="0" eaLnBrk="1" latinLnBrk="0" hangingPunct="1">
        <a:defRPr sz="1799" kern="1200">
          <a:solidFill>
            <a:schemeClr val="tx1"/>
          </a:solidFill>
          <a:latin typeface="+mn-lt"/>
          <a:ea typeface="+mn-ea"/>
          <a:cs typeface="+mn-cs"/>
        </a:defRPr>
      </a:lvl5pPr>
      <a:lvl6pPr marL="2285656" algn="l" defTabSz="914264" rtl="0" eaLnBrk="1" latinLnBrk="0" hangingPunct="1">
        <a:defRPr sz="1799" kern="1200">
          <a:solidFill>
            <a:schemeClr val="tx1"/>
          </a:solidFill>
          <a:latin typeface="+mn-lt"/>
          <a:ea typeface="+mn-ea"/>
          <a:cs typeface="+mn-cs"/>
        </a:defRPr>
      </a:lvl6pPr>
      <a:lvl7pPr marL="2742790" algn="l" defTabSz="914264" rtl="0" eaLnBrk="1" latinLnBrk="0" hangingPunct="1">
        <a:defRPr sz="1799" kern="1200">
          <a:solidFill>
            <a:schemeClr val="tx1"/>
          </a:solidFill>
          <a:latin typeface="+mn-lt"/>
          <a:ea typeface="+mn-ea"/>
          <a:cs typeface="+mn-cs"/>
        </a:defRPr>
      </a:lvl7pPr>
      <a:lvl8pPr marL="3199920" algn="l" defTabSz="914264" rtl="0" eaLnBrk="1" latinLnBrk="0" hangingPunct="1">
        <a:defRPr sz="1799" kern="1200">
          <a:solidFill>
            <a:schemeClr val="tx1"/>
          </a:solidFill>
          <a:latin typeface="+mn-lt"/>
          <a:ea typeface="+mn-ea"/>
          <a:cs typeface="+mn-cs"/>
        </a:defRPr>
      </a:lvl8pPr>
      <a:lvl9pPr marL="3657053" algn="l" defTabSz="91426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45">
          <p15:clr>
            <a:srgbClr val="FBAE40"/>
          </p15:clr>
        </p15:guide>
        <p15:guide id="2" pos="414">
          <p15:clr>
            <a:srgbClr val="FBAE4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E6B64CC-178C-4317-A4C0-F3B4AA0CCD48}"/>
              </a:ext>
            </a:extLst>
          </p:cNvPr>
          <p:cNvGraphicFramePr>
            <a:graphicFrameLocks noChangeAspect="1"/>
          </p:cNvGraphicFramePr>
          <p:nvPr userDrawn="1">
            <p:custDataLst>
              <p:tags r:id="rId19"/>
            </p:custDataLst>
            <p:extLst>
              <p:ext uri="{D42A27DB-BD31-4B8C-83A1-F6EECF244321}">
                <p14:modId xmlns:p14="http://schemas.microsoft.com/office/powerpoint/2010/main" val="3517454630"/>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21" imgW="347" imgH="348" progId="TCLayout.ActiveDocument.1">
                  <p:embed/>
                </p:oleObj>
              </mc:Choice>
              <mc:Fallback>
                <p:oleObj name="think-cell Folie" r:id="rId21" imgW="347" imgH="348" progId="TCLayout.ActiveDocument.1">
                  <p:embed/>
                  <p:pic>
                    <p:nvPicPr>
                      <p:cNvPr id="7" name="Objekt 6" hidden="1">
                        <a:extLst>
                          <a:ext uri="{FF2B5EF4-FFF2-40B4-BE49-F238E27FC236}">
                            <a16:creationId xmlns:a16="http://schemas.microsoft.com/office/drawing/2014/main" id="{0E6B64CC-178C-4317-A4C0-F3B4AA0CCD48}"/>
                          </a:ext>
                        </a:extLst>
                      </p:cNvPr>
                      <p:cNvPicPr/>
                      <p:nvPr/>
                    </p:nvPicPr>
                    <p:blipFill>
                      <a:blip r:embed="rId22"/>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5BCDB36-1E59-4068-BA3B-D867BFDD65AF}"/>
              </a:ext>
            </a:extLst>
          </p:cNvPr>
          <p:cNvSpPr/>
          <p:nvPr userDrawn="1">
            <p:custDataLst>
              <p:tags r:id="rId20"/>
            </p:custDataLst>
          </p:nvPr>
        </p:nvSpPr>
        <p:spPr>
          <a:xfrm>
            <a:off x="0" y="0"/>
            <a:ext cx="158709" cy="158787"/>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999" b="0" i="0" baseline="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0" name="Line 12">
            <a:extLst>
              <a:ext uri="{FF2B5EF4-FFF2-40B4-BE49-F238E27FC236}">
                <a16:creationId xmlns:a16="http://schemas.microsoft.com/office/drawing/2014/main" id="{2BD66F38-EB14-1F42-8A36-CBE33ECD111D}"/>
              </a:ext>
            </a:extLst>
          </p:cNvPr>
          <p:cNvSpPr>
            <a:spLocks noChangeShapeType="1"/>
          </p:cNvSpPr>
          <p:nvPr userDrawn="1"/>
        </p:nvSpPr>
        <p:spPr bwMode="gray">
          <a:xfrm>
            <a:off x="451008" y="6275263"/>
            <a:ext cx="10976812" cy="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00" noProof="0"/>
          </a:p>
        </p:txBody>
      </p:sp>
      <p:pic>
        <p:nvPicPr>
          <p:cNvPr id="16" name="Picture 15">
            <a:extLst>
              <a:ext uri="{FF2B5EF4-FFF2-40B4-BE49-F238E27FC236}">
                <a16:creationId xmlns:a16="http://schemas.microsoft.com/office/drawing/2014/main" id="{A48B2DD1-72CC-0B49-9851-B9FD70C701DB}"/>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437473" y="6326067"/>
            <a:ext cx="1165596" cy="415729"/>
          </a:xfrm>
          <a:prstGeom prst="rect">
            <a:avLst/>
          </a:prstGeom>
        </p:spPr>
      </p:pic>
      <p:sp>
        <p:nvSpPr>
          <p:cNvPr id="2" name="Text Placeholder 1">
            <a:extLst>
              <a:ext uri="{FF2B5EF4-FFF2-40B4-BE49-F238E27FC236}">
                <a16:creationId xmlns:a16="http://schemas.microsoft.com/office/drawing/2014/main" id="{C140C0BD-1CFB-B448-B477-C0E8BFD2CFF6}"/>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a:extLst>
              <a:ext uri="{FF2B5EF4-FFF2-40B4-BE49-F238E27FC236}">
                <a16:creationId xmlns:a16="http://schemas.microsoft.com/office/drawing/2014/main" id="{95FDF7D0-60C0-C542-B75E-DB8E71727684}"/>
              </a:ext>
            </a:extLst>
          </p:cNvPr>
          <p:cNvSpPr>
            <a:spLocks noGrp="1"/>
          </p:cNvSpPr>
          <p:nvPr>
            <p:ph type="title"/>
          </p:nvPr>
        </p:nvSpPr>
        <p:spPr>
          <a:xfrm>
            <a:off x="837982" y="365212"/>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17"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9"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768241222"/>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30" r:id="rId15"/>
    <p:sldLayoutId id="2147483934"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73"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43" indent="-228543" algn="l" defTabSz="914173" rtl="0" eaLnBrk="1" latinLnBrk="0" hangingPunct="1">
        <a:lnSpc>
          <a:spcPct val="90000"/>
        </a:lnSpc>
        <a:spcBef>
          <a:spcPts val="1000"/>
        </a:spcBef>
        <a:buClr>
          <a:schemeClr val="accent1"/>
        </a:buClr>
        <a:buFont typeface="Arial" panose="020B0604020202020204" pitchFamily="34" charset="0"/>
        <a:buChar char="•"/>
        <a:defRPr sz="2399" kern="1200">
          <a:solidFill>
            <a:schemeClr val="tx1"/>
          </a:solidFill>
          <a:latin typeface="+mj-lt"/>
          <a:ea typeface="+mn-ea"/>
          <a:cs typeface="+mn-cs"/>
        </a:defRPr>
      </a:lvl1pPr>
      <a:lvl2pPr marL="685627" indent="-228543" algn="l" defTabSz="914173" rtl="0" eaLnBrk="1" latinLnBrk="0" hangingPunct="1">
        <a:lnSpc>
          <a:spcPct val="90000"/>
        </a:lnSpc>
        <a:spcBef>
          <a:spcPts val="500"/>
        </a:spcBef>
        <a:buClr>
          <a:schemeClr val="accent1"/>
        </a:buClr>
        <a:buFont typeface="Arial" panose="020B0604020202020204" pitchFamily="34" charset="0"/>
        <a:buChar char="•"/>
        <a:defRPr sz="1799" kern="1200">
          <a:solidFill>
            <a:schemeClr val="tx1"/>
          </a:solidFill>
          <a:latin typeface="+mj-lt"/>
          <a:ea typeface="+mn-ea"/>
          <a:cs typeface="+mn-cs"/>
        </a:defRPr>
      </a:lvl2pPr>
      <a:lvl3pPr marL="1142715"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3pPr>
      <a:lvl4pPr marL="1599800"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4pPr>
      <a:lvl5pPr marL="2056887"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5pPr>
      <a:lvl6pPr marL="2513973"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058"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143"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227"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73" rtl="0" eaLnBrk="1" latinLnBrk="0" hangingPunct="1">
        <a:defRPr sz="1799" kern="1200">
          <a:solidFill>
            <a:schemeClr val="tx1"/>
          </a:solidFill>
          <a:latin typeface="+mn-lt"/>
          <a:ea typeface="+mn-ea"/>
          <a:cs typeface="+mn-cs"/>
        </a:defRPr>
      </a:lvl1pPr>
      <a:lvl2pPr marL="457087" algn="l" defTabSz="914173" rtl="0" eaLnBrk="1" latinLnBrk="0" hangingPunct="1">
        <a:defRPr sz="1799" kern="1200">
          <a:solidFill>
            <a:schemeClr val="tx1"/>
          </a:solidFill>
          <a:latin typeface="+mn-lt"/>
          <a:ea typeface="+mn-ea"/>
          <a:cs typeface="+mn-cs"/>
        </a:defRPr>
      </a:lvl2pPr>
      <a:lvl3pPr marL="914173" algn="l" defTabSz="914173" rtl="0" eaLnBrk="1" latinLnBrk="0" hangingPunct="1">
        <a:defRPr sz="1799" kern="1200">
          <a:solidFill>
            <a:schemeClr val="tx1"/>
          </a:solidFill>
          <a:latin typeface="+mn-lt"/>
          <a:ea typeface="+mn-ea"/>
          <a:cs typeface="+mn-cs"/>
        </a:defRPr>
      </a:lvl3pPr>
      <a:lvl4pPr marL="1371258" algn="l" defTabSz="914173" rtl="0" eaLnBrk="1" latinLnBrk="0" hangingPunct="1">
        <a:defRPr sz="1799" kern="1200">
          <a:solidFill>
            <a:schemeClr val="tx1"/>
          </a:solidFill>
          <a:latin typeface="+mn-lt"/>
          <a:ea typeface="+mn-ea"/>
          <a:cs typeface="+mn-cs"/>
        </a:defRPr>
      </a:lvl4pPr>
      <a:lvl5pPr marL="1828343" algn="l" defTabSz="914173" rtl="0" eaLnBrk="1" latinLnBrk="0" hangingPunct="1">
        <a:defRPr sz="1799" kern="1200">
          <a:solidFill>
            <a:schemeClr val="tx1"/>
          </a:solidFill>
          <a:latin typeface="+mn-lt"/>
          <a:ea typeface="+mn-ea"/>
          <a:cs typeface="+mn-cs"/>
        </a:defRPr>
      </a:lvl5pPr>
      <a:lvl6pPr marL="2285427" algn="l" defTabSz="914173" rtl="0" eaLnBrk="1" latinLnBrk="0" hangingPunct="1">
        <a:defRPr sz="1799" kern="1200">
          <a:solidFill>
            <a:schemeClr val="tx1"/>
          </a:solidFill>
          <a:latin typeface="+mn-lt"/>
          <a:ea typeface="+mn-ea"/>
          <a:cs typeface="+mn-cs"/>
        </a:defRPr>
      </a:lvl6pPr>
      <a:lvl7pPr marL="2742516" algn="l" defTabSz="914173" rtl="0" eaLnBrk="1" latinLnBrk="0" hangingPunct="1">
        <a:defRPr sz="1799" kern="1200">
          <a:solidFill>
            <a:schemeClr val="tx1"/>
          </a:solidFill>
          <a:latin typeface="+mn-lt"/>
          <a:ea typeface="+mn-ea"/>
          <a:cs typeface="+mn-cs"/>
        </a:defRPr>
      </a:lvl7pPr>
      <a:lvl8pPr marL="3199600" algn="l" defTabSz="914173" rtl="0" eaLnBrk="1" latinLnBrk="0" hangingPunct="1">
        <a:defRPr sz="1799" kern="1200">
          <a:solidFill>
            <a:schemeClr val="tx1"/>
          </a:solidFill>
          <a:latin typeface="+mn-lt"/>
          <a:ea typeface="+mn-ea"/>
          <a:cs typeface="+mn-cs"/>
        </a:defRPr>
      </a:lvl8pPr>
      <a:lvl9pPr marL="3656687" algn="l" defTabSz="91417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45">
          <p15:clr>
            <a:srgbClr val="FBAE40"/>
          </p15:clr>
        </p15:guide>
        <p15:guide id="2" pos="414">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FACF27A-7AF7-4159-A6FF-067A4976AA79}"/>
              </a:ext>
            </a:extLst>
          </p:cNvPr>
          <p:cNvGraphicFramePr>
            <a:graphicFrameLocks noChangeAspect="1"/>
          </p:cNvGraphicFramePr>
          <p:nvPr userDrawn="1">
            <p:custDataLst>
              <p:tags r:id="rId12"/>
            </p:custDataLst>
            <p:extLst>
              <p:ext uri="{D42A27DB-BD31-4B8C-83A1-F6EECF244321}">
                <p14:modId xmlns:p14="http://schemas.microsoft.com/office/powerpoint/2010/main" val="3806220227"/>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14" imgW="347" imgH="348" progId="TCLayout.ActiveDocument.1">
                  <p:embed/>
                </p:oleObj>
              </mc:Choice>
              <mc:Fallback>
                <p:oleObj name="think-cell Folie" r:id="rId14" imgW="347" imgH="348" progId="TCLayout.ActiveDocument.1">
                  <p:embed/>
                  <p:pic>
                    <p:nvPicPr>
                      <p:cNvPr id="7" name="Objekt 6" hidden="1">
                        <a:extLst>
                          <a:ext uri="{FF2B5EF4-FFF2-40B4-BE49-F238E27FC236}">
                            <a16:creationId xmlns:a16="http://schemas.microsoft.com/office/drawing/2014/main" id="{7FACF27A-7AF7-4159-A6FF-067A4976AA79}"/>
                          </a:ext>
                        </a:extLst>
                      </p:cNvPr>
                      <p:cNvPicPr/>
                      <p:nvPr/>
                    </p:nvPicPr>
                    <p:blipFill>
                      <a:blip r:embed="rId15"/>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5EF087A-CB8D-436D-8194-F3C22DA10B6E}"/>
              </a:ext>
            </a:extLst>
          </p:cNvPr>
          <p:cNvSpPr/>
          <p:nvPr userDrawn="1">
            <p:custDataLst>
              <p:tags r:id="rId13"/>
            </p:custDataLst>
          </p:nvPr>
        </p:nvSpPr>
        <p:spPr>
          <a:xfrm>
            <a:off x="0" y="0"/>
            <a:ext cx="158709"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999"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FE62D056-30C9-4942-842F-EE766A824940}"/>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98A8E5-C192-984F-A109-48A3BD38268F}"/>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51093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933" r:id="rId9"/>
  </p:sldLayoutIdLst>
  <p:hf hdr="0" dt="0"/>
  <p:txStyles>
    <p:titleStyle>
      <a:lvl1pPr algn="l" defTabSz="914126"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Clr>
          <a:schemeClr val="accent1"/>
        </a:buClr>
        <a:buFont typeface="Arial" panose="020B0604020202020204" pitchFamily="34" charset="0"/>
        <a:buChar char="•"/>
        <a:defRPr sz="2399" kern="1200">
          <a:solidFill>
            <a:schemeClr val="bg2"/>
          </a:solidFill>
          <a:latin typeface="+mj-lt"/>
          <a:ea typeface="+mn-ea"/>
          <a:cs typeface="+mn-cs"/>
        </a:defRPr>
      </a:lvl1pPr>
      <a:lvl2pPr marL="685594"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2pPr>
      <a:lvl3pPr marL="1142657"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3pPr>
      <a:lvl4pPr marL="1599720"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4pPr>
      <a:lvl5pPr marL="2056783"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ACAA9DB-86A2-4ECD-84D2-D6EB5F5D6A1D}"/>
              </a:ext>
            </a:extLst>
          </p:cNvPr>
          <p:cNvGraphicFramePr>
            <a:graphicFrameLocks noChangeAspect="1"/>
          </p:cNvGraphicFramePr>
          <p:nvPr userDrawn="1">
            <p:custDataLst>
              <p:tags r:id="rId16"/>
            </p:custDataLst>
            <p:extLst>
              <p:ext uri="{D42A27DB-BD31-4B8C-83A1-F6EECF244321}">
                <p14:modId xmlns:p14="http://schemas.microsoft.com/office/powerpoint/2010/main" val="396206749"/>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18" imgW="347" imgH="348" progId="TCLayout.ActiveDocument.1">
                  <p:embed/>
                </p:oleObj>
              </mc:Choice>
              <mc:Fallback>
                <p:oleObj name="think-cell Folie" r:id="rId18" imgW="347" imgH="348" progId="TCLayout.ActiveDocument.1">
                  <p:embed/>
                  <p:pic>
                    <p:nvPicPr>
                      <p:cNvPr id="7" name="Objekt 6" hidden="1">
                        <a:extLst>
                          <a:ext uri="{FF2B5EF4-FFF2-40B4-BE49-F238E27FC236}">
                            <a16:creationId xmlns:a16="http://schemas.microsoft.com/office/drawing/2014/main" id="{6ACAA9DB-86A2-4ECD-84D2-D6EB5F5D6A1D}"/>
                          </a:ext>
                        </a:extLst>
                      </p:cNvPr>
                      <p:cNvPicPr/>
                      <p:nvPr/>
                    </p:nvPicPr>
                    <p:blipFill>
                      <a:blip r:embed="rId19"/>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7B9840F-AF41-44AE-B7D9-02CD603D9504}"/>
              </a:ext>
            </a:extLst>
          </p:cNvPr>
          <p:cNvSpPr/>
          <p:nvPr userDrawn="1">
            <p:custDataLst>
              <p:tags r:id="rId17"/>
            </p:custDataLst>
          </p:nvPr>
        </p:nvSpPr>
        <p:spPr>
          <a:xfrm>
            <a:off x="0" y="0"/>
            <a:ext cx="158709" cy="158787"/>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999" b="0" i="0" baseline="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0" name="Line 12">
            <a:extLst>
              <a:ext uri="{FF2B5EF4-FFF2-40B4-BE49-F238E27FC236}">
                <a16:creationId xmlns:a16="http://schemas.microsoft.com/office/drawing/2014/main" id="{2BD66F38-EB14-1F42-8A36-CBE33ECD111D}"/>
              </a:ext>
            </a:extLst>
          </p:cNvPr>
          <p:cNvSpPr>
            <a:spLocks noChangeShapeType="1"/>
          </p:cNvSpPr>
          <p:nvPr userDrawn="1"/>
        </p:nvSpPr>
        <p:spPr bwMode="gray">
          <a:xfrm>
            <a:off x="451007" y="6275263"/>
            <a:ext cx="10976812" cy="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00" noProof="0"/>
          </a:p>
        </p:txBody>
      </p:sp>
      <p:pic>
        <p:nvPicPr>
          <p:cNvPr id="16" name="Picture 15">
            <a:extLst>
              <a:ext uri="{FF2B5EF4-FFF2-40B4-BE49-F238E27FC236}">
                <a16:creationId xmlns:a16="http://schemas.microsoft.com/office/drawing/2014/main" id="{A48B2DD1-72CC-0B49-9851-B9FD70C701DB}"/>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437473" y="6326065"/>
            <a:ext cx="1165596" cy="415729"/>
          </a:xfrm>
          <a:prstGeom prst="rect">
            <a:avLst/>
          </a:prstGeom>
        </p:spPr>
      </p:pic>
      <p:sp>
        <p:nvSpPr>
          <p:cNvPr id="2" name="Text Placeholder 1">
            <a:extLst>
              <a:ext uri="{FF2B5EF4-FFF2-40B4-BE49-F238E27FC236}">
                <a16:creationId xmlns:a16="http://schemas.microsoft.com/office/drawing/2014/main" id="{C140C0BD-1CFB-B448-B477-C0E8BFD2CFF6}"/>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a:extLst>
              <a:ext uri="{FF2B5EF4-FFF2-40B4-BE49-F238E27FC236}">
                <a16:creationId xmlns:a16="http://schemas.microsoft.com/office/drawing/2014/main" id="{95FDF7D0-60C0-C542-B75E-DB8E71727684}"/>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17"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9"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00908383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264"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66" indent="-228566" algn="l" defTabSz="914264" rtl="0" eaLnBrk="1" latinLnBrk="0" hangingPunct="1">
        <a:lnSpc>
          <a:spcPct val="90000"/>
        </a:lnSpc>
        <a:spcBef>
          <a:spcPts val="1000"/>
        </a:spcBef>
        <a:buClr>
          <a:schemeClr val="accent1"/>
        </a:buClr>
        <a:buFont typeface="Arial" panose="020B0604020202020204" pitchFamily="34" charset="0"/>
        <a:buChar char="•"/>
        <a:defRPr sz="2399" kern="1200">
          <a:solidFill>
            <a:schemeClr val="tx1"/>
          </a:solidFill>
          <a:latin typeface="+mj-lt"/>
          <a:ea typeface="+mn-ea"/>
          <a:cs typeface="+mn-cs"/>
        </a:defRPr>
      </a:lvl1pPr>
      <a:lvl2pPr marL="685696" indent="-228566" algn="l" defTabSz="914264" rtl="0" eaLnBrk="1" latinLnBrk="0" hangingPunct="1">
        <a:lnSpc>
          <a:spcPct val="90000"/>
        </a:lnSpc>
        <a:spcBef>
          <a:spcPts val="500"/>
        </a:spcBef>
        <a:buClr>
          <a:schemeClr val="accent1"/>
        </a:buClr>
        <a:buFont typeface="Arial" panose="020B0604020202020204" pitchFamily="34" charset="0"/>
        <a:buChar char="•"/>
        <a:defRPr sz="1799" kern="1200">
          <a:solidFill>
            <a:schemeClr val="tx1"/>
          </a:solidFill>
          <a:latin typeface="+mj-lt"/>
          <a:ea typeface="+mn-ea"/>
          <a:cs typeface="+mn-cs"/>
        </a:defRPr>
      </a:lvl2pPr>
      <a:lvl3pPr marL="1142829"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3pPr>
      <a:lvl4pPr marL="1599960"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4pPr>
      <a:lvl5pPr marL="2057093"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5pPr>
      <a:lvl6pPr marL="2514224"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5"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264" rtl="0" eaLnBrk="1" latinLnBrk="0" hangingPunct="1">
        <a:defRPr sz="1799" kern="1200">
          <a:solidFill>
            <a:schemeClr val="tx1"/>
          </a:solidFill>
          <a:latin typeface="+mn-lt"/>
          <a:ea typeface="+mn-ea"/>
          <a:cs typeface="+mn-cs"/>
        </a:defRPr>
      </a:lvl1pPr>
      <a:lvl2pPr marL="457133" algn="l" defTabSz="914264" rtl="0" eaLnBrk="1" latinLnBrk="0" hangingPunct="1">
        <a:defRPr sz="1799" kern="1200">
          <a:solidFill>
            <a:schemeClr val="tx1"/>
          </a:solidFill>
          <a:latin typeface="+mn-lt"/>
          <a:ea typeface="+mn-ea"/>
          <a:cs typeface="+mn-cs"/>
        </a:defRPr>
      </a:lvl2pPr>
      <a:lvl3pPr marL="914264" algn="l" defTabSz="914264" rtl="0" eaLnBrk="1" latinLnBrk="0" hangingPunct="1">
        <a:defRPr sz="1799" kern="1200">
          <a:solidFill>
            <a:schemeClr val="tx1"/>
          </a:solidFill>
          <a:latin typeface="+mn-lt"/>
          <a:ea typeface="+mn-ea"/>
          <a:cs typeface="+mn-cs"/>
        </a:defRPr>
      </a:lvl3pPr>
      <a:lvl4pPr marL="1371395" algn="l" defTabSz="914264" rtl="0" eaLnBrk="1" latinLnBrk="0" hangingPunct="1">
        <a:defRPr sz="1799" kern="1200">
          <a:solidFill>
            <a:schemeClr val="tx1"/>
          </a:solidFill>
          <a:latin typeface="+mn-lt"/>
          <a:ea typeface="+mn-ea"/>
          <a:cs typeface="+mn-cs"/>
        </a:defRPr>
      </a:lvl4pPr>
      <a:lvl5pPr marL="1828526" algn="l" defTabSz="914264" rtl="0" eaLnBrk="1" latinLnBrk="0" hangingPunct="1">
        <a:defRPr sz="1799" kern="1200">
          <a:solidFill>
            <a:schemeClr val="tx1"/>
          </a:solidFill>
          <a:latin typeface="+mn-lt"/>
          <a:ea typeface="+mn-ea"/>
          <a:cs typeface="+mn-cs"/>
        </a:defRPr>
      </a:lvl5pPr>
      <a:lvl6pPr marL="2285656" algn="l" defTabSz="914264" rtl="0" eaLnBrk="1" latinLnBrk="0" hangingPunct="1">
        <a:defRPr sz="1799" kern="1200">
          <a:solidFill>
            <a:schemeClr val="tx1"/>
          </a:solidFill>
          <a:latin typeface="+mn-lt"/>
          <a:ea typeface="+mn-ea"/>
          <a:cs typeface="+mn-cs"/>
        </a:defRPr>
      </a:lvl6pPr>
      <a:lvl7pPr marL="2742790" algn="l" defTabSz="914264" rtl="0" eaLnBrk="1" latinLnBrk="0" hangingPunct="1">
        <a:defRPr sz="1799" kern="1200">
          <a:solidFill>
            <a:schemeClr val="tx1"/>
          </a:solidFill>
          <a:latin typeface="+mn-lt"/>
          <a:ea typeface="+mn-ea"/>
          <a:cs typeface="+mn-cs"/>
        </a:defRPr>
      </a:lvl7pPr>
      <a:lvl8pPr marL="3199920" algn="l" defTabSz="914264" rtl="0" eaLnBrk="1" latinLnBrk="0" hangingPunct="1">
        <a:defRPr sz="1799" kern="1200">
          <a:solidFill>
            <a:schemeClr val="tx1"/>
          </a:solidFill>
          <a:latin typeface="+mn-lt"/>
          <a:ea typeface="+mn-ea"/>
          <a:cs typeface="+mn-cs"/>
        </a:defRPr>
      </a:lvl8pPr>
      <a:lvl9pPr marL="3657053" algn="l" defTabSz="91426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45">
          <p15:clr>
            <a:srgbClr val="FBAE40"/>
          </p15:clr>
        </p15:guide>
        <p15:guide id="2" pos="414">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27AEFAD-EDC0-4E25-8D29-C00885F0FC77}"/>
              </a:ext>
            </a:extLst>
          </p:cNvPr>
          <p:cNvGraphicFramePr>
            <a:graphicFrameLocks noChangeAspect="1"/>
          </p:cNvGraphicFramePr>
          <p:nvPr userDrawn="1">
            <p:custDataLst>
              <p:tags r:id="rId16"/>
            </p:custDataLst>
            <p:extLst>
              <p:ext uri="{D42A27DB-BD31-4B8C-83A1-F6EECF244321}">
                <p14:modId xmlns:p14="http://schemas.microsoft.com/office/powerpoint/2010/main" val="2705920413"/>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18" imgW="347" imgH="348" progId="TCLayout.ActiveDocument.1">
                  <p:embed/>
                </p:oleObj>
              </mc:Choice>
              <mc:Fallback>
                <p:oleObj name="think-cell Folie" r:id="rId18" imgW="347" imgH="348" progId="TCLayout.ActiveDocument.1">
                  <p:embed/>
                  <p:pic>
                    <p:nvPicPr>
                      <p:cNvPr id="5" name="Objekt 4" hidden="1">
                        <a:extLst>
                          <a:ext uri="{FF2B5EF4-FFF2-40B4-BE49-F238E27FC236}">
                            <a16:creationId xmlns:a16="http://schemas.microsoft.com/office/drawing/2014/main" id="{427AEFAD-EDC0-4E25-8D29-C00885F0FC77}"/>
                          </a:ext>
                        </a:extLst>
                      </p:cNvPr>
                      <p:cNvPicPr/>
                      <p:nvPr/>
                    </p:nvPicPr>
                    <p:blipFill>
                      <a:blip r:embed="rId19"/>
                      <a:stretch>
                        <a:fillRect/>
                      </a:stretch>
                    </p:blipFill>
                    <p:spPr>
                      <a:xfrm>
                        <a:off x="1587" y="1589"/>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540B62F5-D2DD-4847-8447-AEF1EAA5877C}"/>
              </a:ext>
            </a:extLst>
          </p:cNvPr>
          <p:cNvSpPr/>
          <p:nvPr userDrawn="1">
            <p:custDataLst>
              <p:tags r:id="rId17"/>
            </p:custDataLst>
          </p:nvPr>
        </p:nvSpPr>
        <p:spPr>
          <a:xfrm>
            <a:off x="0" y="0"/>
            <a:ext cx="158709"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999"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FE62D056-30C9-4942-842F-EE766A824940}"/>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98A8E5-C192-984F-A109-48A3BD38268F}"/>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217601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Lst>
  <p:hf hdr="0" dt="0"/>
  <p:txStyles>
    <p:titleStyle>
      <a:lvl1pPr algn="l" defTabSz="914126"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Clr>
          <a:schemeClr val="accent1"/>
        </a:buClr>
        <a:buFont typeface="Arial" panose="020B0604020202020204" pitchFamily="34" charset="0"/>
        <a:buChar char="•"/>
        <a:defRPr sz="2399" kern="1200">
          <a:solidFill>
            <a:schemeClr val="bg2"/>
          </a:solidFill>
          <a:latin typeface="+mj-lt"/>
          <a:ea typeface="+mn-ea"/>
          <a:cs typeface="+mn-cs"/>
        </a:defRPr>
      </a:lvl1pPr>
      <a:lvl2pPr marL="685594"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2pPr>
      <a:lvl3pPr marL="1142657"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3pPr>
      <a:lvl4pPr marL="1599720"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4pPr>
      <a:lvl5pPr marL="2056783"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E6B64CC-178C-4317-A4C0-F3B4AA0CCD48}"/>
              </a:ext>
            </a:extLst>
          </p:cNvPr>
          <p:cNvGraphicFramePr>
            <a:graphicFrameLocks noChangeAspect="1"/>
          </p:cNvGraphicFramePr>
          <p:nvPr userDrawn="1">
            <p:custDataLst>
              <p:tags r:id="rId19"/>
            </p:custDataLst>
            <p:extLst>
              <p:ext uri="{D42A27DB-BD31-4B8C-83A1-F6EECF244321}">
                <p14:modId xmlns:p14="http://schemas.microsoft.com/office/powerpoint/2010/main" val="1223456029"/>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21" imgW="347" imgH="348" progId="TCLayout.ActiveDocument.1">
                  <p:embed/>
                </p:oleObj>
              </mc:Choice>
              <mc:Fallback>
                <p:oleObj name="think-cell Folie" r:id="rId21" imgW="347" imgH="348" progId="TCLayout.ActiveDocument.1">
                  <p:embed/>
                  <p:pic>
                    <p:nvPicPr>
                      <p:cNvPr id="7" name="Objekt 6" hidden="1">
                        <a:extLst>
                          <a:ext uri="{FF2B5EF4-FFF2-40B4-BE49-F238E27FC236}">
                            <a16:creationId xmlns:a16="http://schemas.microsoft.com/office/drawing/2014/main" id="{0E6B64CC-178C-4317-A4C0-F3B4AA0CCD48}"/>
                          </a:ext>
                        </a:extLst>
                      </p:cNvPr>
                      <p:cNvPicPr/>
                      <p:nvPr/>
                    </p:nvPicPr>
                    <p:blipFill>
                      <a:blip r:embed="rId22"/>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5BCDB36-1E59-4068-BA3B-D867BFDD65AF}"/>
              </a:ext>
            </a:extLst>
          </p:cNvPr>
          <p:cNvSpPr/>
          <p:nvPr userDrawn="1">
            <p:custDataLst>
              <p:tags r:id="rId20"/>
            </p:custDataLst>
          </p:nvPr>
        </p:nvSpPr>
        <p:spPr>
          <a:xfrm>
            <a:off x="0" y="0"/>
            <a:ext cx="158709" cy="158787"/>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999" b="0" i="0" baseline="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0" name="Line 12">
            <a:extLst>
              <a:ext uri="{FF2B5EF4-FFF2-40B4-BE49-F238E27FC236}">
                <a16:creationId xmlns:a16="http://schemas.microsoft.com/office/drawing/2014/main" id="{2BD66F38-EB14-1F42-8A36-CBE33ECD111D}"/>
              </a:ext>
            </a:extLst>
          </p:cNvPr>
          <p:cNvSpPr>
            <a:spLocks noChangeShapeType="1"/>
          </p:cNvSpPr>
          <p:nvPr userDrawn="1"/>
        </p:nvSpPr>
        <p:spPr bwMode="gray">
          <a:xfrm>
            <a:off x="451008" y="6275263"/>
            <a:ext cx="10976812" cy="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00" noProof="0"/>
          </a:p>
        </p:txBody>
      </p:sp>
      <p:pic>
        <p:nvPicPr>
          <p:cNvPr id="16" name="Picture 15">
            <a:extLst>
              <a:ext uri="{FF2B5EF4-FFF2-40B4-BE49-F238E27FC236}">
                <a16:creationId xmlns:a16="http://schemas.microsoft.com/office/drawing/2014/main" id="{A48B2DD1-72CC-0B49-9851-B9FD70C701DB}"/>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437473" y="6326067"/>
            <a:ext cx="1165596" cy="415729"/>
          </a:xfrm>
          <a:prstGeom prst="rect">
            <a:avLst/>
          </a:prstGeom>
        </p:spPr>
      </p:pic>
      <p:sp>
        <p:nvSpPr>
          <p:cNvPr id="2" name="Text Placeholder 1">
            <a:extLst>
              <a:ext uri="{FF2B5EF4-FFF2-40B4-BE49-F238E27FC236}">
                <a16:creationId xmlns:a16="http://schemas.microsoft.com/office/drawing/2014/main" id="{C140C0BD-1CFB-B448-B477-C0E8BFD2CFF6}"/>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a:extLst>
              <a:ext uri="{FF2B5EF4-FFF2-40B4-BE49-F238E27FC236}">
                <a16:creationId xmlns:a16="http://schemas.microsoft.com/office/drawing/2014/main" id="{95FDF7D0-60C0-C542-B75E-DB8E71727684}"/>
              </a:ext>
            </a:extLst>
          </p:cNvPr>
          <p:cNvSpPr>
            <a:spLocks noGrp="1"/>
          </p:cNvSpPr>
          <p:nvPr>
            <p:ph type="title"/>
          </p:nvPr>
        </p:nvSpPr>
        <p:spPr>
          <a:xfrm>
            <a:off x="837982" y="365212"/>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17"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9"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00614204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73"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43" indent="-228543" algn="l" defTabSz="914173" rtl="0" eaLnBrk="1" latinLnBrk="0" hangingPunct="1">
        <a:lnSpc>
          <a:spcPct val="90000"/>
        </a:lnSpc>
        <a:spcBef>
          <a:spcPts val="1000"/>
        </a:spcBef>
        <a:buClr>
          <a:schemeClr val="accent1"/>
        </a:buClr>
        <a:buFont typeface="Arial" panose="020B0604020202020204" pitchFamily="34" charset="0"/>
        <a:buChar char="•"/>
        <a:defRPr sz="2399" kern="1200">
          <a:solidFill>
            <a:schemeClr val="tx1"/>
          </a:solidFill>
          <a:latin typeface="+mj-lt"/>
          <a:ea typeface="+mn-ea"/>
          <a:cs typeface="+mn-cs"/>
        </a:defRPr>
      </a:lvl1pPr>
      <a:lvl2pPr marL="685627" indent="-228543" algn="l" defTabSz="914173" rtl="0" eaLnBrk="1" latinLnBrk="0" hangingPunct="1">
        <a:lnSpc>
          <a:spcPct val="90000"/>
        </a:lnSpc>
        <a:spcBef>
          <a:spcPts val="500"/>
        </a:spcBef>
        <a:buClr>
          <a:schemeClr val="accent1"/>
        </a:buClr>
        <a:buFont typeface="Arial" panose="020B0604020202020204" pitchFamily="34" charset="0"/>
        <a:buChar char="•"/>
        <a:defRPr sz="1799" kern="1200">
          <a:solidFill>
            <a:schemeClr val="tx1"/>
          </a:solidFill>
          <a:latin typeface="+mj-lt"/>
          <a:ea typeface="+mn-ea"/>
          <a:cs typeface="+mn-cs"/>
        </a:defRPr>
      </a:lvl2pPr>
      <a:lvl3pPr marL="1142715"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3pPr>
      <a:lvl4pPr marL="1599800"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4pPr>
      <a:lvl5pPr marL="2056887"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5pPr>
      <a:lvl6pPr marL="2513973"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058"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143"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227"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73" rtl="0" eaLnBrk="1" latinLnBrk="0" hangingPunct="1">
        <a:defRPr sz="1799" kern="1200">
          <a:solidFill>
            <a:schemeClr val="tx1"/>
          </a:solidFill>
          <a:latin typeface="+mn-lt"/>
          <a:ea typeface="+mn-ea"/>
          <a:cs typeface="+mn-cs"/>
        </a:defRPr>
      </a:lvl1pPr>
      <a:lvl2pPr marL="457087" algn="l" defTabSz="914173" rtl="0" eaLnBrk="1" latinLnBrk="0" hangingPunct="1">
        <a:defRPr sz="1799" kern="1200">
          <a:solidFill>
            <a:schemeClr val="tx1"/>
          </a:solidFill>
          <a:latin typeface="+mn-lt"/>
          <a:ea typeface="+mn-ea"/>
          <a:cs typeface="+mn-cs"/>
        </a:defRPr>
      </a:lvl2pPr>
      <a:lvl3pPr marL="914173" algn="l" defTabSz="914173" rtl="0" eaLnBrk="1" latinLnBrk="0" hangingPunct="1">
        <a:defRPr sz="1799" kern="1200">
          <a:solidFill>
            <a:schemeClr val="tx1"/>
          </a:solidFill>
          <a:latin typeface="+mn-lt"/>
          <a:ea typeface="+mn-ea"/>
          <a:cs typeface="+mn-cs"/>
        </a:defRPr>
      </a:lvl3pPr>
      <a:lvl4pPr marL="1371258" algn="l" defTabSz="914173" rtl="0" eaLnBrk="1" latinLnBrk="0" hangingPunct="1">
        <a:defRPr sz="1799" kern="1200">
          <a:solidFill>
            <a:schemeClr val="tx1"/>
          </a:solidFill>
          <a:latin typeface="+mn-lt"/>
          <a:ea typeface="+mn-ea"/>
          <a:cs typeface="+mn-cs"/>
        </a:defRPr>
      </a:lvl4pPr>
      <a:lvl5pPr marL="1828343" algn="l" defTabSz="914173" rtl="0" eaLnBrk="1" latinLnBrk="0" hangingPunct="1">
        <a:defRPr sz="1799" kern="1200">
          <a:solidFill>
            <a:schemeClr val="tx1"/>
          </a:solidFill>
          <a:latin typeface="+mn-lt"/>
          <a:ea typeface="+mn-ea"/>
          <a:cs typeface="+mn-cs"/>
        </a:defRPr>
      </a:lvl5pPr>
      <a:lvl6pPr marL="2285427" algn="l" defTabSz="914173" rtl="0" eaLnBrk="1" latinLnBrk="0" hangingPunct="1">
        <a:defRPr sz="1799" kern="1200">
          <a:solidFill>
            <a:schemeClr val="tx1"/>
          </a:solidFill>
          <a:latin typeface="+mn-lt"/>
          <a:ea typeface="+mn-ea"/>
          <a:cs typeface="+mn-cs"/>
        </a:defRPr>
      </a:lvl6pPr>
      <a:lvl7pPr marL="2742516" algn="l" defTabSz="914173" rtl="0" eaLnBrk="1" latinLnBrk="0" hangingPunct="1">
        <a:defRPr sz="1799" kern="1200">
          <a:solidFill>
            <a:schemeClr val="tx1"/>
          </a:solidFill>
          <a:latin typeface="+mn-lt"/>
          <a:ea typeface="+mn-ea"/>
          <a:cs typeface="+mn-cs"/>
        </a:defRPr>
      </a:lvl7pPr>
      <a:lvl8pPr marL="3199600" algn="l" defTabSz="914173" rtl="0" eaLnBrk="1" latinLnBrk="0" hangingPunct="1">
        <a:defRPr sz="1799" kern="1200">
          <a:solidFill>
            <a:schemeClr val="tx1"/>
          </a:solidFill>
          <a:latin typeface="+mn-lt"/>
          <a:ea typeface="+mn-ea"/>
          <a:cs typeface="+mn-cs"/>
        </a:defRPr>
      </a:lvl8pPr>
      <a:lvl9pPr marL="3656687" algn="l" defTabSz="91417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45">
          <p15:clr>
            <a:srgbClr val="FBAE40"/>
          </p15:clr>
        </p15:guide>
        <p15:guide id="2" pos="414">
          <p15:clr>
            <a:srgbClr val="FBAE4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27AEFAD-EDC0-4E25-8D29-C00885F0FC77}"/>
              </a:ext>
            </a:extLst>
          </p:cNvPr>
          <p:cNvGraphicFramePr>
            <a:graphicFrameLocks noChangeAspect="1"/>
          </p:cNvGraphicFramePr>
          <p:nvPr userDrawn="1">
            <p:custDataLst>
              <p:tags r:id="rId15"/>
            </p:custDataLst>
            <p:extLst>
              <p:ext uri="{D42A27DB-BD31-4B8C-83A1-F6EECF244321}">
                <p14:modId xmlns:p14="http://schemas.microsoft.com/office/powerpoint/2010/main" val="2085892906"/>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17" imgW="347" imgH="348" progId="TCLayout.ActiveDocument.1">
                  <p:embed/>
                </p:oleObj>
              </mc:Choice>
              <mc:Fallback>
                <p:oleObj name="think-cell Folie" r:id="rId17" imgW="347" imgH="348" progId="TCLayout.ActiveDocument.1">
                  <p:embed/>
                  <p:pic>
                    <p:nvPicPr>
                      <p:cNvPr id="5" name="Objekt 4" hidden="1">
                        <a:extLst>
                          <a:ext uri="{FF2B5EF4-FFF2-40B4-BE49-F238E27FC236}">
                            <a16:creationId xmlns:a16="http://schemas.microsoft.com/office/drawing/2014/main" id="{427AEFAD-EDC0-4E25-8D29-C00885F0FC77}"/>
                          </a:ext>
                        </a:extLst>
                      </p:cNvPr>
                      <p:cNvPicPr/>
                      <p:nvPr/>
                    </p:nvPicPr>
                    <p:blipFill>
                      <a:blip r:embed="rId18"/>
                      <a:stretch>
                        <a:fillRect/>
                      </a:stretch>
                    </p:blipFill>
                    <p:spPr>
                      <a:xfrm>
                        <a:off x="1587" y="1589"/>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540B62F5-D2DD-4847-8447-AEF1EAA5877C}"/>
              </a:ext>
            </a:extLst>
          </p:cNvPr>
          <p:cNvSpPr/>
          <p:nvPr userDrawn="1">
            <p:custDataLst>
              <p:tags r:id="rId16"/>
            </p:custDataLst>
          </p:nvPr>
        </p:nvSpPr>
        <p:spPr>
          <a:xfrm>
            <a:off x="0" y="0"/>
            <a:ext cx="158709"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999"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FE62D056-30C9-4942-842F-EE766A824940}"/>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98A8E5-C192-984F-A109-48A3BD38268F}"/>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0269762"/>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Lst>
  <p:hf hdr="0" dt="0"/>
  <p:txStyles>
    <p:titleStyle>
      <a:lvl1pPr algn="l" defTabSz="914126"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Clr>
          <a:schemeClr val="accent1"/>
        </a:buClr>
        <a:buFont typeface="Arial" panose="020B0604020202020204" pitchFamily="34" charset="0"/>
        <a:buChar char="•"/>
        <a:defRPr sz="2399" kern="1200">
          <a:solidFill>
            <a:schemeClr val="bg2"/>
          </a:solidFill>
          <a:latin typeface="+mj-lt"/>
          <a:ea typeface="+mn-ea"/>
          <a:cs typeface="+mn-cs"/>
        </a:defRPr>
      </a:lvl1pPr>
      <a:lvl2pPr marL="685594"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2pPr>
      <a:lvl3pPr marL="1142657"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3pPr>
      <a:lvl4pPr marL="1599720"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4pPr>
      <a:lvl5pPr marL="2056783"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4"/>
            </p:custDataLst>
            <p:extLst>
              <p:ext uri="{D42A27DB-BD31-4B8C-83A1-F6EECF244321}">
                <p14:modId xmlns:p14="http://schemas.microsoft.com/office/powerpoint/2010/main" val="299368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Folie" r:id="rId25" imgW="347" imgH="348" progId="TCLayout.ActiveDocument.1">
                  <p:embed/>
                </p:oleObj>
              </mc:Choice>
              <mc:Fallback>
                <p:oleObj name="think-cell Folie" r:id="rId25" imgW="347" imgH="348" progId="TCLayout.ActiveDocument.1">
                  <p:embed/>
                  <p:pic>
                    <p:nvPicPr>
                      <p:cNvPr id="7" name="Objekt 6" hidden="1"/>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03224" y="262470"/>
            <a:ext cx="11354771" cy="503050"/>
          </a:xfrm>
          <a:prstGeom prst="rect">
            <a:avLst/>
          </a:prstGeom>
        </p:spPr>
        <p:txBody>
          <a:bodyPr vert="horz" lIns="0" tIns="0" rIns="0" bIns="0" rtlCol="0" anchor="b">
            <a:noAutofit/>
          </a:bodyPr>
          <a:lstStyle/>
          <a:p>
            <a:r>
              <a:rPr lang="de-DE"/>
              <a:t>Titelmasterformat durch Klicken bearbeiten</a:t>
            </a:r>
          </a:p>
        </p:txBody>
      </p:sp>
      <p:sp>
        <p:nvSpPr>
          <p:cNvPr id="3" name="Textplatzhalter 2"/>
          <p:cNvSpPr>
            <a:spLocks noGrp="1"/>
          </p:cNvSpPr>
          <p:nvPr>
            <p:ph type="body" idx="1"/>
          </p:nvPr>
        </p:nvSpPr>
        <p:spPr bwMode="gray">
          <a:xfrm>
            <a:off x="407196" y="1326455"/>
            <a:ext cx="11350800" cy="4918807"/>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bwMode="gray">
          <a:xfrm>
            <a:off x="407196" y="6416724"/>
            <a:ext cx="926304" cy="193495"/>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5" indent="0">
              <a:defRPr sz="1100">
                <a:noFill/>
              </a:defRPr>
            </a:lvl6pPr>
            <a:lvl7pPr marL="0" indent="0">
              <a:defRPr sz="1100">
                <a:noFill/>
              </a:defRPr>
            </a:lvl7pPr>
            <a:lvl8pPr marL="0" indent="0">
              <a:defRPr sz="1100">
                <a:noFill/>
              </a:defRPr>
            </a:lvl8pPr>
            <a:lvl9pPr marL="0" indent="0">
              <a:defRPr sz="1100">
                <a:noFill/>
              </a:defRPr>
            </a:lvl9pPr>
          </a:lstStyle>
          <a:p>
            <a:endParaRPr lang="de-DE"/>
          </a:p>
        </p:txBody>
      </p:sp>
      <p:sp>
        <p:nvSpPr>
          <p:cNvPr id="5" name="Fußzeilenplatzhalter 4"/>
          <p:cNvSpPr>
            <a:spLocks noGrp="1"/>
          </p:cNvSpPr>
          <p:nvPr>
            <p:ph type="ftr" sz="quarter" idx="3"/>
          </p:nvPr>
        </p:nvSpPr>
        <p:spPr bwMode="gray">
          <a:xfrm>
            <a:off x="1450181" y="6416543"/>
            <a:ext cx="10003013" cy="193676"/>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5" indent="0" algn="r">
              <a:tabLst/>
              <a:defRPr sz="1100">
                <a:solidFill>
                  <a:srgbClr val="965AA0"/>
                </a:solidFill>
              </a:defRPr>
            </a:lvl7pPr>
            <a:lvl8pPr marL="3175" indent="0" algn="r">
              <a:defRPr sz="1100">
                <a:solidFill>
                  <a:srgbClr val="965AA0"/>
                </a:solidFill>
              </a:defRPr>
            </a:lvl8pPr>
            <a:lvl9pPr marL="0" indent="0" algn="r">
              <a:defRPr sz="1100">
                <a:solidFill>
                  <a:srgbClr val="965AA0"/>
                </a:solidFill>
              </a:defRPr>
            </a:lvl9pPr>
          </a:lstStyle>
          <a:p>
            <a:r>
              <a:rPr lang="de-DE"/>
              <a:t>Schwarz Group // Corporate Presentation //</a:t>
            </a:r>
          </a:p>
        </p:txBody>
      </p:sp>
      <p:sp>
        <p:nvSpPr>
          <p:cNvPr id="6" name="Foliennummernplatzhalter 5"/>
          <p:cNvSpPr>
            <a:spLocks noGrp="1"/>
          </p:cNvSpPr>
          <p:nvPr>
            <p:ph type="sldNum" sz="quarter" idx="4"/>
          </p:nvPr>
        </p:nvSpPr>
        <p:spPr bwMode="gray">
          <a:xfrm>
            <a:off x="11568287" y="6426067"/>
            <a:ext cx="330199" cy="193676"/>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5"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fld id="{0C7C1E0B-BD27-42F8-BC6B-2F0636970842}" type="slidenum">
              <a:rPr lang="de-DE" smtClean="0"/>
              <a:pPr/>
              <a:t>‹#›</a:t>
            </a:fld>
            <a:endParaRPr lang="de-DE"/>
          </a:p>
        </p:txBody>
      </p:sp>
    </p:spTree>
    <p:extLst>
      <p:ext uri="{BB962C8B-B14F-4D97-AF65-F5344CB8AC3E}">
        <p14:creationId xmlns:p14="http://schemas.microsoft.com/office/powerpoint/2010/main" val="263343886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1" r:id="rId15"/>
    <p:sldLayoutId id="2147483812" r:id="rId16"/>
    <p:sldLayoutId id="2147483813" r:id="rId17"/>
    <p:sldLayoutId id="2147483814" r:id="rId18"/>
    <p:sldLayoutId id="2147483815" r:id="rId19"/>
    <p:sldLayoutId id="2147483816" r:id="rId20"/>
    <p:sldLayoutId id="2147483944" r:id="rId21"/>
  </p:sldLayoutIdLst>
  <p:transition advClick="0" advTm="0">
    <p:fade/>
  </p:transition>
  <p:hf hdr="0" dt="0"/>
  <p:txStyles>
    <p:titleStyle>
      <a:lvl1pPr algn="l" defTabSz="1088502" rtl="0" eaLnBrk="1" latinLnBrk="0" hangingPunct="1">
        <a:spcBef>
          <a:spcPct val="0"/>
        </a:spcBef>
        <a:buNone/>
        <a:defRPr sz="2800" b="1" kern="1200" cap="all" baseline="0">
          <a:solidFill>
            <a:schemeClr val="accent1"/>
          </a:solidFill>
          <a:latin typeface="+mj-lt"/>
          <a:ea typeface="+mj-ea"/>
          <a:cs typeface="+mj-cs"/>
        </a:defRPr>
      </a:lvl1pPr>
    </p:titleStyle>
    <p:bodyStyle>
      <a:lvl1pPr marL="0" indent="0" algn="l" defTabSz="1088502" rtl="0" eaLnBrk="1" latinLnBrk="0" hangingPunct="1">
        <a:lnSpc>
          <a:spcPct val="130000"/>
        </a:lnSpc>
        <a:spcBef>
          <a:spcPts val="0"/>
        </a:spcBef>
        <a:buFontTx/>
        <a:buNone/>
        <a:defRPr sz="1800" kern="1200">
          <a:solidFill>
            <a:schemeClr val="tx1"/>
          </a:solidFill>
          <a:latin typeface="+mn-lt"/>
          <a:ea typeface="+mn-ea"/>
          <a:cs typeface="+mn-cs"/>
        </a:defRPr>
      </a:lvl1pPr>
      <a:lvl2pPr marL="18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3224" y="262470"/>
            <a:ext cx="11354771" cy="503050"/>
          </a:xfrm>
          <a:prstGeom prst="rect">
            <a:avLst/>
          </a:prstGeom>
        </p:spPr>
        <p:txBody>
          <a:bodyPr vert="horz" lIns="0" tIns="0" rIns="0" bIns="0" rtlCol="0" anchor="b">
            <a:noAutofit/>
          </a:bodyPr>
          <a:lstStyle/>
          <a:p>
            <a:r>
              <a:rPr lang="de-DE"/>
              <a:t>Titelmasterformat durch Klicken bearbeiten</a:t>
            </a:r>
          </a:p>
        </p:txBody>
      </p:sp>
      <p:sp>
        <p:nvSpPr>
          <p:cNvPr id="3" name="Textplatzhalter 2"/>
          <p:cNvSpPr>
            <a:spLocks noGrp="1"/>
          </p:cNvSpPr>
          <p:nvPr>
            <p:ph type="body" idx="1"/>
          </p:nvPr>
        </p:nvSpPr>
        <p:spPr bwMode="gray">
          <a:xfrm>
            <a:off x="407196" y="1326455"/>
            <a:ext cx="11350800" cy="4918807"/>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bwMode="gray">
          <a:xfrm>
            <a:off x="407196" y="6416724"/>
            <a:ext cx="926304" cy="193495"/>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5" indent="0">
              <a:defRPr sz="1100">
                <a:noFill/>
              </a:defRPr>
            </a:lvl6pPr>
            <a:lvl7pPr marL="0" indent="0">
              <a:defRPr sz="1100">
                <a:noFill/>
              </a:defRPr>
            </a:lvl7pPr>
            <a:lvl8pPr marL="0" indent="0">
              <a:defRPr sz="1100">
                <a:noFill/>
              </a:defRPr>
            </a:lvl8pPr>
            <a:lvl9pPr marL="0" indent="0">
              <a:defRPr sz="1100">
                <a:noFill/>
              </a:defRPr>
            </a:lvl9pPr>
          </a:lstStyle>
          <a:p>
            <a:endParaRPr lang="de-DE"/>
          </a:p>
        </p:txBody>
      </p:sp>
      <p:sp>
        <p:nvSpPr>
          <p:cNvPr id="5" name="Fußzeilenplatzhalter 4"/>
          <p:cNvSpPr>
            <a:spLocks noGrp="1"/>
          </p:cNvSpPr>
          <p:nvPr>
            <p:ph type="ftr" sz="quarter" idx="3"/>
          </p:nvPr>
        </p:nvSpPr>
        <p:spPr bwMode="gray">
          <a:xfrm>
            <a:off x="1450181" y="6416543"/>
            <a:ext cx="10003013" cy="193676"/>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5" indent="0" algn="r">
              <a:tabLst/>
              <a:defRPr sz="1100">
                <a:solidFill>
                  <a:srgbClr val="965AA0"/>
                </a:solidFill>
              </a:defRPr>
            </a:lvl7pPr>
            <a:lvl8pPr marL="3175" indent="0" algn="r">
              <a:defRPr sz="1100">
                <a:solidFill>
                  <a:srgbClr val="965AA0"/>
                </a:solidFill>
              </a:defRPr>
            </a:lvl8pPr>
            <a:lvl9pPr marL="0" indent="0" algn="r">
              <a:defRPr sz="1100">
                <a:solidFill>
                  <a:srgbClr val="965AA0"/>
                </a:solidFill>
              </a:defRPr>
            </a:lvl9pPr>
          </a:lstStyle>
          <a:p>
            <a:r>
              <a:rPr lang="de-DE"/>
              <a:t>Schwarz Group // Corporate Presentation //</a:t>
            </a:r>
          </a:p>
        </p:txBody>
      </p:sp>
      <p:sp>
        <p:nvSpPr>
          <p:cNvPr id="6" name="Foliennummernplatzhalter 5"/>
          <p:cNvSpPr>
            <a:spLocks noGrp="1"/>
          </p:cNvSpPr>
          <p:nvPr>
            <p:ph type="sldNum" sz="quarter" idx="4"/>
          </p:nvPr>
        </p:nvSpPr>
        <p:spPr bwMode="gray">
          <a:xfrm>
            <a:off x="11568287" y="6426067"/>
            <a:ext cx="330199" cy="193676"/>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5"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fld id="{0C7C1E0B-BD27-42F8-BC6B-2F0636970842}" type="slidenum">
              <a:rPr lang="de-DE" smtClean="0"/>
              <a:pPr/>
              <a:t>‹#›</a:t>
            </a:fld>
            <a:endParaRPr lang="de-DE"/>
          </a:p>
        </p:txBody>
      </p:sp>
    </p:spTree>
    <p:extLst>
      <p:ext uri="{BB962C8B-B14F-4D97-AF65-F5344CB8AC3E}">
        <p14:creationId xmlns:p14="http://schemas.microsoft.com/office/powerpoint/2010/main" val="3279025809"/>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932" r:id="rId15"/>
    <p:sldLayoutId id="2147483940" r:id="rId16"/>
  </p:sldLayoutIdLst>
  <p:transition>
    <p:fade/>
  </p:transition>
  <p:hf hdr="0" dt="0"/>
  <p:txStyles>
    <p:titleStyle>
      <a:lvl1pPr algn="l" defTabSz="1088502" rtl="0" eaLnBrk="1" latinLnBrk="0" hangingPunct="1">
        <a:spcBef>
          <a:spcPct val="0"/>
        </a:spcBef>
        <a:buNone/>
        <a:defRPr sz="2800" b="1" kern="1200" cap="all" baseline="0">
          <a:solidFill>
            <a:schemeClr val="accent1"/>
          </a:solidFill>
          <a:latin typeface="+mj-lt"/>
          <a:ea typeface="+mj-ea"/>
          <a:cs typeface="+mj-cs"/>
        </a:defRPr>
      </a:lvl1pPr>
    </p:titleStyle>
    <p:bodyStyle>
      <a:lvl1pPr marL="0" indent="0" algn="l" defTabSz="1088502" rtl="0" eaLnBrk="1" latinLnBrk="0" hangingPunct="1">
        <a:lnSpc>
          <a:spcPct val="130000"/>
        </a:lnSpc>
        <a:spcBef>
          <a:spcPts val="0"/>
        </a:spcBef>
        <a:buFontTx/>
        <a:buNone/>
        <a:defRPr sz="1800" kern="1200">
          <a:solidFill>
            <a:schemeClr val="tx1"/>
          </a:solidFill>
          <a:latin typeface="+mn-lt"/>
          <a:ea typeface="+mn-ea"/>
          <a:cs typeface="+mn-cs"/>
        </a:defRPr>
      </a:lvl1pPr>
      <a:lvl2pPr marL="18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F07F0A9-382D-45FE-B379-1DAAD08FB38E}"/>
              </a:ext>
            </a:extLst>
          </p:cNvPr>
          <p:cNvGraphicFramePr>
            <a:graphicFrameLocks noChangeAspect="1"/>
          </p:cNvGraphicFramePr>
          <p:nvPr userDrawn="1">
            <p:custDataLst>
              <p:tags r:id="rId18"/>
            </p:custDataLst>
            <p:extLst>
              <p:ext uri="{D42A27DB-BD31-4B8C-83A1-F6EECF244321}">
                <p14:modId xmlns:p14="http://schemas.microsoft.com/office/powerpoint/2010/main" val="206250748"/>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20" imgW="425" imgH="426" progId="TCLayout.ActiveDocument.1">
                  <p:embed/>
                </p:oleObj>
              </mc:Choice>
              <mc:Fallback>
                <p:oleObj name="think-cell Folie" r:id="rId20" imgW="425" imgH="426" progId="TCLayout.ActiveDocument.1">
                  <p:embed/>
                  <p:pic>
                    <p:nvPicPr>
                      <p:cNvPr id="5" name="Objekt 4" hidden="1">
                        <a:extLst>
                          <a:ext uri="{FF2B5EF4-FFF2-40B4-BE49-F238E27FC236}">
                            <a16:creationId xmlns:a16="http://schemas.microsoft.com/office/drawing/2014/main" id="{EF07F0A9-382D-45FE-B379-1DAAD08FB38E}"/>
                          </a:ext>
                        </a:extLst>
                      </p:cNvPr>
                      <p:cNvPicPr/>
                      <p:nvPr/>
                    </p:nvPicPr>
                    <p:blipFill>
                      <a:blip r:embed="rId21"/>
                      <a:stretch>
                        <a:fillRect/>
                      </a:stretch>
                    </p:blipFill>
                    <p:spPr>
                      <a:xfrm>
                        <a:off x="1587" y="1589"/>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3F6FEBD-1BA6-4409-90EA-7631638CECCB}"/>
              </a:ext>
            </a:extLst>
          </p:cNvPr>
          <p:cNvSpPr/>
          <p:nvPr userDrawn="1">
            <p:custDataLst>
              <p:tags r:id="rId19"/>
            </p:custDataLst>
          </p:nvPr>
        </p:nvSpPr>
        <p:spPr>
          <a:xfrm>
            <a:off x="0" y="0"/>
            <a:ext cx="158709" cy="158787"/>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999" b="0" i="0" baseline="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0" name="Line 12">
            <a:extLst>
              <a:ext uri="{FF2B5EF4-FFF2-40B4-BE49-F238E27FC236}">
                <a16:creationId xmlns:a16="http://schemas.microsoft.com/office/drawing/2014/main" id="{2BD66F38-EB14-1F42-8A36-CBE33ECD111D}"/>
              </a:ext>
            </a:extLst>
          </p:cNvPr>
          <p:cNvSpPr>
            <a:spLocks noChangeShapeType="1"/>
          </p:cNvSpPr>
          <p:nvPr userDrawn="1"/>
        </p:nvSpPr>
        <p:spPr bwMode="gray">
          <a:xfrm>
            <a:off x="451007" y="6275263"/>
            <a:ext cx="10976812" cy="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00" noProof="0"/>
          </a:p>
        </p:txBody>
      </p:sp>
      <p:pic>
        <p:nvPicPr>
          <p:cNvPr id="16" name="Picture 15">
            <a:extLst>
              <a:ext uri="{FF2B5EF4-FFF2-40B4-BE49-F238E27FC236}">
                <a16:creationId xmlns:a16="http://schemas.microsoft.com/office/drawing/2014/main" id="{A48B2DD1-72CC-0B49-9851-B9FD70C701DB}"/>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37548" y="6326065"/>
            <a:ext cx="1165447" cy="415729"/>
          </a:xfrm>
          <a:prstGeom prst="rect">
            <a:avLst/>
          </a:prstGeom>
        </p:spPr>
      </p:pic>
      <p:sp>
        <p:nvSpPr>
          <p:cNvPr id="2" name="Text Placeholder 1">
            <a:extLst>
              <a:ext uri="{FF2B5EF4-FFF2-40B4-BE49-F238E27FC236}">
                <a16:creationId xmlns:a16="http://schemas.microsoft.com/office/drawing/2014/main" id="{C140C0BD-1CFB-B448-B477-C0E8BFD2CFF6}"/>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a:extLst>
              <a:ext uri="{FF2B5EF4-FFF2-40B4-BE49-F238E27FC236}">
                <a16:creationId xmlns:a16="http://schemas.microsoft.com/office/drawing/2014/main" id="{95FDF7D0-60C0-C542-B75E-DB8E71727684}"/>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17"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9"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866953847"/>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264"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66" indent="-228566" algn="l" defTabSz="914264" rtl="0" eaLnBrk="1" latinLnBrk="0" hangingPunct="1">
        <a:lnSpc>
          <a:spcPct val="90000"/>
        </a:lnSpc>
        <a:spcBef>
          <a:spcPts val="1000"/>
        </a:spcBef>
        <a:buClr>
          <a:schemeClr val="accent1"/>
        </a:buClr>
        <a:buFont typeface="Arial" panose="020B0604020202020204" pitchFamily="34" charset="0"/>
        <a:buChar char="•"/>
        <a:defRPr sz="2399" kern="1200">
          <a:solidFill>
            <a:schemeClr val="tx1"/>
          </a:solidFill>
          <a:latin typeface="+mj-lt"/>
          <a:ea typeface="+mn-ea"/>
          <a:cs typeface="+mn-cs"/>
        </a:defRPr>
      </a:lvl1pPr>
      <a:lvl2pPr marL="685696" indent="-228566" algn="l" defTabSz="914264" rtl="0" eaLnBrk="1" latinLnBrk="0" hangingPunct="1">
        <a:lnSpc>
          <a:spcPct val="90000"/>
        </a:lnSpc>
        <a:spcBef>
          <a:spcPts val="500"/>
        </a:spcBef>
        <a:buClr>
          <a:schemeClr val="accent1"/>
        </a:buClr>
        <a:buFont typeface="Arial" panose="020B0604020202020204" pitchFamily="34" charset="0"/>
        <a:buChar char="•"/>
        <a:defRPr sz="1799" kern="1200">
          <a:solidFill>
            <a:schemeClr val="tx1"/>
          </a:solidFill>
          <a:latin typeface="+mj-lt"/>
          <a:ea typeface="+mn-ea"/>
          <a:cs typeface="+mn-cs"/>
        </a:defRPr>
      </a:lvl2pPr>
      <a:lvl3pPr marL="1142829"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3pPr>
      <a:lvl4pPr marL="1599960"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4pPr>
      <a:lvl5pPr marL="2057093"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5pPr>
      <a:lvl6pPr marL="2514224"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5"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264" rtl="0" eaLnBrk="1" latinLnBrk="0" hangingPunct="1">
        <a:defRPr sz="1799" kern="1200">
          <a:solidFill>
            <a:schemeClr val="tx1"/>
          </a:solidFill>
          <a:latin typeface="+mn-lt"/>
          <a:ea typeface="+mn-ea"/>
          <a:cs typeface="+mn-cs"/>
        </a:defRPr>
      </a:lvl1pPr>
      <a:lvl2pPr marL="457133" algn="l" defTabSz="914264" rtl="0" eaLnBrk="1" latinLnBrk="0" hangingPunct="1">
        <a:defRPr sz="1799" kern="1200">
          <a:solidFill>
            <a:schemeClr val="tx1"/>
          </a:solidFill>
          <a:latin typeface="+mn-lt"/>
          <a:ea typeface="+mn-ea"/>
          <a:cs typeface="+mn-cs"/>
        </a:defRPr>
      </a:lvl2pPr>
      <a:lvl3pPr marL="914264" algn="l" defTabSz="914264" rtl="0" eaLnBrk="1" latinLnBrk="0" hangingPunct="1">
        <a:defRPr sz="1799" kern="1200">
          <a:solidFill>
            <a:schemeClr val="tx1"/>
          </a:solidFill>
          <a:latin typeface="+mn-lt"/>
          <a:ea typeface="+mn-ea"/>
          <a:cs typeface="+mn-cs"/>
        </a:defRPr>
      </a:lvl3pPr>
      <a:lvl4pPr marL="1371395" algn="l" defTabSz="914264" rtl="0" eaLnBrk="1" latinLnBrk="0" hangingPunct="1">
        <a:defRPr sz="1799" kern="1200">
          <a:solidFill>
            <a:schemeClr val="tx1"/>
          </a:solidFill>
          <a:latin typeface="+mn-lt"/>
          <a:ea typeface="+mn-ea"/>
          <a:cs typeface="+mn-cs"/>
        </a:defRPr>
      </a:lvl4pPr>
      <a:lvl5pPr marL="1828526" algn="l" defTabSz="914264" rtl="0" eaLnBrk="1" latinLnBrk="0" hangingPunct="1">
        <a:defRPr sz="1799" kern="1200">
          <a:solidFill>
            <a:schemeClr val="tx1"/>
          </a:solidFill>
          <a:latin typeface="+mn-lt"/>
          <a:ea typeface="+mn-ea"/>
          <a:cs typeface="+mn-cs"/>
        </a:defRPr>
      </a:lvl5pPr>
      <a:lvl6pPr marL="2285656" algn="l" defTabSz="914264" rtl="0" eaLnBrk="1" latinLnBrk="0" hangingPunct="1">
        <a:defRPr sz="1799" kern="1200">
          <a:solidFill>
            <a:schemeClr val="tx1"/>
          </a:solidFill>
          <a:latin typeface="+mn-lt"/>
          <a:ea typeface="+mn-ea"/>
          <a:cs typeface="+mn-cs"/>
        </a:defRPr>
      </a:lvl6pPr>
      <a:lvl7pPr marL="2742790" algn="l" defTabSz="914264" rtl="0" eaLnBrk="1" latinLnBrk="0" hangingPunct="1">
        <a:defRPr sz="1799" kern="1200">
          <a:solidFill>
            <a:schemeClr val="tx1"/>
          </a:solidFill>
          <a:latin typeface="+mn-lt"/>
          <a:ea typeface="+mn-ea"/>
          <a:cs typeface="+mn-cs"/>
        </a:defRPr>
      </a:lvl7pPr>
      <a:lvl8pPr marL="3199920" algn="l" defTabSz="914264" rtl="0" eaLnBrk="1" latinLnBrk="0" hangingPunct="1">
        <a:defRPr sz="1799" kern="1200">
          <a:solidFill>
            <a:schemeClr val="tx1"/>
          </a:solidFill>
          <a:latin typeface="+mn-lt"/>
          <a:ea typeface="+mn-ea"/>
          <a:cs typeface="+mn-cs"/>
        </a:defRPr>
      </a:lvl8pPr>
      <a:lvl9pPr marL="3657053" algn="l" defTabSz="91426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45">
          <p15:clr>
            <a:srgbClr val="FBAE40"/>
          </p15:clr>
        </p15:guide>
        <p15:guide id="2" pos="414">
          <p15:clr>
            <a:srgbClr val="FBAE4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6.xml"/></Relationships>
</file>

<file path=ppt/slides/_rels/slide1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jpeg"/></Relationships>
</file>

<file path=ppt/slides/_rels/slide11.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image" Target="../media/image78.png"/><Relationship Id="rId7" Type="http://schemas.openxmlformats.org/officeDocument/2006/relationships/image" Target="../media/image82.jpeg"/><Relationship Id="rId2" Type="http://schemas.openxmlformats.org/officeDocument/2006/relationships/notesSlide" Target="../notesSlides/notesSlide6.xml"/><Relationship Id="rId1" Type="http://schemas.openxmlformats.org/officeDocument/2006/relationships/slideLayout" Target="../slideLayouts/slideLayout80.xml"/><Relationship Id="rId6" Type="http://schemas.openxmlformats.org/officeDocument/2006/relationships/image" Target="../media/image81.jpeg"/><Relationship Id="rId5" Type="http://schemas.openxmlformats.org/officeDocument/2006/relationships/image" Target="../media/image80.svg"/><Relationship Id="rId4" Type="http://schemas.openxmlformats.org/officeDocument/2006/relationships/image" Target="../media/image79.png"/><Relationship Id="rId9" Type="http://schemas.openxmlformats.org/officeDocument/2006/relationships/image" Target="../media/image84.jpeg"/></Relationships>
</file>

<file path=ppt/slides/_rels/slide1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85.jpeg"/><Relationship Id="rId7"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80.xml"/><Relationship Id="rId6" Type="http://schemas.openxmlformats.org/officeDocument/2006/relationships/image" Target="../media/image81.jpeg"/><Relationship Id="rId5" Type="http://schemas.openxmlformats.org/officeDocument/2006/relationships/image" Target="../media/image86.jpeg"/><Relationship Id="rId4" Type="http://schemas.openxmlformats.org/officeDocument/2006/relationships/image" Target="../media/image82.jpeg"/><Relationship Id="rId9" Type="http://schemas.openxmlformats.org/officeDocument/2006/relationships/image" Target="../media/image80.svg"/></Relationships>
</file>

<file path=ppt/slides/_rels/slide13.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80.svg"/><Relationship Id="rId2" Type="http://schemas.openxmlformats.org/officeDocument/2006/relationships/notesSlide" Target="../notesSlides/notesSlide8.xml"/><Relationship Id="rId1" Type="http://schemas.openxmlformats.org/officeDocument/2006/relationships/slideLayout" Target="../slideLayouts/slideLayout101.xml"/><Relationship Id="rId6" Type="http://schemas.openxmlformats.org/officeDocument/2006/relationships/image" Target="../media/image79.png"/><Relationship Id="rId5" Type="http://schemas.openxmlformats.org/officeDocument/2006/relationships/image" Target="../media/image89.png"/><Relationship Id="rId4" Type="http://schemas.openxmlformats.org/officeDocument/2006/relationships/image" Target="../media/image88.svg"/></Relationships>
</file>

<file path=ppt/slides/_rels/slide1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90.jpeg"/><Relationship Id="rId7" Type="http://schemas.openxmlformats.org/officeDocument/2006/relationships/image" Target="../media/image94.png"/><Relationship Id="rId2" Type="http://schemas.openxmlformats.org/officeDocument/2006/relationships/notesSlide" Target="../notesSlides/notesSlide9.xml"/><Relationship Id="rId1" Type="http://schemas.openxmlformats.org/officeDocument/2006/relationships/slideLayout" Target="../slideLayouts/slideLayout101.xml"/><Relationship Id="rId6" Type="http://schemas.openxmlformats.org/officeDocument/2006/relationships/image" Target="../media/image93.jpeg"/><Relationship Id="rId5" Type="http://schemas.openxmlformats.org/officeDocument/2006/relationships/image" Target="../media/image92.jpeg"/><Relationship Id="rId4" Type="http://schemas.openxmlformats.org/officeDocument/2006/relationships/image" Target="../media/image91.jpeg"/><Relationship Id="rId9" Type="http://schemas.openxmlformats.org/officeDocument/2006/relationships/image" Target="../media/image80.svg"/></Relationships>
</file>

<file path=ppt/slides/_rels/slide15.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90.jpeg"/><Relationship Id="rId7" Type="http://schemas.openxmlformats.org/officeDocument/2006/relationships/image" Target="../media/image94.png"/><Relationship Id="rId2" Type="http://schemas.openxmlformats.org/officeDocument/2006/relationships/notesSlide" Target="../notesSlides/notesSlide10.xml"/><Relationship Id="rId1" Type="http://schemas.openxmlformats.org/officeDocument/2006/relationships/slideLayout" Target="../slideLayouts/slideLayout80.xml"/><Relationship Id="rId6" Type="http://schemas.openxmlformats.org/officeDocument/2006/relationships/image" Target="../media/image93.jpeg"/><Relationship Id="rId5" Type="http://schemas.openxmlformats.org/officeDocument/2006/relationships/image" Target="../media/image92.jpeg"/><Relationship Id="rId4" Type="http://schemas.openxmlformats.org/officeDocument/2006/relationships/image" Target="../media/image91.jpeg"/><Relationship Id="rId9" Type="http://schemas.openxmlformats.org/officeDocument/2006/relationships/image" Target="../media/image80.svg"/></Relationships>
</file>

<file path=ppt/slides/_rels/slide1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jpeg"/></Relationships>
</file>

<file path=ppt/slides/_rels/slide17.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image" Target="../media/image96.png"/><Relationship Id="rId1" Type="http://schemas.openxmlformats.org/officeDocument/2006/relationships/slideLayout" Target="../slideLayouts/slideLayout3.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jpe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s/_rels/slide18.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17.png"/><Relationship Id="rId3" Type="http://schemas.openxmlformats.org/officeDocument/2006/relationships/image" Target="../media/image107.jpeg"/><Relationship Id="rId7" Type="http://schemas.openxmlformats.org/officeDocument/2006/relationships/image" Target="../media/image111.png"/><Relationship Id="rId12" Type="http://schemas.openxmlformats.org/officeDocument/2006/relationships/image" Target="../media/image116.png"/><Relationship Id="rId2" Type="http://schemas.openxmlformats.org/officeDocument/2006/relationships/notesSlide" Target="../notesSlides/notesSlide12.xml"/><Relationship Id="rId1" Type="http://schemas.openxmlformats.org/officeDocument/2006/relationships/slideLayout" Target="../slideLayouts/slideLayout101.xml"/><Relationship Id="rId6" Type="http://schemas.openxmlformats.org/officeDocument/2006/relationships/image" Target="../media/image110.jpeg"/><Relationship Id="rId11" Type="http://schemas.openxmlformats.org/officeDocument/2006/relationships/image" Target="../media/image115.png"/><Relationship Id="rId5" Type="http://schemas.openxmlformats.org/officeDocument/2006/relationships/image" Target="../media/image109.jpeg"/><Relationship Id="rId10" Type="http://schemas.openxmlformats.org/officeDocument/2006/relationships/image" Target="../media/image114.png"/><Relationship Id="rId4" Type="http://schemas.openxmlformats.org/officeDocument/2006/relationships/image" Target="../media/image108.jpeg"/><Relationship Id="rId9" Type="http://schemas.openxmlformats.org/officeDocument/2006/relationships/image" Target="../media/image113.jpeg"/></Relationships>
</file>

<file path=ppt/slides/_rels/slide19.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01.xm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1.xml"/><Relationship Id="rId7" Type="http://schemas.openxmlformats.org/officeDocument/2006/relationships/oleObject" Target="../embeddings/oleObject16.bin"/><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notesSlide" Target="../notesSlides/notesSlide15.xml"/><Relationship Id="rId11" Type="http://schemas.openxmlformats.org/officeDocument/2006/relationships/image" Target="../media/image120.png"/><Relationship Id="rId5" Type="http://schemas.openxmlformats.org/officeDocument/2006/relationships/slideLayout" Target="../slideLayouts/slideLayout136.xml"/><Relationship Id="rId10" Type="http://schemas.openxmlformats.org/officeDocument/2006/relationships/image" Target="../media/image62.svg"/><Relationship Id="rId4" Type="http://schemas.openxmlformats.org/officeDocument/2006/relationships/tags" Target="../tags/tag32.xml"/><Relationship Id="rId9" Type="http://schemas.openxmlformats.org/officeDocument/2006/relationships/image" Target="../media/image61.png"/></Relationships>
</file>

<file path=ppt/slides/_rels/slide2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4.xml"/><Relationship Id="rId7" Type="http://schemas.openxmlformats.org/officeDocument/2006/relationships/oleObject" Target="../embeddings/oleObject17.bin"/><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notesSlide" Target="../notesSlides/notesSlide16.xml"/><Relationship Id="rId11" Type="http://schemas.openxmlformats.org/officeDocument/2006/relationships/image" Target="../media/image123.jpeg"/><Relationship Id="rId5" Type="http://schemas.openxmlformats.org/officeDocument/2006/relationships/slideLayout" Target="../slideLayouts/slideLayout140.xml"/><Relationship Id="rId10" Type="http://schemas.openxmlformats.org/officeDocument/2006/relationships/image" Target="../media/image122.jpeg"/><Relationship Id="rId4" Type="http://schemas.openxmlformats.org/officeDocument/2006/relationships/tags" Target="../tags/tag35.xml"/><Relationship Id="rId9" Type="http://schemas.openxmlformats.org/officeDocument/2006/relationships/image" Target="../media/image121.jpeg"/></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58.jpeg"/><Relationship Id="rId5" Type="http://schemas.openxmlformats.org/officeDocument/2006/relationships/image" Target="../media/image60.jpeg"/><Relationship Id="rId4" Type="http://schemas.openxmlformats.org/officeDocument/2006/relationships/image" Target="../media/image59.jpeg"/></Relationships>
</file>

<file path=ppt/slides/_rels/slide25.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124.png"/><Relationship Id="rId7"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127.svg"/><Relationship Id="rId5" Type="http://schemas.openxmlformats.org/officeDocument/2006/relationships/image" Target="../media/image126.png"/><Relationship Id="rId4" Type="http://schemas.openxmlformats.org/officeDocument/2006/relationships/image" Target="../media/image125.sv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36.xml"/></Relationships>
</file>

<file path=ppt/slides/_rels/slide27.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131.jpeg"/><Relationship Id="rId5" Type="http://schemas.openxmlformats.org/officeDocument/2006/relationships/image" Target="../media/image130.jpeg"/><Relationship Id="rId4" Type="http://schemas.openxmlformats.org/officeDocument/2006/relationships/image" Target="../media/image129.jpeg"/></Relationships>
</file>

<file path=ppt/slides/_rels/slide28.xml.rels><?xml version="1.0" encoding="UTF-8" standalone="yes"?>
<Relationships xmlns="http://schemas.openxmlformats.org/package/2006/relationships"><Relationship Id="rId8" Type="http://schemas.openxmlformats.org/officeDocument/2006/relationships/image" Target="../media/image133.svg"/><Relationship Id="rId13" Type="http://schemas.openxmlformats.org/officeDocument/2006/relationships/image" Target="../media/image137.png"/><Relationship Id="rId3" Type="http://schemas.openxmlformats.org/officeDocument/2006/relationships/image" Target="../media/image128.jpeg"/><Relationship Id="rId7" Type="http://schemas.openxmlformats.org/officeDocument/2006/relationships/image" Target="../media/image132.png"/><Relationship Id="rId12" Type="http://schemas.microsoft.com/office/2007/relationships/hdphoto" Target="../media/hdphoto1.wdp"/><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131.jpeg"/><Relationship Id="rId11" Type="http://schemas.openxmlformats.org/officeDocument/2006/relationships/image" Target="../media/image136.png"/><Relationship Id="rId5" Type="http://schemas.openxmlformats.org/officeDocument/2006/relationships/image" Target="../media/image130.jpeg"/><Relationship Id="rId15" Type="http://schemas.openxmlformats.org/officeDocument/2006/relationships/image" Target="../media/image139.png"/><Relationship Id="rId10" Type="http://schemas.openxmlformats.org/officeDocument/2006/relationships/image" Target="../media/image135.svg"/><Relationship Id="rId4" Type="http://schemas.openxmlformats.org/officeDocument/2006/relationships/image" Target="../media/image129.jpeg"/><Relationship Id="rId9" Type="http://schemas.openxmlformats.org/officeDocument/2006/relationships/image" Target="../media/image134.png"/><Relationship Id="rId14" Type="http://schemas.openxmlformats.org/officeDocument/2006/relationships/image" Target="../media/image138.png"/></Relationships>
</file>

<file path=ppt/slides/_rels/slide29.xml.rels><?xml version="1.0" encoding="UTF-8" standalone="yes"?>
<Relationships xmlns="http://schemas.openxmlformats.org/package/2006/relationships"><Relationship Id="rId3" Type="http://schemas.openxmlformats.org/officeDocument/2006/relationships/image" Target="../media/image131.jpeg"/><Relationship Id="rId7" Type="http://schemas.openxmlformats.org/officeDocument/2006/relationships/slide" Target="slide31.xm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130.jpeg"/><Relationship Id="rId5" Type="http://schemas.openxmlformats.org/officeDocument/2006/relationships/image" Target="../media/image128.jpeg"/><Relationship Id="rId4" Type="http://schemas.openxmlformats.org/officeDocument/2006/relationships/image" Target="../media/image129.jpeg"/></Relationships>
</file>

<file path=ppt/slides/_rels/slide3.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emf"/><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svg"/><Relationship Id="rId17" Type="http://schemas.openxmlformats.org/officeDocument/2006/relationships/image" Target="../media/image50.svg"/><Relationship Id="rId2" Type="http://schemas.openxmlformats.org/officeDocument/2006/relationships/notesSlide" Target="../notesSlides/notesSlide1.xml"/><Relationship Id="rId16" Type="http://schemas.openxmlformats.org/officeDocument/2006/relationships/image" Target="../media/image49.png"/><Relationship Id="rId1" Type="http://schemas.openxmlformats.org/officeDocument/2006/relationships/slideLayout" Target="../slideLayouts/slideLayout3.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svg"/><Relationship Id="rId10" Type="http://schemas.openxmlformats.org/officeDocument/2006/relationships/image" Target="../media/image43.svg"/><Relationship Id="rId4" Type="http://schemas.openxmlformats.org/officeDocument/2006/relationships/image" Target="../media/image37.svg"/><Relationship Id="rId9" Type="http://schemas.openxmlformats.org/officeDocument/2006/relationships/image" Target="../media/image42.png"/><Relationship Id="rId14" Type="http://schemas.openxmlformats.org/officeDocument/2006/relationships/image" Target="../media/image47.png"/></Relationships>
</file>

<file path=ppt/slides/_rels/slide3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31.jpeg"/><Relationship Id="rId7" Type="http://schemas.openxmlformats.org/officeDocument/2006/relationships/image" Target="../media/image140.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130.jpeg"/><Relationship Id="rId11" Type="http://schemas.openxmlformats.org/officeDocument/2006/relationships/image" Target="../media/image142.png"/><Relationship Id="rId5" Type="http://schemas.openxmlformats.org/officeDocument/2006/relationships/image" Target="../media/image129.jpeg"/><Relationship Id="rId10" Type="http://schemas.microsoft.com/office/2007/relationships/hdphoto" Target="../media/hdphoto3.wdp"/><Relationship Id="rId4" Type="http://schemas.openxmlformats.org/officeDocument/2006/relationships/image" Target="../media/image128.jpeg"/><Relationship Id="rId9" Type="http://schemas.openxmlformats.org/officeDocument/2006/relationships/image" Target="../media/image141.png"/></Relationships>
</file>

<file path=ppt/slides/_rels/slide31.xml.rels><?xml version="1.0" encoding="UTF-8" standalone="yes"?>
<Relationships xmlns="http://schemas.openxmlformats.org/package/2006/relationships"><Relationship Id="rId8" Type="http://schemas.openxmlformats.org/officeDocument/2006/relationships/image" Target="../media/image144.jpeg"/><Relationship Id="rId3" Type="http://schemas.openxmlformats.org/officeDocument/2006/relationships/image" Target="../media/image128.jpeg"/><Relationship Id="rId7" Type="http://schemas.openxmlformats.org/officeDocument/2006/relationships/image" Target="../media/image143.jpeg"/><Relationship Id="rId12" Type="http://schemas.openxmlformats.org/officeDocument/2006/relationships/image" Target="../media/image148.jpe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131.jpeg"/><Relationship Id="rId11" Type="http://schemas.openxmlformats.org/officeDocument/2006/relationships/image" Target="../media/image147.jpeg"/><Relationship Id="rId5" Type="http://schemas.openxmlformats.org/officeDocument/2006/relationships/image" Target="../media/image129.jpeg"/><Relationship Id="rId10" Type="http://schemas.openxmlformats.org/officeDocument/2006/relationships/image" Target="../media/image146.jpeg"/><Relationship Id="rId4" Type="http://schemas.openxmlformats.org/officeDocument/2006/relationships/image" Target="../media/image130.jpeg"/><Relationship Id="rId9" Type="http://schemas.openxmlformats.org/officeDocument/2006/relationships/image" Target="../media/image145.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7.xml"/></Relationships>
</file>

<file path=ppt/slides/_rels/slide33.xml.rels><?xml version="1.0" encoding="UTF-8" standalone="yes"?>
<Relationships xmlns="http://schemas.openxmlformats.org/package/2006/relationships"><Relationship Id="rId8" Type="http://schemas.openxmlformats.org/officeDocument/2006/relationships/image" Target="../media/image154.jpeg"/><Relationship Id="rId3" Type="http://schemas.openxmlformats.org/officeDocument/2006/relationships/image" Target="../media/image149.png"/><Relationship Id="rId7" Type="http://schemas.openxmlformats.org/officeDocument/2006/relationships/image" Target="../media/image153.png"/><Relationship Id="rId2" Type="http://schemas.openxmlformats.org/officeDocument/2006/relationships/notesSlide" Target="../notesSlides/notesSlide26.xml"/><Relationship Id="rId1" Type="http://schemas.openxmlformats.org/officeDocument/2006/relationships/slideLayout" Target="../slideLayouts/slideLayout112.xml"/><Relationship Id="rId6" Type="http://schemas.openxmlformats.org/officeDocument/2006/relationships/image" Target="../media/image152.pn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png"/><Relationship Id="rId9" Type="http://schemas.openxmlformats.org/officeDocument/2006/relationships/image" Target="../media/image155.png"/></Relationships>
</file>

<file path=ppt/slides/_rels/slide34.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7.jpeg"/><Relationship Id="rId7" Type="http://schemas.openxmlformats.org/officeDocument/2006/relationships/image" Target="../media/image161.jpeg"/><Relationship Id="rId2" Type="http://schemas.openxmlformats.org/officeDocument/2006/relationships/notesSlide" Target="../notesSlides/notesSlide27.xml"/><Relationship Id="rId1" Type="http://schemas.openxmlformats.org/officeDocument/2006/relationships/slideLayout" Target="../slideLayouts/slideLayout102.xml"/><Relationship Id="rId6" Type="http://schemas.openxmlformats.org/officeDocument/2006/relationships/image" Target="../media/image160.jpeg"/><Relationship Id="rId5" Type="http://schemas.openxmlformats.org/officeDocument/2006/relationships/image" Target="../media/image159.png"/><Relationship Id="rId4" Type="http://schemas.openxmlformats.org/officeDocument/2006/relationships/image" Target="../media/image158.jpeg"/></Relationships>
</file>

<file path=ppt/slides/_rels/slide35.xml.rels><?xml version="1.0" encoding="UTF-8" standalone="yes"?>
<Relationships xmlns="http://schemas.openxmlformats.org/package/2006/relationships"><Relationship Id="rId8" Type="http://schemas.openxmlformats.org/officeDocument/2006/relationships/image" Target="../media/image168.png"/><Relationship Id="rId13" Type="http://schemas.openxmlformats.org/officeDocument/2006/relationships/image" Target="../media/image173.png"/><Relationship Id="rId18" Type="http://schemas.openxmlformats.org/officeDocument/2006/relationships/image" Target="../media/image178.png"/><Relationship Id="rId3" Type="http://schemas.openxmlformats.org/officeDocument/2006/relationships/image" Target="../media/image163.png"/><Relationship Id="rId7" Type="http://schemas.openxmlformats.org/officeDocument/2006/relationships/image" Target="../media/image167.png"/><Relationship Id="rId12" Type="http://schemas.openxmlformats.org/officeDocument/2006/relationships/image" Target="../media/image172.png"/><Relationship Id="rId17" Type="http://schemas.openxmlformats.org/officeDocument/2006/relationships/image" Target="../media/image177.jpeg"/><Relationship Id="rId2" Type="http://schemas.openxmlformats.org/officeDocument/2006/relationships/notesSlide" Target="../notesSlides/notesSlide28.xml"/><Relationship Id="rId16" Type="http://schemas.openxmlformats.org/officeDocument/2006/relationships/image" Target="../media/image176.png"/><Relationship Id="rId1" Type="http://schemas.openxmlformats.org/officeDocument/2006/relationships/slideLayout" Target="../slideLayouts/slideLayout110.xml"/><Relationship Id="rId6" Type="http://schemas.openxmlformats.org/officeDocument/2006/relationships/image" Target="../media/image166.png"/><Relationship Id="rId11" Type="http://schemas.openxmlformats.org/officeDocument/2006/relationships/image" Target="../media/image171.png"/><Relationship Id="rId5" Type="http://schemas.openxmlformats.org/officeDocument/2006/relationships/image" Target="../media/image165.png"/><Relationship Id="rId15" Type="http://schemas.openxmlformats.org/officeDocument/2006/relationships/image" Target="../media/image175.jpeg"/><Relationship Id="rId10" Type="http://schemas.openxmlformats.org/officeDocument/2006/relationships/image" Target="../media/image170.png"/><Relationship Id="rId19" Type="http://schemas.openxmlformats.org/officeDocument/2006/relationships/image" Target="../media/image179.png"/><Relationship Id="rId4" Type="http://schemas.openxmlformats.org/officeDocument/2006/relationships/image" Target="../media/image164.png"/><Relationship Id="rId9" Type="http://schemas.openxmlformats.org/officeDocument/2006/relationships/image" Target="../media/image169.png"/><Relationship Id="rId14" Type="http://schemas.openxmlformats.org/officeDocument/2006/relationships/image" Target="../media/image174.jpeg"/></Relationships>
</file>

<file path=ppt/slides/_rels/slide36.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notesSlide" Target="../notesSlides/notesSlide29.xml"/><Relationship Id="rId18" Type="http://schemas.openxmlformats.org/officeDocument/2006/relationships/image" Target="../media/image183.png"/><Relationship Id="rId26" Type="http://schemas.openxmlformats.org/officeDocument/2006/relationships/image" Target="../media/image190.png"/><Relationship Id="rId3" Type="http://schemas.openxmlformats.org/officeDocument/2006/relationships/tags" Target="../tags/tag38.xml"/><Relationship Id="rId21" Type="http://schemas.openxmlformats.org/officeDocument/2006/relationships/image" Target="../media/image185.png"/><Relationship Id="rId7" Type="http://schemas.openxmlformats.org/officeDocument/2006/relationships/tags" Target="../tags/tag42.xml"/><Relationship Id="rId12" Type="http://schemas.openxmlformats.org/officeDocument/2006/relationships/slideLayout" Target="../slideLayouts/slideLayout101.xml"/><Relationship Id="rId17" Type="http://schemas.openxmlformats.org/officeDocument/2006/relationships/image" Target="../media/image182.png"/><Relationship Id="rId25" Type="http://schemas.openxmlformats.org/officeDocument/2006/relationships/image" Target="../media/image189.png"/><Relationship Id="rId2" Type="http://schemas.openxmlformats.org/officeDocument/2006/relationships/tags" Target="../tags/tag37.xml"/><Relationship Id="rId16" Type="http://schemas.openxmlformats.org/officeDocument/2006/relationships/image" Target="../media/image181.png"/><Relationship Id="rId20" Type="http://schemas.openxmlformats.org/officeDocument/2006/relationships/image" Target="../media/image184.png"/><Relationship Id="rId1" Type="http://schemas.openxmlformats.org/officeDocument/2006/relationships/vmlDrawing" Target="../drawings/vmlDrawing19.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image" Target="../media/image188.png"/><Relationship Id="rId5" Type="http://schemas.openxmlformats.org/officeDocument/2006/relationships/tags" Target="../tags/tag40.xml"/><Relationship Id="rId15" Type="http://schemas.openxmlformats.org/officeDocument/2006/relationships/image" Target="../media/image180.emf"/><Relationship Id="rId23" Type="http://schemas.openxmlformats.org/officeDocument/2006/relationships/image" Target="../media/image187.png"/><Relationship Id="rId10" Type="http://schemas.openxmlformats.org/officeDocument/2006/relationships/tags" Target="../tags/tag45.xml"/><Relationship Id="rId19" Type="http://schemas.openxmlformats.org/officeDocument/2006/relationships/chart" Target="../charts/chart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18.bin"/><Relationship Id="rId22" Type="http://schemas.openxmlformats.org/officeDocument/2006/relationships/image" Target="../media/image186.png"/></Relationships>
</file>

<file path=ppt/slides/_rels/slide37.xml.rels><?xml version="1.0" encoding="UTF-8" standalone="yes"?>
<Relationships xmlns="http://schemas.openxmlformats.org/package/2006/relationships"><Relationship Id="rId8" Type="http://schemas.openxmlformats.org/officeDocument/2006/relationships/image" Target="../media/image197.png"/><Relationship Id="rId13" Type="http://schemas.openxmlformats.org/officeDocument/2006/relationships/image" Target="../media/image202.svg"/><Relationship Id="rId18" Type="http://schemas.openxmlformats.org/officeDocument/2006/relationships/image" Target="../media/image207.jpeg"/><Relationship Id="rId3" Type="http://schemas.openxmlformats.org/officeDocument/2006/relationships/image" Target="../media/image192.svg"/><Relationship Id="rId7" Type="http://schemas.openxmlformats.org/officeDocument/2006/relationships/image" Target="../media/image196.svg"/><Relationship Id="rId12" Type="http://schemas.openxmlformats.org/officeDocument/2006/relationships/image" Target="../media/image201.png"/><Relationship Id="rId17" Type="http://schemas.openxmlformats.org/officeDocument/2006/relationships/image" Target="../media/image206.png"/><Relationship Id="rId2" Type="http://schemas.openxmlformats.org/officeDocument/2006/relationships/image" Target="../media/image191.png"/><Relationship Id="rId16" Type="http://schemas.openxmlformats.org/officeDocument/2006/relationships/image" Target="../media/image205.jpg"/><Relationship Id="rId1" Type="http://schemas.openxmlformats.org/officeDocument/2006/relationships/slideLayout" Target="../slideLayouts/slideLayout101.xml"/><Relationship Id="rId6" Type="http://schemas.openxmlformats.org/officeDocument/2006/relationships/image" Target="../media/image195.png"/><Relationship Id="rId11" Type="http://schemas.openxmlformats.org/officeDocument/2006/relationships/image" Target="../media/image200.svg"/><Relationship Id="rId5" Type="http://schemas.openxmlformats.org/officeDocument/2006/relationships/image" Target="../media/image194.svg"/><Relationship Id="rId15" Type="http://schemas.openxmlformats.org/officeDocument/2006/relationships/image" Target="../media/image204.jpg"/><Relationship Id="rId10" Type="http://schemas.openxmlformats.org/officeDocument/2006/relationships/image" Target="../media/image199.png"/><Relationship Id="rId4" Type="http://schemas.openxmlformats.org/officeDocument/2006/relationships/image" Target="../media/image193.png"/><Relationship Id="rId9" Type="http://schemas.openxmlformats.org/officeDocument/2006/relationships/image" Target="../media/image198.svg"/><Relationship Id="rId14" Type="http://schemas.openxmlformats.org/officeDocument/2006/relationships/image" Target="../media/image203.png"/></Relationships>
</file>

<file path=ppt/slides/_rels/slide38.xml.rels><?xml version="1.0" encoding="UTF-8" standalone="yes"?>
<Relationships xmlns="http://schemas.openxmlformats.org/package/2006/relationships"><Relationship Id="rId8" Type="http://schemas.openxmlformats.org/officeDocument/2006/relationships/image" Target="../media/image200.svg"/><Relationship Id="rId13" Type="http://schemas.openxmlformats.org/officeDocument/2006/relationships/image" Target="../media/image202.svg"/><Relationship Id="rId18" Type="http://schemas.openxmlformats.org/officeDocument/2006/relationships/image" Target="../media/image198.svg"/><Relationship Id="rId3" Type="http://schemas.openxmlformats.org/officeDocument/2006/relationships/image" Target="../media/image192.svg"/><Relationship Id="rId21" Type="http://schemas.openxmlformats.org/officeDocument/2006/relationships/image" Target="../media/image215.png"/><Relationship Id="rId7" Type="http://schemas.openxmlformats.org/officeDocument/2006/relationships/image" Target="../media/image199.png"/><Relationship Id="rId12" Type="http://schemas.openxmlformats.org/officeDocument/2006/relationships/image" Target="../media/image201.png"/><Relationship Id="rId17" Type="http://schemas.openxmlformats.org/officeDocument/2006/relationships/image" Target="../media/image197.png"/><Relationship Id="rId2" Type="http://schemas.openxmlformats.org/officeDocument/2006/relationships/image" Target="../media/image191.png"/><Relationship Id="rId16" Type="http://schemas.openxmlformats.org/officeDocument/2006/relationships/image" Target="../media/image196.svg"/><Relationship Id="rId20" Type="http://schemas.openxmlformats.org/officeDocument/2006/relationships/image" Target="../media/image214.png"/><Relationship Id="rId1" Type="http://schemas.openxmlformats.org/officeDocument/2006/relationships/slideLayout" Target="../slideLayouts/slideLayout101.xml"/><Relationship Id="rId6" Type="http://schemas.openxmlformats.org/officeDocument/2006/relationships/image" Target="../media/image194.svg"/><Relationship Id="rId11" Type="http://schemas.openxmlformats.org/officeDocument/2006/relationships/image" Target="../media/image211.png"/><Relationship Id="rId24" Type="http://schemas.openxmlformats.org/officeDocument/2006/relationships/image" Target="../media/image218.jpeg"/><Relationship Id="rId5" Type="http://schemas.openxmlformats.org/officeDocument/2006/relationships/image" Target="../media/image193.png"/><Relationship Id="rId15" Type="http://schemas.openxmlformats.org/officeDocument/2006/relationships/image" Target="../media/image195.png"/><Relationship Id="rId23" Type="http://schemas.openxmlformats.org/officeDocument/2006/relationships/image" Target="../media/image217.png"/><Relationship Id="rId10" Type="http://schemas.openxmlformats.org/officeDocument/2006/relationships/image" Target="../media/image210.png"/><Relationship Id="rId19" Type="http://schemas.openxmlformats.org/officeDocument/2006/relationships/image" Target="../media/image213.png"/><Relationship Id="rId4" Type="http://schemas.openxmlformats.org/officeDocument/2006/relationships/image" Target="../media/image208.png"/><Relationship Id="rId9" Type="http://schemas.openxmlformats.org/officeDocument/2006/relationships/image" Target="../media/image209.jpeg"/><Relationship Id="rId14" Type="http://schemas.openxmlformats.org/officeDocument/2006/relationships/image" Target="../media/image212.jpeg"/><Relationship Id="rId22" Type="http://schemas.openxmlformats.org/officeDocument/2006/relationships/image" Target="../media/image216.png"/></Relationships>
</file>

<file path=ppt/slides/_rels/slide39.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30.xml"/><Relationship Id="rId1" Type="http://schemas.openxmlformats.org/officeDocument/2006/relationships/slideLayout" Target="../slideLayouts/slideLayout101.xml"/><Relationship Id="rId4" Type="http://schemas.openxmlformats.org/officeDocument/2006/relationships/image" Target="../media/image220.svg"/></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51.tmp"/><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image" Target="../media/image34.png"/><Relationship Id="rId1" Type="http://schemas.openxmlformats.org/officeDocument/2006/relationships/slideLayout" Target="../slideLayouts/slideLayout110.xml"/></Relationships>
</file>

<file path=ppt/slides/_rels/slide41.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tags" Target="../tags/tag48.xml"/><Relationship Id="rId7" Type="http://schemas.openxmlformats.org/officeDocument/2006/relationships/image" Target="../media/image30.emf"/><Relationship Id="rId2" Type="http://schemas.openxmlformats.org/officeDocument/2006/relationships/tags" Target="../tags/tag47.xml"/><Relationship Id="rId1" Type="http://schemas.openxmlformats.org/officeDocument/2006/relationships/vmlDrawing" Target="../drawings/vmlDrawing20.vml"/><Relationship Id="rId6" Type="http://schemas.openxmlformats.org/officeDocument/2006/relationships/oleObject" Target="../embeddings/oleObject19.bin"/><Relationship Id="rId5" Type="http://schemas.openxmlformats.org/officeDocument/2006/relationships/notesSlide" Target="../notesSlides/notesSlide31.xml"/><Relationship Id="rId4" Type="http://schemas.openxmlformats.org/officeDocument/2006/relationships/slideLayout" Target="../slideLayouts/slideLayout10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0.xml"/></Relationships>
</file>

<file path=ppt/slides/_rels/slide47.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107.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49.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34.xml"/><Relationship Id="rId1" Type="http://schemas.openxmlformats.org/officeDocument/2006/relationships/slideLayout" Target="../slideLayouts/slideLayout101.xml"/><Relationship Id="rId4" Type="http://schemas.openxmlformats.org/officeDocument/2006/relationships/image" Target="../media/image220.svg"/></Relationships>
</file>

<file path=ppt/slides/_rels/slide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28.xml"/><Relationship Id="rId7" Type="http://schemas.openxmlformats.org/officeDocument/2006/relationships/image" Target="../media/image53.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2.png"/><Relationship Id="rId5" Type="http://schemas.openxmlformats.org/officeDocument/2006/relationships/slideLayout" Target="../slideLayouts/slideLayout3.xml"/><Relationship Id="rId4" Type="http://schemas.openxmlformats.org/officeDocument/2006/relationships/tags" Target="../tags/tag29.xml"/><Relationship Id="rId9" Type="http://schemas.openxmlformats.org/officeDocument/2006/relationships/image" Target="../media/image55.png"/></Relationships>
</file>

<file path=ppt/slides/_rels/slide6.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jpeg"/></Relationships>
</file>

<file path=ppt/slides/_rels/slide8.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sv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64.svg"/><Relationship Id="rId11" Type="http://schemas.openxmlformats.org/officeDocument/2006/relationships/image" Target="../media/image69.png"/><Relationship Id="rId5" Type="http://schemas.openxmlformats.org/officeDocument/2006/relationships/image" Target="../media/image63.png"/><Relationship Id="rId10" Type="http://schemas.openxmlformats.org/officeDocument/2006/relationships/image" Target="../media/image68.svg"/><Relationship Id="rId4" Type="http://schemas.openxmlformats.org/officeDocument/2006/relationships/image" Target="../media/image62.svg"/><Relationship Id="rId9" Type="http://schemas.openxmlformats.org/officeDocument/2006/relationships/image" Target="../media/image67.png"/></Relationships>
</file>

<file path=ppt/slides/_rels/slide9.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3" Type="http://schemas.openxmlformats.org/officeDocument/2006/relationships/image" Target="../media/image65.png"/><Relationship Id="rId7" Type="http://schemas.openxmlformats.org/officeDocument/2006/relationships/image" Target="../media/image61.png"/><Relationship Id="rId12" Type="http://schemas.openxmlformats.org/officeDocument/2006/relationships/image" Target="../media/image74.svg"/><Relationship Id="rId17" Type="http://schemas.openxmlformats.org/officeDocument/2006/relationships/image" Target="../media/image34.png"/><Relationship Id="rId2" Type="http://schemas.openxmlformats.org/officeDocument/2006/relationships/notesSlide" Target="../notesSlides/notesSlide4.xml"/><Relationship Id="rId16" Type="http://schemas.openxmlformats.org/officeDocument/2006/relationships/image" Target="../media/image76.svg"/><Relationship Id="rId1" Type="http://schemas.openxmlformats.org/officeDocument/2006/relationships/slideLayout" Target="../slideLayouts/slideLayout3.xml"/><Relationship Id="rId6" Type="http://schemas.openxmlformats.org/officeDocument/2006/relationships/image" Target="../media/image64.svg"/><Relationship Id="rId11" Type="http://schemas.openxmlformats.org/officeDocument/2006/relationships/image" Target="../media/image73.png"/><Relationship Id="rId5" Type="http://schemas.openxmlformats.org/officeDocument/2006/relationships/image" Target="../media/image63.png"/><Relationship Id="rId15" Type="http://schemas.openxmlformats.org/officeDocument/2006/relationships/image" Target="../media/image75.png"/><Relationship Id="rId10" Type="http://schemas.openxmlformats.org/officeDocument/2006/relationships/image" Target="../media/image72.svg"/><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6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559F8404-6E20-41B8-B7A9-48A0235EE70B}"/>
              </a:ext>
            </a:extLst>
          </p:cNvPr>
          <p:cNvSpPr>
            <a:spLocks noGrp="1"/>
          </p:cNvSpPr>
          <p:nvPr>
            <p:ph type="subTitle" idx="1"/>
          </p:nvPr>
        </p:nvSpPr>
        <p:spPr/>
        <p:txBody>
          <a:bodyPr/>
          <a:lstStyle/>
          <a:p>
            <a:r>
              <a:rPr lang="de-DE" dirty="0"/>
              <a:t>Schwarz </a:t>
            </a:r>
            <a:r>
              <a:rPr lang="de-DE" dirty="0" err="1"/>
              <a:t>it</a:t>
            </a:r>
            <a:r>
              <a:rPr lang="de-DE" dirty="0"/>
              <a:t> </a:t>
            </a:r>
            <a:r>
              <a:rPr lang="de-DE" dirty="0" err="1"/>
              <a:t>bulgaria</a:t>
            </a:r>
            <a:endParaRPr lang="de-DE" dirty="0"/>
          </a:p>
          <a:p>
            <a:r>
              <a:rPr lang="de-DE" sz="3200" dirty="0"/>
              <a:t>Company </a:t>
            </a:r>
            <a:r>
              <a:rPr lang="de-DE" sz="3200" dirty="0" err="1"/>
              <a:t>overview</a:t>
            </a:r>
            <a:endParaRPr lang="de-DE" sz="3200" dirty="0"/>
          </a:p>
          <a:p>
            <a:pPr lvl="1"/>
            <a:r>
              <a:rPr lang="de-DE" dirty="0"/>
              <a:t>Sofia, 2021</a:t>
            </a:r>
          </a:p>
        </p:txBody>
      </p:sp>
      <p:pic>
        <p:nvPicPr>
          <p:cNvPr id="3" name="Picture 2" descr="Graphical user interface, application&#10;&#10;Description automatically generated">
            <a:extLst>
              <a:ext uri="{FF2B5EF4-FFF2-40B4-BE49-F238E27FC236}">
                <a16:creationId xmlns:a16="http://schemas.microsoft.com/office/drawing/2014/main" id="{46A8EA40-3C76-4EFC-BBB8-DB067369BC9E}"/>
              </a:ext>
            </a:extLst>
          </p:cNvPr>
          <p:cNvPicPr>
            <a:picLocks noChangeAspect="1"/>
          </p:cNvPicPr>
          <p:nvPr/>
        </p:nvPicPr>
        <p:blipFill>
          <a:blip r:embed="rId2"/>
          <a:stretch>
            <a:fillRect/>
          </a:stretch>
        </p:blipFill>
        <p:spPr>
          <a:xfrm>
            <a:off x="636265" y="79286"/>
            <a:ext cx="2404022" cy="2402099"/>
          </a:xfrm>
          <a:prstGeom prst="rect">
            <a:avLst/>
          </a:prstGeom>
        </p:spPr>
      </p:pic>
    </p:spTree>
    <p:extLst>
      <p:ext uri="{BB962C8B-B14F-4D97-AF65-F5344CB8AC3E}">
        <p14:creationId xmlns:p14="http://schemas.microsoft.com/office/powerpoint/2010/main" val="385303126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658DD477-9052-4433-8F9D-316E6270CB0C}"/>
              </a:ext>
            </a:extLst>
          </p:cNvPr>
          <p:cNvSpPr>
            <a:spLocks noGrp="1"/>
          </p:cNvSpPr>
          <p:nvPr>
            <p:ph type="title"/>
          </p:nvPr>
        </p:nvSpPr>
        <p:spPr/>
        <p:txBody>
          <a:bodyPr/>
          <a:lstStyle/>
          <a:p>
            <a:r>
              <a:rPr lang="en-US"/>
              <a:t>SCHWARZ GROUP</a:t>
            </a:r>
          </a:p>
        </p:txBody>
      </p:sp>
      <p:pic>
        <p:nvPicPr>
          <p:cNvPr id="6" name="Grafik 5">
            <a:extLst>
              <a:ext uri="{FF2B5EF4-FFF2-40B4-BE49-F238E27FC236}">
                <a16:creationId xmlns:a16="http://schemas.microsoft.com/office/drawing/2014/main" id="{BC12DB67-461F-419E-ADCE-16A212B5F9D4}"/>
              </a:ext>
            </a:extLst>
          </p:cNvPr>
          <p:cNvPicPr>
            <a:picLocks noChangeAspect="1"/>
          </p:cNvPicPr>
          <p:nvPr/>
        </p:nvPicPr>
        <p:blipFill>
          <a:blip r:embed="rId3"/>
          <a:srcRect/>
          <a:stretch/>
        </p:blipFill>
        <p:spPr>
          <a:xfrm>
            <a:off x="2681684" y="413673"/>
            <a:ext cx="6827044" cy="6144924"/>
          </a:xfrm>
          <a:prstGeom prst="rect">
            <a:avLst/>
          </a:prstGeom>
        </p:spPr>
      </p:pic>
      <p:sp>
        <p:nvSpPr>
          <p:cNvPr id="7" name="Foliennummernplatzhalter 6">
            <a:extLst>
              <a:ext uri="{FF2B5EF4-FFF2-40B4-BE49-F238E27FC236}">
                <a16:creationId xmlns:a16="http://schemas.microsoft.com/office/drawing/2014/main" id="{1AD8AFFD-FD8F-4FFA-A2F2-88147F51C88F}"/>
              </a:ext>
            </a:extLst>
          </p:cNvPr>
          <p:cNvSpPr>
            <a:spLocks noGrp="1"/>
          </p:cNvSpPr>
          <p:nvPr>
            <p:ph type="sldNum" sz="quarter" idx="12"/>
          </p:nvPr>
        </p:nvSpPr>
        <p:spPr/>
        <p:txBody>
          <a:bodyPr/>
          <a:lstStyle/>
          <a:p>
            <a:fld id="{0C7C1E0B-BD27-42F8-BC6B-2F0636970842}" type="slidenum">
              <a:rPr lang="de-DE" smtClean="0"/>
              <a:pPr/>
              <a:t>10</a:t>
            </a:fld>
            <a:endParaRPr lang="de-DE"/>
          </a:p>
        </p:txBody>
      </p:sp>
      <p:grpSp>
        <p:nvGrpSpPr>
          <p:cNvPr id="19" name="Gruppieren 18">
            <a:extLst>
              <a:ext uri="{FF2B5EF4-FFF2-40B4-BE49-F238E27FC236}">
                <a16:creationId xmlns:a16="http://schemas.microsoft.com/office/drawing/2014/main" id="{3D9A41EA-7048-4689-9B1C-CCD53F39FD71}"/>
              </a:ext>
            </a:extLst>
          </p:cNvPr>
          <p:cNvGrpSpPr/>
          <p:nvPr/>
        </p:nvGrpSpPr>
        <p:grpSpPr>
          <a:xfrm>
            <a:off x="4831874" y="2946642"/>
            <a:ext cx="2540315" cy="2537531"/>
            <a:chOff x="4599843" y="1892778"/>
            <a:chExt cx="3052372" cy="3049027"/>
          </a:xfrm>
        </p:grpSpPr>
        <p:grpSp>
          <p:nvGrpSpPr>
            <p:cNvPr id="20" name="Gruppieren 19">
              <a:extLst>
                <a:ext uri="{FF2B5EF4-FFF2-40B4-BE49-F238E27FC236}">
                  <a16:creationId xmlns:a16="http://schemas.microsoft.com/office/drawing/2014/main" id="{89CA7178-8017-4978-8519-6833E86D9BD4}"/>
                </a:ext>
              </a:extLst>
            </p:cNvPr>
            <p:cNvGrpSpPr/>
            <p:nvPr/>
          </p:nvGrpSpPr>
          <p:grpSpPr>
            <a:xfrm>
              <a:off x="4603188" y="1892778"/>
              <a:ext cx="3049027" cy="3049027"/>
              <a:chOff x="4603188" y="1892778"/>
              <a:chExt cx="3049027" cy="3049027"/>
            </a:xfrm>
          </p:grpSpPr>
          <p:grpSp>
            <p:nvGrpSpPr>
              <p:cNvPr id="22" name="Gruppieren 21">
                <a:extLst>
                  <a:ext uri="{FF2B5EF4-FFF2-40B4-BE49-F238E27FC236}">
                    <a16:creationId xmlns:a16="http://schemas.microsoft.com/office/drawing/2014/main" id="{5585424D-35B7-487F-AED6-811845920089}"/>
                  </a:ext>
                </a:extLst>
              </p:cNvPr>
              <p:cNvGrpSpPr/>
              <p:nvPr/>
            </p:nvGrpSpPr>
            <p:grpSpPr>
              <a:xfrm>
                <a:off x="4603188" y="1892778"/>
                <a:ext cx="3049027" cy="3049027"/>
                <a:chOff x="4603188" y="1892778"/>
                <a:chExt cx="3049027" cy="3049027"/>
              </a:xfrm>
            </p:grpSpPr>
            <p:sp>
              <p:nvSpPr>
                <p:cNvPr id="24" name="Ellipse 23">
                  <a:extLst>
                    <a:ext uri="{FF2B5EF4-FFF2-40B4-BE49-F238E27FC236}">
                      <a16:creationId xmlns:a16="http://schemas.microsoft.com/office/drawing/2014/main" id="{F3EAE271-1422-4DE6-9F91-C11CB77E7AE1}"/>
                    </a:ext>
                  </a:extLst>
                </p:cNvPr>
                <p:cNvSpPr/>
                <p:nvPr/>
              </p:nvSpPr>
              <p:spPr bwMode="gray">
                <a:xfrm>
                  <a:off x="4603188" y="1892778"/>
                  <a:ext cx="3049027" cy="304902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pic>
              <p:nvPicPr>
                <p:cNvPr id="25" name="Grafik 24" descr="Ein Bild, das Schild enthält.&#10;&#10;Automatisch generierte Beschreibung">
                  <a:extLst>
                    <a:ext uri="{FF2B5EF4-FFF2-40B4-BE49-F238E27FC236}">
                      <a16:creationId xmlns:a16="http://schemas.microsoft.com/office/drawing/2014/main" id="{A30263E1-48F9-42A3-8863-98CCD82EEBFF}"/>
                    </a:ext>
                  </a:extLst>
                </p:cNvPr>
                <p:cNvPicPr>
                  <a:picLocks noChangeAspect="1"/>
                </p:cNvPicPr>
                <p:nvPr/>
              </p:nvPicPr>
              <p:blipFill>
                <a:blip r:embed="rId4"/>
                <a:stretch>
                  <a:fillRect/>
                </a:stretch>
              </p:blipFill>
              <p:spPr>
                <a:xfrm>
                  <a:off x="5410042" y="2835987"/>
                  <a:ext cx="1435319" cy="1162608"/>
                </a:xfrm>
                <a:prstGeom prst="rect">
                  <a:avLst/>
                </a:prstGeom>
              </p:spPr>
            </p:pic>
            <p:pic>
              <p:nvPicPr>
                <p:cNvPr id="26" name="Grafik 25" descr="Ein Bild, das Zeichnung enthält.&#10;&#10;Automatisch generierte Beschreibung">
                  <a:extLst>
                    <a:ext uri="{FF2B5EF4-FFF2-40B4-BE49-F238E27FC236}">
                      <a16:creationId xmlns:a16="http://schemas.microsoft.com/office/drawing/2014/main" id="{0AA41231-8C8B-4DA8-A8D3-7C56C3F24663}"/>
                    </a:ext>
                  </a:extLst>
                </p:cNvPr>
                <p:cNvPicPr>
                  <a:picLocks noChangeAspect="1"/>
                </p:cNvPicPr>
                <p:nvPr/>
              </p:nvPicPr>
              <p:blipFill>
                <a:blip r:embed="rId5"/>
                <a:stretch>
                  <a:fillRect/>
                </a:stretch>
              </p:blipFill>
              <p:spPr>
                <a:xfrm>
                  <a:off x="5460246" y="4262651"/>
                  <a:ext cx="1379576" cy="504925"/>
                </a:xfrm>
                <a:prstGeom prst="rect">
                  <a:avLst/>
                </a:prstGeom>
              </p:spPr>
            </p:pic>
            <p:pic>
              <p:nvPicPr>
                <p:cNvPr id="27" name="Grafik 26" descr="Ein Bild, das Zeichnung enthält.&#10;&#10;Automatisch generierte Beschreibung">
                  <a:extLst>
                    <a:ext uri="{FF2B5EF4-FFF2-40B4-BE49-F238E27FC236}">
                      <a16:creationId xmlns:a16="http://schemas.microsoft.com/office/drawing/2014/main" id="{3EB095E2-DD5A-4DEB-9009-0E77AA8CE826}"/>
                    </a:ext>
                  </a:extLst>
                </p:cNvPr>
                <p:cNvPicPr>
                  <a:picLocks noChangeAspect="1"/>
                </p:cNvPicPr>
                <p:nvPr/>
              </p:nvPicPr>
              <p:blipFill>
                <a:blip r:embed="rId6"/>
                <a:stretch>
                  <a:fillRect/>
                </a:stretch>
              </p:blipFill>
              <p:spPr>
                <a:xfrm>
                  <a:off x="5437913" y="2092804"/>
                  <a:ext cx="1379575" cy="504925"/>
                </a:xfrm>
                <a:prstGeom prst="rect">
                  <a:avLst/>
                </a:prstGeom>
              </p:spPr>
            </p:pic>
            <p:grpSp>
              <p:nvGrpSpPr>
                <p:cNvPr id="28" name="Gruppieren 27">
                  <a:extLst>
                    <a:ext uri="{FF2B5EF4-FFF2-40B4-BE49-F238E27FC236}">
                      <a16:creationId xmlns:a16="http://schemas.microsoft.com/office/drawing/2014/main" id="{FDE5A207-0606-416C-BAE9-55850C08B8B7}"/>
                    </a:ext>
                  </a:extLst>
                </p:cNvPr>
                <p:cNvGrpSpPr/>
                <p:nvPr/>
              </p:nvGrpSpPr>
              <p:grpSpPr>
                <a:xfrm>
                  <a:off x="6948711" y="3277170"/>
                  <a:ext cx="703504" cy="555768"/>
                  <a:chOff x="6948711" y="3277170"/>
                  <a:chExt cx="703504" cy="555768"/>
                </a:xfrm>
              </p:grpSpPr>
              <p:sp>
                <p:nvSpPr>
                  <p:cNvPr id="34" name="Pfeil: Fünfeck 38">
                    <a:extLst>
                      <a:ext uri="{FF2B5EF4-FFF2-40B4-BE49-F238E27FC236}">
                        <a16:creationId xmlns:a16="http://schemas.microsoft.com/office/drawing/2014/main" id="{8240788E-D1E5-4AEC-87B2-1F7E539B5360}"/>
                      </a:ext>
                    </a:extLst>
                  </p:cNvPr>
                  <p:cNvSpPr/>
                  <p:nvPr/>
                </p:nvSpPr>
                <p:spPr bwMode="gray">
                  <a:xfrm rot="5400000">
                    <a:off x="7123997" y="3240167"/>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5" name="Pfeil: Fünfeck 38">
                    <a:extLst>
                      <a:ext uri="{FF2B5EF4-FFF2-40B4-BE49-F238E27FC236}">
                        <a16:creationId xmlns:a16="http://schemas.microsoft.com/office/drawing/2014/main" id="{96CD855D-5022-482C-8CA2-192BE62398FD}"/>
                      </a:ext>
                    </a:extLst>
                  </p:cNvPr>
                  <p:cNvSpPr/>
                  <p:nvPr/>
                </p:nvSpPr>
                <p:spPr bwMode="gray">
                  <a:xfrm rot="5400000">
                    <a:off x="7123997" y="3151182"/>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6" name="Rechteck 45">
                    <a:extLst>
                      <a:ext uri="{FF2B5EF4-FFF2-40B4-BE49-F238E27FC236}">
                        <a16:creationId xmlns:a16="http://schemas.microsoft.com/office/drawing/2014/main" id="{45FDA2CD-DA55-47D7-A066-0CB7D298EA88}"/>
                      </a:ext>
                    </a:extLst>
                  </p:cNvPr>
                  <p:cNvSpPr/>
                  <p:nvPr/>
                </p:nvSpPr>
                <p:spPr bwMode="gray">
                  <a:xfrm rot="18931262" flipV="1">
                    <a:off x="7103319" y="3277170"/>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7" name="Rechteck 45">
                    <a:extLst>
                      <a:ext uri="{FF2B5EF4-FFF2-40B4-BE49-F238E27FC236}">
                        <a16:creationId xmlns:a16="http://schemas.microsoft.com/office/drawing/2014/main" id="{AF1309BC-8FF9-4B34-A10F-2909E918FFA1}"/>
                      </a:ext>
                    </a:extLst>
                  </p:cNvPr>
                  <p:cNvSpPr/>
                  <p:nvPr/>
                </p:nvSpPr>
                <p:spPr bwMode="gray">
                  <a:xfrm rot="13468738">
                    <a:off x="7442599" y="3285056"/>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grpSp>
              <p:nvGrpSpPr>
                <p:cNvPr id="29" name="Gruppieren 28">
                  <a:extLst>
                    <a:ext uri="{FF2B5EF4-FFF2-40B4-BE49-F238E27FC236}">
                      <a16:creationId xmlns:a16="http://schemas.microsoft.com/office/drawing/2014/main" id="{10767447-1172-4B87-A9DD-BB04CF56DBA8}"/>
                    </a:ext>
                  </a:extLst>
                </p:cNvPr>
                <p:cNvGrpSpPr/>
                <p:nvPr/>
              </p:nvGrpSpPr>
              <p:grpSpPr>
                <a:xfrm>
                  <a:off x="4603946" y="3005384"/>
                  <a:ext cx="703504" cy="547882"/>
                  <a:chOff x="4603946" y="3005384"/>
                  <a:chExt cx="703504" cy="547882"/>
                </a:xfrm>
              </p:grpSpPr>
              <p:sp>
                <p:nvSpPr>
                  <p:cNvPr id="30" name="Pfeil: Fünfeck 38">
                    <a:extLst>
                      <a:ext uri="{FF2B5EF4-FFF2-40B4-BE49-F238E27FC236}">
                        <a16:creationId xmlns:a16="http://schemas.microsoft.com/office/drawing/2014/main" id="{02E0C80F-54D3-44B0-B169-A9B29CEDB28B}"/>
                      </a:ext>
                    </a:extLst>
                  </p:cNvPr>
                  <p:cNvSpPr/>
                  <p:nvPr/>
                </p:nvSpPr>
                <p:spPr bwMode="gray">
                  <a:xfrm rot="16200000" flipV="1">
                    <a:off x="4779232" y="2974716"/>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1" name="Pfeil: Fünfeck 38">
                    <a:extLst>
                      <a:ext uri="{FF2B5EF4-FFF2-40B4-BE49-F238E27FC236}">
                        <a16:creationId xmlns:a16="http://schemas.microsoft.com/office/drawing/2014/main" id="{3A947F4F-C392-441F-9B82-5E61F72FFF76}"/>
                      </a:ext>
                    </a:extLst>
                  </p:cNvPr>
                  <p:cNvSpPr/>
                  <p:nvPr/>
                </p:nvSpPr>
                <p:spPr bwMode="gray">
                  <a:xfrm rot="16200000" flipV="1">
                    <a:off x="4777327" y="2887636"/>
                    <a:ext cx="352932" cy="69969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 name="connsiteX0" fmla="*/ 3808 w 352932"/>
                      <a:gd name="connsiteY0" fmla="*/ 6350 h 699694"/>
                      <a:gd name="connsiteX1" fmla="*/ 3744 w 352932"/>
                      <a:gd name="connsiteY1" fmla="*/ 0 h 699694"/>
                      <a:gd name="connsiteX2" fmla="*/ 352932 w 352932"/>
                      <a:gd name="connsiteY2" fmla="*/ 347284 h 699694"/>
                      <a:gd name="connsiteX3" fmla="*/ 1839 w 352932"/>
                      <a:gd name="connsiteY3" fmla="*/ 698378 h 699694"/>
                      <a:gd name="connsiteX4" fmla="*/ 0 w 352932"/>
                      <a:gd name="connsiteY4" fmla="*/ 699648 h 69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699694">
                        <a:moveTo>
                          <a:pt x="3808" y="6350"/>
                        </a:moveTo>
                        <a:cubicBezTo>
                          <a:pt x="3787" y="4233"/>
                          <a:pt x="3765" y="2117"/>
                          <a:pt x="3744" y="0"/>
                        </a:cubicBezTo>
                        <a:lnTo>
                          <a:pt x="352932" y="347284"/>
                        </a:lnTo>
                        <a:lnTo>
                          <a:pt x="1839" y="698378"/>
                        </a:lnTo>
                        <a:cubicBezTo>
                          <a:pt x="2495" y="700071"/>
                          <a:pt x="0" y="699648"/>
                          <a:pt x="0" y="69964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2" name="Rechteck 45">
                    <a:extLst>
                      <a:ext uri="{FF2B5EF4-FFF2-40B4-BE49-F238E27FC236}">
                        <a16:creationId xmlns:a16="http://schemas.microsoft.com/office/drawing/2014/main" id="{65DBA52D-3030-4FB5-ADD2-557B726439F2}"/>
                      </a:ext>
                    </a:extLst>
                  </p:cNvPr>
                  <p:cNvSpPr/>
                  <p:nvPr/>
                </p:nvSpPr>
                <p:spPr bwMode="gray">
                  <a:xfrm rot="2668738">
                    <a:off x="475292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3" name="Rechteck 45">
                    <a:extLst>
                      <a:ext uri="{FF2B5EF4-FFF2-40B4-BE49-F238E27FC236}">
                        <a16:creationId xmlns:a16="http://schemas.microsoft.com/office/drawing/2014/main" id="{A2E8092E-1F4C-40B4-972D-1729EB85100A}"/>
                      </a:ext>
                    </a:extLst>
                  </p:cNvPr>
                  <p:cNvSpPr/>
                  <p:nvPr/>
                </p:nvSpPr>
                <p:spPr bwMode="gray">
                  <a:xfrm rot="18931262" flipH="1">
                    <a:off x="509135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grpSp>
          <p:sp>
            <p:nvSpPr>
              <p:cNvPr id="23" name="Ellipse 22">
                <a:extLst>
                  <a:ext uri="{FF2B5EF4-FFF2-40B4-BE49-F238E27FC236}">
                    <a16:creationId xmlns:a16="http://schemas.microsoft.com/office/drawing/2014/main" id="{947067BD-3B2C-4826-B7A0-A8498DB8BB76}"/>
                  </a:ext>
                </a:extLst>
              </p:cNvPr>
              <p:cNvSpPr/>
              <p:nvPr/>
            </p:nvSpPr>
            <p:spPr bwMode="gray">
              <a:xfrm>
                <a:off x="5305375" y="2594965"/>
                <a:ext cx="1644652" cy="1644652"/>
              </a:xfrm>
              <a:prstGeom prst="ellipse">
                <a:avLst/>
              </a:prstGeom>
              <a:noFill/>
              <a:ln>
                <a:solidFill>
                  <a:srgbClr val="B1B1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sp>
          <p:nvSpPr>
            <p:cNvPr id="21" name="Ellipse 20">
              <a:extLst>
                <a:ext uri="{FF2B5EF4-FFF2-40B4-BE49-F238E27FC236}">
                  <a16:creationId xmlns:a16="http://schemas.microsoft.com/office/drawing/2014/main" id="{CAF4997E-9088-43D5-B323-F555ADE07C20}"/>
                </a:ext>
              </a:extLst>
            </p:cNvPr>
            <p:cNvSpPr/>
            <p:nvPr/>
          </p:nvSpPr>
          <p:spPr bwMode="gray">
            <a:xfrm>
              <a:off x="4599843" y="1892778"/>
              <a:ext cx="3049027" cy="3049027"/>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grpSp>
      <p:sp>
        <p:nvSpPr>
          <p:cNvPr id="3" name="Textfeld 2">
            <a:extLst>
              <a:ext uri="{FF2B5EF4-FFF2-40B4-BE49-F238E27FC236}">
                <a16:creationId xmlns:a16="http://schemas.microsoft.com/office/drawing/2014/main" id="{56246C2F-6927-4BA8-91C2-783FC2B8A574}"/>
              </a:ext>
            </a:extLst>
          </p:cNvPr>
          <p:cNvSpPr txBox="1"/>
          <p:nvPr/>
        </p:nvSpPr>
        <p:spPr bwMode="gray">
          <a:xfrm>
            <a:off x="5646222" y="2419489"/>
            <a:ext cx="914400" cy="318193"/>
          </a:xfrm>
          <a:prstGeom prst="rect">
            <a:avLst/>
          </a:prstGeom>
          <a:solidFill>
            <a:schemeClr val="accent1"/>
          </a:solidFill>
        </p:spPr>
        <p:txBody>
          <a:bodyPr wrap="none" lIns="0" tIns="0" rIns="0" bIns="0" rtlCol="0">
            <a:noAutofit/>
          </a:bodyPr>
          <a:lstStyle/>
          <a:p>
            <a:pPr algn="ctr"/>
            <a:r>
              <a:rPr lang="en-US" sz="1800">
                <a:solidFill>
                  <a:schemeClr val="bg1"/>
                </a:solidFill>
              </a:rPr>
              <a:t>Retail</a:t>
            </a:r>
          </a:p>
        </p:txBody>
      </p:sp>
      <p:sp>
        <p:nvSpPr>
          <p:cNvPr id="4" name="Textfeld 3">
            <a:extLst>
              <a:ext uri="{FF2B5EF4-FFF2-40B4-BE49-F238E27FC236}">
                <a16:creationId xmlns:a16="http://schemas.microsoft.com/office/drawing/2014/main" id="{C80711BD-BA01-4ED7-B29B-1F59220C2B8D}"/>
              </a:ext>
            </a:extLst>
          </p:cNvPr>
          <p:cNvSpPr txBox="1"/>
          <p:nvPr/>
        </p:nvSpPr>
        <p:spPr bwMode="gray">
          <a:xfrm>
            <a:off x="5646222" y="2422656"/>
            <a:ext cx="914400" cy="349324"/>
          </a:xfrm>
          <a:prstGeom prst="rect">
            <a:avLst/>
          </a:prstGeom>
          <a:solidFill>
            <a:schemeClr val="accent1"/>
          </a:solidFill>
        </p:spPr>
        <p:txBody>
          <a:bodyPr wrap="none" lIns="0" tIns="0" rIns="0" bIns="0" rtlCol="0">
            <a:prstTxWarp prst="textArchUp">
              <a:avLst/>
            </a:prstTxWarp>
            <a:noAutofit/>
          </a:bodyPr>
          <a:lstStyle/>
          <a:p>
            <a:pPr algn="ctr">
              <a:spcBef>
                <a:spcPts val="1200"/>
              </a:spcBef>
            </a:pPr>
            <a:r>
              <a:rPr lang="en-US" sz="2000" b="1">
                <a:solidFill>
                  <a:schemeClr val="bg1"/>
                </a:solidFill>
              </a:rPr>
              <a:t>Retail</a:t>
            </a:r>
          </a:p>
        </p:txBody>
      </p:sp>
      <p:sp>
        <p:nvSpPr>
          <p:cNvPr id="8" name="Textfeld 7">
            <a:extLst>
              <a:ext uri="{FF2B5EF4-FFF2-40B4-BE49-F238E27FC236}">
                <a16:creationId xmlns:a16="http://schemas.microsoft.com/office/drawing/2014/main" id="{B39B3BB2-14D7-4BE9-9FEE-31ED73DC3FB9}"/>
              </a:ext>
            </a:extLst>
          </p:cNvPr>
          <p:cNvSpPr txBox="1"/>
          <p:nvPr/>
        </p:nvSpPr>
        <p:spPr bwMode="gray">
          <a:xfrm rot="14386342">
            <a:off x="3962635" y="4872012"/>
            <a:ext cx="1418466" cy="349324"/>
          </a:xfrm>
          <a:prstGeom prst="rect">
            <a:avLst/>
          </a:prstGeom>
          <a:solidFill>
            <a:srgbClr val="965AA0"/>
          </a:solidFill>
        </p:spPr>
        <p:txBody>
          <a:bodyPr wrap="none" lIns="0" tIns="0" rIns="0" bIns="0" rtlCol="0">
            <a:prstTxWarp prst="textArchUp">
              <a:avLst/>
            </a:prstTxWarp>
            <a:noAutofit/>
          </a:bodyPr>
          <a:lstStyle/>
          <a:p>
            <a:pPr algn="ctr">
              <a:spcBef>
                <a:spcPts val="1200"/>
              </a:spcBef>
            </a:pPr>
            <a:r>
              <a:rPr lang="en-US" sz="2000" b="1">
                <a:solidFill>
                  <a:schemeClr val="bg1"/>
                </a:solidFill>
              </a:rPr>
              <a:t>Production</a:t>
            </a:r>
          </a:p>
        </p:txBody>
      </p:sp>
      <p:sp>
        <p:nvSpPr>
          <p:cNvPr id="9" name="Halbbogen 8">
            <a:extLst>
              <a:ext uri="{FF2B5EF4-FFF2-40B4-BE49-F238E27FC236}">
                <a16:creationId xmlns:a16="http://schemas.microsoft.com/office/drawing/2014/main" id="{AD9C91EB-BA11-4238-B29A-2BA2EFB4D8BC}"/>
              </a:ext>
            </a:extLst>
          </p:cNvPr>
          <p:cNvSpPr/>
          <p:nvPr/>
        </p:nvSpPr>
        <p:spPr bwMode="gray">
          <a:xfrm rot="9978330">
            <a:off x="4218775" y="2083276"/>
            <a:ext cx="3806468" cy="4073982"/>
          </a:xfrm>
          <a:prstGeom prst="blockArc">
            <a:avLst>
              <a:gd name="adj1" fmla="val 10738884"/>
              <a:gd name="adj2" fmla="val 16521447"/>
              <a:gd name="adj3" fmla="val 11699"/>
            </a:avLst>
          </a:prstGeom>
          <a:solidFill>
            <a:srgbClr val="965A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solidFill>
                <a:schemeClr val="tx1"/>
              </a:solidFill>
            </a:endParaRPr>
          </a:p>
        </p:txBody>
      </p:sp>
      <p:sp>
        <p:nvSpPr>
          <p:cNvPr id="10" name="Textfeld 9">
            <a:extLst>
              <a:ext uri="{FF2B5EF4-FFF2-40B4-BE49-F238E27FC236}">
                <a16:creationId xmlns:a16="http://schemas.microsoft.com/office/drawing/2014/main" id="{AE350C3A-F21E-481A-A773-C7300FE7A81A}"/>
              </a:ext>
            </a:extLst>
          </p:cNvPr>
          <p:cNvSpPr txBox="1"/>
          <p:nvPr/>
        </p:nvSpPr>
        <p:spPr bwMode="gray">
          <a:xfrm rot="7247891">
            <a:off x="5271420" y="3574165"/>
            <a:ext cx="2812147" cy="2045069"/>
          </a:xfrm>
          <a:prstGeom prst="rect">
            <a:avLst/>
          </a:prstGeom>
          <a:noFill/>
        </p:spPr>
        <p:txBody>
          <a:bodyPr wrap="none" lIns="0" tIns="0" rIns="0" bIns="0" rtlCol="0">
            <a:prstTxWarp prst="textArchUp">
              <a:avLst>
                <a:gd name="adj" fmla="val 12248805"/>
              </a:avLst>
            </a:prstTxWarp>
            <a:noAutofit/>
          </a:bodyPr>
          <a:lstStyle/>
          <a:p>
            <a:pPr algn="ctr">
              <a:spcBef>
                <a:spcPts val="1200"/>
              </a:spcBef>
            </a:pPr>
            <a:r>
              <a:rPr lang="en-US" sz="2000" b="1">
                <a:solidFill>
                  <a:schemeClr val="bg1"/>
                </a:solidFill>
              </a:rPr>
              <a:t>Recyclables management</a:t>
            </a:r>
          </a:p>
        </p:txBody>
      </p:sp>
    </p:spTree>
    <p:extLst>
      <p:ext uri="{BB962C8B-B14F-4D97-AF65-F5344CB8AC3E}">
        <p14:creationId xmlns:p14="http://schemas.microsoft.com/office/powerpoint/2010/main" val="328286208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Lidl</a:t>
            </a:r>
          </a:p>
        </p:txBody>
      </p:sp>
      <p:sp>
        <p:nvSpPr>
          <p:cNvPr id="7" name="Untertitel 6"/>
          <p:cNvSpPr>
            <a:spLocks noGrp="1"/>
          </p:cNvSpPr>
          <p:nvPr>
            <p:ph type="subTitle" idx="1"/>
          </p:nvPr>
        </p:nvSpPr>
        <p:spPr/>
        <p:txBody>
          <a:bodyPr/>
          <a:lstStyle/>
          <a:p>
            <a:r>
              <a:rPr lang="en-US"/>
              <a:t>Our discounter: Quality for everybody – at an unbeatable price</a:t>
            </a:r>
          </a:p>
        </p:txBody>
      </p:sp>
      <p:sp>
        <p:nvSpPr>
          <p:cNvPr id="15" name="Foliennummernplatzhalter 9">
            <a:extLst>
              <a:ext uri="{FF2B5EF4-FFF2-40B4-BE49-F238E27FC236}">
                <a16:creationId xmlns:a16="http://schemas.microsoft.com/office/drawing/2014/main" id="{715D349A-BD6F-45BF-8A89-BDF9E949BA42}"/>
              </a:ext>
            </a:extLst>
          </p:cNvPr>
          <p:cNvSpPr>
            <a:spLocks noGrp="1"/>
          </p:cNvSpPr>
          <p:nvPr>
            <p:ph type="sldNum" sz="quarter" idx="16"/>
          </p:nvPr>
        </p:nvSpPr>
        <p:spPr/>
        <p:txBody>
          <a:bodyPr/>
          <a:lstStyle/>
          <a:p>
            <a:fld id="{0C7C1E0B-BD27-42F8-BC6B-2F0636970842}" type="slidenum">
              <a:rPr lang="de-DE" smtClean="0"/>
              <a:pPr/>
              <a:t>11</a:t>
            </a:fld>
            <a:endParaRPr lang="de-DE"/>
          </a:p>
        </p:txBody>
      </p:sp>
      <p:pic>
        <p:nvPicPr>
          <p:cNvPr id="29" name="Grafik 28">
            <a:extLst>
              <a:ext uri="{FF2B5EF4-FFF2-40B4-BE49-F238E27FC236}">
                <a16:creationId xmlns:a16="http://schemas.microsoft.com/office/drawing/2014/main" id="{83774C60-74FC-4FF4-AC6A-F90EF9E245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27895" y="1557951"/>
            <a:ext cx="1066970" cy="1066970"/>
          </a:xfrm>
          <a:prstGeom prst="rect">
            <a:avLst/>
          </a:prstGeom>
        </p:spPr>
      </p:pic>
      <p:sp>
        <p:nvSpPr>
          <p:cNvPr id="16" name="Textfeld 15">
            <a:extLst>
              <a:ext uri="{FF2B5EF4-FFF2-40B4-BE49-F238E27FC236}">
                <a16:creationId xmlns:a16="http://schemas.microsoft.com/office/drawing/2014/main" id="{381DC7CB-DFEA-4C11-87D7-C84448DF7B68}"/>
              </a:ext>
            </a:extLst>
          </p:cNvPr>
          <p:cNvSpPr txBox="1"/>
          <p:nvPr/>
        </p:nvSpPr>
        <p:spPr bwMode="gray">
          <a:xfrm>
            <a:off x="10545635" y="2952908"/>
            <a:ext cx="1149230" cy="128330"/>
          </a:xfrm>
          <a:prstGeom prst="rect">
            <a:avLst/>
          </a:prstGeom>
          <a:noFill/>
        </p:spPr>
        <p:txBody>
          <a:bodyPr wrap="square" lIns="144000" tIns="0" rIns="0" bIns="0" rtlCol="0" anchor="b" anchorCtr="0">
            <a:noAutofit/>
          </a:bodyPr>
          <a:lstStyle/>
          <a:p>
            <a:pPr algn="r" defTabSz="1088284"/>
            <a:endParaRPr lang="de-DE" sz="1200" b="1" i="1">
              <a:solidFill>
                <a:srgbClr val="791F82"/>
              </a:solidFill>
              <a:latin typeface="Arial"/>
            </a:endParaRPr>
          </a:p>
          <a:p>
            <a:pPr algn="r" defTabSz="1088284">
              <a:spcAft>
                <a:spcPts val="200"/>
              </a:spcAft>
            </a:pPr>
            <a:r>
              <a:rPr lang="en-US" sz="1200" b="1">
                <a:latin typeface="Arial"/>
              </a:rPr>
              <a:t>www.lidl.de</a:t>
            </a:r>
          </a:p>
        </p:txBody>
      </p:sp>
      <p:pic>
        <p:nvPicPr>
          <p:cNvPr id="13" name="Grafik 12">
            <a:extLst>
              <a:ext uri="{FF2B5EF4-FFF2-40B4-BE49-F238E27FC236}">
                <a16:creationId xmlns:a16="http://schemas.microsoft.com/office/drawing/2014/main" id="{66826F06-FC83-43E1-9B32-96DBBB5A55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71167" y="5255601"/>
            <a:ext cx="1023698" cy="864848"/>
          </a:xfrm>
          <a:prstGeom prst="rect">
            <a:avLst/>
          </a:prstGeom>
        </p:spPr>
      </p:pic>
      <p:pic>
        <p:nvPicPr>
          <p:cNvPr id="10" name="Grafik 9" descr="Ein Bild, das Auto, Boden, draußen, Kuchen enthält.&#10;&#10;Automatisch generierte Beschreibung">
            <a:extLst>
              <a:ext uri="{FF2B5EF4-FFF2-40B4-BE49-F238E27FC236}">
                <a16:creationId xmlns:a16="http://schemas.microsoft.com/office/drawing/2014/main" id="{D748EBDF-749F-41A5-979B-5C7AA6F0B85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2360" y="3918220"/>
            <a:ext cx="3993398" cy="2212221"/>
          </a:xfrm>
          <a:prstGeom prst="rect">
            <a:avLst/>
          </a:prstGeom>
        </p:spPr>
      </p:pic>
      <p:pic>
        <p:nvPicPr>
          <p:cNvPr id="21" name="Grafik 20" descr="Ein Bild, das Himmel, draußen, Gras, Gebäude enthält.&#10;&#10;Automatisch generierte Beschreibung">
            <a:extLst>
              <a:ext uri="{FF2B5EF4-FFF2-40B4-BE49-F238E27FC236}">
                <a16:creationId xmlns:a16="http://schemas.microsoft.com/office/drawing/2014/main" id="{C3CD4F20-9543-4A94-94FE-2B9FEB6F81D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9365" y="1557951"/>
            <a:ext cx="3985376" cy="2212220"/>
          </a:xfrm>
          <a:prstGeom prst="rect">
            <a:avLst/>
          </a:prstGeom>
        </p:spPr>
      </p:pic>
      <p:pic>
        <p:nvPicPr>
          <p:cNvPr id="22" name="Grafik 21">
            <a:extLst>
              <a:ext uri="{FF2B5EF4-FFF2-40B4-BE49-F238E27FC236}">
                <a16:creationId xmlns:a16="http://schemas.microsoft.com/office/drawing/2014/main" id="{77C97C96-BA45-45AA-BF77-7FBD8CC0BD12}"/>
              </a:ext>
            </a:extLst>
          </p:cNvPr>
          <p:cNvPicPr>
            <a:picLocks noChangeAspect="1"/>
          </p:cNvPicPr>
          <p:nvPr/>
        </p:nvPicPr>
        <p:blipFill rotWithShape="1">
          <a:blip r:embed="rId8"/>
          <a:srcRect l="1158" t="1" b="-21120"/>
          <a:stretch/>
        </p:blipFill>
        <p:spPr>
          <a:xfrm>
            <a:off x="1119365" y="3918220"/>
            <a:ext cx="3985376" cy="2679438"/>
          </a:xfrm>
          <a:prstGeom prst="rect">
            <a:avLst/>
          </a:prstGeom>
        </p:spPr>
      </p:pic>
      <p:pic>
        <p:nvPicPr>
          <p:cNvPr id="25" name="Grafik 24">
            <a:extLst>
              <a:ext uri="{FF2B5EF4-FFF2-40B4-BE49-F238E27FC236}">
                <a16:creationId xmlns:a16="http://schemas.microsoft.com/office/drawing/2014/main" id="{54E50B75-8B14-4D4E-85DB-866EDC80EEB1}"/>
              </a:ext>
            </a:extLst>
          </p:cNvPr>
          <p:cNvPicPr>
            <a:picLocks noChangeAspect="1"/>
          </p:cNvPicPr>
          <p:nvPr/>
        </p:nvPicPr>
        <p:blipFill rotWithShape="1">
          <a:blip r:embed="rId9"/>
          <a:srcRect t="17062" r="4222" b="3529"/>
          <a:stretch/>
        </p:blipFill>
        <p:spPr>
          <a:xfrm>
            <a:off x="5262360" y="1563453"/>
            <a:ext cx="3993398" cy="2206718"/>
          </a:xfrm>
          <a:prstGeom prst="rect">
            <a:avLst/>
          </a:prstGeom>
        </p:spPr>
      </p:pic>
    </p:spTree>
    <p:extLst>
      <p:ext uri="{BB962C8B-B14F-4D97-AF65-F5344CB8AC3E}">
        <p14:creationId xmlns:p14="http://schemas.microsoft.com/office/powerpoint/2010/main" val="3919397354"/>
      </p:ext>
    </p:extLst>
  </p:cSld>
  <p:clrMapOvr>
    <a:masterClrMapping/>
  </p:clrMapOvr>
  <p:transition advClick="0" advTm="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Ein Bild, das Szene, drinnen, Gebäude, Bibliothek enthält.&#10;&#10;Automatisch generierte Beschreibung">
            <a:extLst>
              <a:ext uri="{FF2B5EF4-FFF2-40B4-BE49-F238E27FC236}">
                <a16:creationId xmlns:a16="http://schemas.microsoft.com/office/drawing/2014/main" id="{B70DC36D-B903-4807-BADC-46522DF6A727}"/>
              </a:ext>
            </a:extLst>
          </p:cNvPr>
          <p:cNvPicPr>
            <a:picLocks noChangeAspect="1"/>
          </p:cNvPicPr>
          <p:nvPr/>
        </p:nvPicPr>
        <p:blipFill>
          <a:blip r:embed="rId3" cstate="print">
            <a:alphaModFix amt="40000"/>
            <a:extLst>
              <a:ext uri="{28A0092B-C50C-407E-A947-70E740481C1C}">
                <a14:useLocalDpi xmlns:a14="http://schemas.microsoft.com/office/drawing/2010/main" val="0"/>
              </a:ext>
            </a:extLst>
          </a:blip>
          <a:stretch>
            <a:fillRect/>
          </a:stretch>
        </p:blipFill>
        <p:spPr>
          <a:xfrm>
            <a:off x="5262360" y="1557950"/>
            <a:ext cx="3997050" cy="2212221"/>
          </a:xfrm>
          <a:prstGeom prst="rect">
            <a:avLst/>
          </a:prstGeom>
        </p:spPr>
      </p:pic>
      <p:pic>
        <p:nvPicPr>
          <p:cNvPr id="23" name="Grafik 22" descr="Ein Bild, das Himmel, draußen, Gras, Gebäude enthält.&#10;&#10;Automatisch generierte Beschreibung">
            <a:extLst>
              <a:ext uri="{FF2B5EF4-FFF2-40B4-BE49-F238E27FC236}">
                <a16:creationId xmlns:a16="http://schemas.microsoft.com/office/drawing/2014/main" id="{752C988E-E7EB-410A-BFD9-B5002D7DC6F5}"/>
              </a:ext>
            </a:extLst>
          </p:cNvPr>
          <p:cNvPicPr>
            <a:picLocks noChangeAspect="1"/>
          </p:cNvPicPr>
          <p:nvPr/>
        </p:nvPicPr>
        <p:blipFill>
          <a:blip r:embed="rId4" cstate="print">
            <a:alphaModFix amt="40000"/>
            <a:extLst>
              <a:ext uri="{28A0092B-C50C-407E-A947-70E740481C1C}">
                <a14:useLocalDpi xmlns:a14="http://schemas.microsoft.com/office/drawing/2010/main" val="0"/>
              </a:ext>
            </a:extLst>
          </a:blip>
          <a:stretch>
            <a:fillRect/>
          </a:stretch>
        </p:blipFill>
        <p:spPr>
          <a:xfrm>
            <a:off x="1119365" y="1557951"/>
            <a:ext cx="3985376" cy="2212220"/>
          </a:xfrm>
          <a:prstGeom prst="rect">
            <a:avLst/>
          </a:prstGeom>
        </p:spPr>
      </p:pic>
      <p:pic>
        <p:nvPicPr>
          <p:cNvPr id="27" name="Grafik 26" descr="Ein Bild, das Decke, Person, drinnen enthält.&#10;&#10;Automatisch generierte Beschreibung">
            <a:extLst>
              <a:ext uri="{FF2B5EF4-FFF2-40B4-BE49-F238E27FC236}">
                <a16:creationId xmlns:a16="http://schemas.microsoft.com/office/drawing/2014/main" id="{ECECEF41-D168-4C8D-8B83-5C55AD8A7748}"/>
              </a:ext>
            </a:extLst>
          </p:cNvPr>
          <p:cNvPicPr>
            <a:picLocks noChangeAspect="1"/>
          </p:cNvPicPr>
          <p:nvPr/>
        </p:nvPicPr>
        <p:blipFill>
          <a:blip r:embed="rId5" cstate="print">
            <a:alphaModFix amt="40000"/>
            <a:extLst>
              <a:ext uri="{28A0092B-C50C-407E-A947-70E740481C1C}">
                <a14:useLocalDpi xmlns:a14="http://schemas.microsoft.com/office/drawing/2010/main" val="0"/>
              </a:ext>
            </a:extLst>
          </a:blip>
          <a:stretch>
            <a:fillRect/>
          </a:stretch>
        </p:blipFill>
        <p:spPr>
          <a:xfrm>
            <a:off x="1119366" y="3918220"/>
            <a:ext cx="3985375" cy="2202229"/>
          </a:xfrm>
          <a:prstGeom prst="rect">
            <a:avLst/>
          </a:prstGeom>
        </p:spPr>
      </p:pic>
      <p:pic>
        <p:nvPicPr>
          <p:cNvPr id="28" name="Grafik 27" descr="Ein Bild, das Auto, Boden, draußen, Kuchen enthält.&#10;&#10;Automatisch generierte Beschreibung">
            <a:extLst>
              <a:ext uri="{FF2B5EF4-FFF2-40B4-BE49-F238E27FC236}">
                <a16:creationId xmlns:a16="http://schemas.microsoft.com/office/drawing/2014/main" id="{804C0978-D683-4A93-943A-124998C8B4F3}"/>
              </a:ext>
            </a:extLst>
          </p:cNvPr>
          <p:cNvPicPr>
            <a:picLocks noChangeAspect="1"/>
          </p:cNvPicPr>
          <p:nvPr/>
        </p:nvPicPr>
        <p:blipFill>
          <a:blip r:embed="rId6" cstate="print">
            <a:alphaModFix amt="40000"/>
            <a:extLst>
              <a:ext uri="{28A0092B-C50C-407E-A947-70E740481C1C}">
                <a14:useLocalDpi xmlns:a14="http://schemas.microsoft.com/office/drawing/2010/main" val="0"/>
              </a:ext>
            </a:extLst>
          </a:blip>
          <a:stretch>
            <a:fillRect/>
          </a:stretch>
        </p:blipFill>
        <p:spPr>
          <a:xfrm>
            <a:off x="5262360" y="3918220"/>
            <a:ext cx="3993398" cy="2212221"/>
          </a:xfrm>
          <a:prstGeom prst="rect">
            <a:avLst/>
          </a:prstGeom>
        </p:spPr>
      </p:pic>
      <p:sp>
        <p:nvSpPr>
          <p:cNvPr id="2" name="Titel 1"/>
          <p:cNvSpPr>
            <a:spLocks noGrp="1"/>
          </p:cNvSpPr>
          <p:nvPr>
            <p:ph type="title"/>
          </p:nvPr>
        </p:nvSpPr>
        <p:spPr/>
        <p:txBody>
          <a:bodyPr/>
          <a:lstStyle/>
          <a:p>
            <a:r>
              <a:rPr lang="en-US"/>
              <a:t>Lidl</a:t>
            </a:r>
          </a:p>
        </p:txBody>
      </p:sp>
      <p:sp>
        <p:nvSpPr>
          <p:cNvPr id="7" name="Untertitel 6"/>
          <p:cNvSpPr>
            <a:spLocks noGrp="1"/>
          </p:cNvSpPr>
          <p:nvPr>
            <p:ph type="subTitle" idx="1"/>
          </p:nvPr>
        </p:nvSpPr>
        <p:spPr/>
        <p:txBody>
          <a:bodyPr/>
          <a:lstStyle/>
          <a:p>
            <a:r>
              <a:rPr lang="en-US"/>
              <a:t>Our discounter: Quality for everybody – at an unbeatable price</a:t>
            </a:r>
          </a:p>
        </p:txBody>
      </p:sp>
      <p:sp>
        <p:nvSpPr>
          <p:cNvPr id="21" name="Foliennummernplatzhalter 9">
            <a:extLst>
              <a:ext uri="{FF2B5EF4-FFF2-40B4-BE49-F238E27FC236}">
                <a16:creationId xmlns:a16="http://schemas.microsoft.com/office/drawing/2014/main" id="{17DBC4F6-C532-4AE8-BBEE-A85425D76240}"/>
              </a:ext>
            </a:extLst>
          </p:cNvPr>
          <p:cNvSpPr>
            <a:spLocks noGrp="1"/>
          </p:cNvSpPr>
          <p:nvPr>
            <p:ph type="sldNum" sz="quarter" idx="16"/>
          </p:nvPr>
        </p:nvSpPr>
        <p:spPr/>
        <p:txBody>
          <a:bodyPr/>
          <a:lstStyle/>
          <a:p>
            <a:fld id="{0C7C1E0B-BD27-42F8-BC6B-2F0636970842}" type="slidenum">
              <a:rPr lang="de-DE" smtClean="0"/>
              <a:pPr/>
              <a:t>12</a:t>
            </a:fld>
            <a:endParaRPr lang="de-DE"/>
          </a:p>
        </p:txBody>
      </p:sp>
      <p:grpSp>
        <p:nvGrpSpPr>
          <p:cNvPr id="11" name="Gruppieren 10">
            <a:extLst>
              <a:ext uri="{FF2B5EF4-FFF2-40B4-BE49-F238E27FC236}">
                <a16:creationId xmlns:a16="http://schemas.microsoft.com/office/drawing/2014/main" id="{951F95F0-04E6-4550-A704-A53BC9FEE33B}"/>
              </a:ext>
            </a:extLst>
          </p:cNvPr>
          <p:cNvGrpSpPr/>
          <p:nvPr/>
        </p:nvGrpSpPr>
        <p:grpSpPr>
          <a:xfrm>
            <a:off x="2041090" y="2368563"/>
            <a:ext cx="6464967" cy="2803218"/>
            <a:chOff x="93031" y="3699358"/>
            <a:chExt cx="5464437" cy="2015589"/>
          </a:xfrm>
        </p:grpSpPr>
        <p:sp>
          <p:nvSpPr>
            <p:cNvPr id="12" name="Textfeld 11">
              <a:extLst>
                <a:ext uri="{FF2B5EF4-FFF2-40B4-BE49-F238E27FC236}">
                  <a16:creationId xmlns:a16="http://schemas.microsoft.com/office/drawing/2014/main" id="{A3097191-8EE1-4FD0-BF97-F2B8535DBB91}"/>
                </a:ext>
              </a:extLst>
            </p:cNvPr>
            <p:cNvSpPr txBox="1"/>
            <p:nvPr/>
          </p:nvSpPr>
          <p:spPr bwMode="gray">
            <a:xfrm>
              <a:off x="93031" y="3699358"/>
              <a:ext cx="2535134" cy="2015589"/>
            </a:xfrm>
            <a:prstGeom prst="rect">
              <a:avLst/>
            </a:prstGeom>
            <a:noFill/>
          </p:spPr>
          <p:txBody>
            <a:bodyPr wrap="square" lIns="0" tIns="0" rIns="0" bIns="0" rtlCol="0">
              <a:noAutofit/>
            </a:bodyPr>
            <a:lstStyle/>
            <a:p>
              <a:pPr algn="r" defTabSz="1088284">
                <a:spcAft>
                  <a:spcPts val="1200"/>
                </a:spcAft>
              </a:pPr>
              <a:r>
                <a:rPr lang="en-US" sz="2400" b="1">
                  <a:solidFill>
                    <a:schemeClr val="accent1"/>
                  </a:solidFill>
                </a:rPr>
                <a:t>89.0 bn</a:t>
              </a:r>
            </a:p>
            <a:p>
              <a:pPr algn="r" defTabSz="1088284">
                <a:spcAft>
                  <a:spcPts val="1200"/>
                </a:spcAft>
              </a:pPr>
              <a:r>
                <a:rPr lang="en-US" sz="2400" b="1">
                  <a:solidFill>
                    <a:schemeClr val="accent1"/>
                  </a:solidFill>
                </a:rPr>
                <a:t>10,800 stores</a:t>
              </a:r>
            </a:p>
            <a:p>
              <a:pPr algn="r" defTabSz="1088284">
                <a:spcAft>
                  <a:spcPts val="1200"/>
                </a:spcAft>
              </a:pPr>
              <a:r>
                <a:rPr lang="en-US" sz="2400" b="1">
                  <a:solidFill>
                    <a:schemeClr val="accent1"/>
                  </a:solidFill>
                </a:rPr>
                <a:t>3,200 stores</a:t>
              </a:r>
            </a:p>
            <a:p>
              <a:pPr algn="r" defTabSz="1088284">
                <a:spcAft>
                  <a:spcPts val="1200"/>
                </a:spcAft>
              </a:pPr>
              <a:r>
                <a:rPr lang="en-US" sz="2400" b="1">
                  <a:solidFill>
                    <a:schemeClr val="accent1"/>
                  </a:solidFill>
                </a:rPr>
                <a:t>287,000</a:t>
              </a:r>
            </a:p>
            <a:p>
              <a:pPr algn="r" defTabSz="1088284">
                <a:spcAft>
                  <a:spcPts val="1200"/>
                </a:spcAft>
              </a:pPr>
              <a:r>
                <a:rPr lang="en-US" sz="2400" b="1">
                  <a:solidFill>
                    <a:schemeClr val="accent1"/>
                  </a:solidFill>
                </a:rPr>
                <a:t>(avg.) 1,200 m</a:t>
              </a:r>
              <a:r>
                <a:rPr lang="en-US" sz="2400" b="1" baseline="30000">
                  <a:solidFill>
                    <a:schemeClr val="accent1"/>
                  </a:solidFill>
                </a:rPr>
                <a:t>2</a:t>
              </a:r>
            </a:p>
            <a:p>
              <a:pPr algn="r" defTabSz="1088284">
                <a:spcAft>
                  <a:spcPts val="1200"/>
                </a:spcAft>
              </a:pPr>
              <a:r>
                <a:rPr lang="en-US" sz="2400" b="1">
                  <a:solidFill>
                    <a:schemeClr val="accent1"/>
                  </a:solidFill>
                </a:rPr>
                <a:t>(avg.) 1,800 items</a:t>
              </a:r>
            </a:p>
          </p:txBody>
        </p:sp>
        <p:sp>
          <p:nvSpPr>
            <p:cNvPr id="13" name="Textfeld 12">
              <a:extLst>
                <a:ext uri="{FF2B5EF4-FFF2-40B4-BE49-F238E27FC236}">
                  <a16:creationId xmlns:a16="http://schemas.microsoft.com/office/drawing/2014/main" id="{368B82EB-A1EB-4D30-97BD-81AEBA9A72AC}"/>
                </a:ext>
              </a:extLst>
            </p:cNvPr>
            <p:cNvSpPr txBox="1"/>
            <p:nvPr/>
          </p:nvSpPr>
          <p:spPr bwMode="gray">
            <a:xfrm>
              <a:off x="2876700" y="3699358"/>
              <a:ext cx="2680768" cy="2015589"/>
            </a:xfrm>
            <a:prstGeom prst="rect">
              <a:avLst/>
            </a:prstGeom>
            <a:noFill/>
          </p:spPr>
          <p:txBody>
            <a:bodyPr wrap="square" lIns="0" tIns="0" rIns="0" bIns="0" rtlCol="0">
              <a:noAutofit/>
            </a:bodyPr>
            <a:lstStyle/>
            <a:p>
              <a:pPr defTabSz="1088284">
                <a:spcAft>
                  <a:spcPts val="1200"/>
                </a:spcAft>
              </a:pPr>
              <a:r>
                <a:rPr lang="en-US" sz="2400" dirty="0">
                  <a:solidFill>
                    <a:prstClr val="black"/>
                  </a:solidFill>
                  <a:latin typeface="Arial"/>
                </a:rPr>
                <a:t>Euro sales</a:t>
              </a:r>
            </a:p>
            <a:p>
              <a:pPr defTabSz="1088284">
                <a:spcAft>
                  <a:spcPts val="1200"/>
                </a:spcAft>
              </a:pPr>
              <a:r>
                <a:rPr lang="en-US" sz="2400" dirty="0">
                  <a:solidFill>
                    <a:prstClr val="black"/>
                  </a:solidFill>
                </a:rPr>
                <a:t>in </a:t>
              </a:r>
              <a:r>
                <a:rPr lang="en-US" sz="2400" b="1" dirty="0">
                  <a:solidFill>
                    <a:schemeClr val="accent1"/>
                  </a:solidFill>
                </a:rPr>
                <a:t>33 </a:t>
              </a:r>
              <a:r>
                <a:rPr lang="en-US" sz="2400" dirty="0">
                  <a:solidFill>
                    <a:prstClr val="black"/>
                  </a:solidFill>
                </a:rPr>
                <a:t>countries</a:t>
              </a:r>
            </a:p>
            <a:p>
              <a:pPr defTabSz="1088284">
                <a:spcAft>
                  <a:spcPts val="1200"/>
                </a:spcAft>
              </a:pPr>
              <a:r>
                <a:rPr lang="en-US" sz="2400" dirty="0">
                  <a:solidFill>
                    <a:prstClr val="black"/>
                  </a:solidFill>
                  <a:latin typeface="Arial"/>
                </a:rPr>
                <a:t>in Germany</a:t>
              </a:r>
            </a:p>
            <a:p>
              <a:pPr defTabSz="1088284">
                <a:spcAft>
                  <a:spcPts val="1200"/>
                </a:spcAft>
              </a:pPr>
              <a:r>
                <a:rPr lang="en-US" sz="2400" dirty="0">
                  <a:solidFill>
                    <a:prstClr val="black"/>
                  </a:solidFill>
                  <a:latin typeface="Arial"/>
                </a:rPr>
                <a:t>Employees</a:t>
              </a:r>
            </a:p>
            <a:p>
              <a:pPr defTabSz="1088284">
                <a:spcAft>
                  <a:spcPts val="1200"/>
                </a:spcAft>
              </a:pPr>
              <a:r>
                <a:rPr lang="en-US" sz="2400" dirty="0">
                  <a:solidFill>
                    <a:prstClr val="black"/>
                  </a:solidFill>
                  <a:latin typeface="Arial"/>
                </a:rPr>
                <a:t>Sales area</a:t>
              </a:r>
            </a:p>
            <a:p>
              <a:pPr defTabSz="1088284">
                <a:spcAft>
                  <a:spcPts val="1200"/>
                </a:spcAft>
              </a:pPr>
              <a:r>
                <a:rPr lang="en-US" sz="2400" dirty="0">
                  <a:solidFill>
                    <a:prstClr val="black"/>
                  </a:solidFill>
                  <a:latin typeface="Arial"/>
                </a:rPr>
                <a:t>In core assortment</a:t>
              </a:r>
            </a:p>
          </p:txBody>
        </p:sp>
      </p:grpSp>
      <p:pic>
        <p:nvPicPr>
          <p:cNvPr id="24" name="Grafik 23">
            <a:extLst>
              <a:ext uri="{FF2B5EF4-FFF2-40B4-BE49-F238E27FC236}">
                <a16:creationId xmlns:a16="http://schemas.microsoft.com/office/drawing/2014/main" id="{90F51981-6A41-4916-814C-FCBE17B1F29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27895" y="1557951"/>
            <a:ext cx="1066970" cy="1066970"/>
          </a:xfrm>
          <a:prstGeom prst="rect">
            <a:avLst/>
          </a:prstGeom>
        </p:spPr>
      </p:pic>
      <p:sp>
        <p:nvSpPr>
          <p:cNvPr id="25" name="Textfeld 24">
            <a:extLst>
              <a:ext uri="{FF2B5EF4-FFF2-40B4-BE49-F238E27FC236}">
                <a16:creationId xmlns:a16="http://schemas.microsoft.com/office/drawing/2014/main" id="{6CF5BB27-34AB-4CEA-AE42-4960257C025A}"/>
              </a:ext>
            </a:extLst>
          </p:cNvPr>
          <p:cNvSpPr txBox="1"/>
          <p:nvPr/>
        </p:nvSpPr>
        <p:spPr bwMode="gray">
          <a:xfrm>
            <a:off x="10545635" y="2952908"/>
            <a:ext cx="1149230" cy="128330"/>
          </a:xfrm>
          <a:prstGeom prst="rect">
            <a:avLst/>
          </a:prstGeom>
          <a:noFill/>
        </p:spPr>
        <p:txBody>
          <a:bodyPr wrap="square" lIns="144000" tIns="0" rIns="0" bIns="0" rtlCol="0" anchor="b" anchorCtr="0">
            <a:noAutofit/>
          </a:bodyPr>
          <a:lstStyle/>
          <a:p>
            <a:pPr algn="r" defTabSz="1088284"/>
            <a:endParaRPr lang="de-DE" sz="1200" b="1" i="1">
              <a:solidFill>
                <a:srgbClr val="791F82"/>
              </a:solidFill>
              <a:latin typeface="Arial"/>
            </a:endParaRPr>
          </a:p>
          <a:p>
            <a:pPr algn="r" defTabSz="1088284">
              <a:spcAft>
                <a:spcPts val="200"/>
              </a:spcAft>
            </a:pPr>
            <a:r>
              <a:rPr lang="en-US" sz="1200" b="1">
                <a:latin typeface="Arial"/>
              </a:rPr>
              <a:t>www.lidl.de</a:t>
            </a:r>
          </a:p>
        </p:txBody>
      </p:sp>
      <p:pic>
        <p:nvPicPr>
          <p:cNvPr id="26" name="Grafik 25">
            <a:extLst>
              <a:ext uri="{FF2B5EF4-FFF2-40B4-BE49-F238E27FC236}">
                <a16:creationId xmlns:a16="http://schemas.microsoft.com/office/drawing/2014/main" id="{E501884F-D5E2-40CD-9D43-CAA510C205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71167" y="5255601"/>
            <a:ext cx="1023698" cy="864848"/>
          </a:xfrm>
          <a:prstGeom prst="rect">
            <a:avLst/>
          </a:prstGeom>
        </p:spPr>
      </p:pic>
    </p:spTree>
    <p:extLst>
      <p:ext uri="{BB962C8B-B14F-4D97-AF65-F5344CB8AC3E}">
        <p14:creationId xmlns:p14="http://schemas.microsoft.com/office/powerpoint/2010/main" val="351254929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CFD34286-E7AF-4441-8B8C-4FE65BE537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33779" y="1856793"/>
            <a:ext cx="1885164" cy="1406654"/>
          </a:xfrm>
          <a:prstGeom prst="rect">
            <a:avLst/>
          </a:prstGeom>
        </p:spPr>
      </p:pic>
      <p:sp>
        <p:nvSpPr>
          <p:cNvPr id="2" name="Titel 1"/>
          <p:cNvSpPr>
            <a:spLocks noGrp="1"/>
          </p:cNvSpPr>
          <p:nvPr>
            <p:ph type="title"/>
          </p:nvPr>
        </p:nvSpPr>
        <p:spPr/>
        <p:txBody>
          <a:bodyPr/>
          <a:lstStyle/>
          <a:p>
            <a:r>
              <a:rPr lang="en-US"/>
              <a:t>Lidl </a:t>
            </a:r>
          </a:p>
        </p:txBody>
      </p:sp>
      <p:sp>
        <p:nvSpPr>
          <p:cNvPr id="7" name="Untertitel 6"/>
          <p:cNvSpPr>
            <a:spLocks noGrp="1"/>
          </p:cNvSpPr>
          <p:nvPr>
            <p:ph type="subTitle" idx="1"/>
          </p:nvPr>
        </p:nvSpPr>
        <p:spPr/>
        <p:txBody>
          <a:bodyPr/>
          <a:lstStyle/>
          <a:p>
            <a:r>
              <a:rPr lang="en-US"/>
              <a:t>Lidl Digital: Intelligently link brick-and-mortar retail with online business</a:t>
            </a:r>
          </a:p>
        </p:txBody>
      </p:sp>
      <p:sp>
        <p:nvSpPr>
          <p:cNvPr id="22" name="Foliennummernplatzhalter 9">
            <a:extLst>
              <a:ext uri="{FF2B5EF4-FFF2-40B4-BE49-F238E27FC236}">
                <a16:creationId xmlns:a16="http://schemas.microsoft.com/office/drawing/2014/main" id="{878DA8E8-478B-4B83-9A16-047610670820}"/>
              </a:ext>
            </a:extLst>
          </p:cNvPr>
          <p:cNvSpPr>
            <a:spLocks noGrp="1"/>
          </p:cNvSpPr>
          <p:nvPr>
            <p:ph type="sldNum" sz="quarter" idx="12"/>
          </p:nvPr>
        </p:nvSpPr>
        <p:spPr/>
        <p:txBody>
          <a:bodyPr/>
          <a:lstStyle/>
          <a:p>
            <a:fld id="{0C7C1E0B-BD27-42F8-BC6B-2F0636970842}" type="slidenum">
              <a:rPr lang="de-DE" smtClean="0"/>
              <a:pPr/>
              <a:t>13</a:t>
            </a:fld>
            <a:endParaRPr lang="de-DE"/>
          </a:p>
        </p:txBody>
      </p:sp>
      <p:grpSp>
        <p:nvGrpSpPr>
          <p:cNvPr id="8" name="Gruppieren 7">
            <a:extLst>
              <a:ext uri="{FF2B5EF4-FFF2-40B4-BE49-F238E27FC236}">
                <a16:creationId xmlns:a16="http://schemas.microsoft.com/office/drawing/2014/main" id="{C83E7F92-5912-474F-B9AC-8E641B74B93E}"/>
              </a:ext>
            </a:extLst>
          </p:cNvPr>
          <p:cNvGrpSpPr/>
          <p:nvPr/>
        </p:nvGrpSpPr>
        <p:grpSpPr>
          <a:xfrm>
            <a:off x="5282443" y="3549128"/>
            <a:ext cx="601194" cy="601192"/>
            <a:chOff x="5456634" y="3209925"/>
            <a:chExt cx="1209675" cy="1209675"/>
          </a:xfrm>
        </p:grpSpPr>
        <p:sp>
          <p:nvSpPr>
            <p:cNvPr id="6" name="Rechteck 5">
              <a:extLst>
                <a:ext uri="{FF2B5EF4-FFF2-40B4-BE49-F238E27FC236}">
                  <a16:creationId xmlns:a16="http://schemas.microsoft.com/office/drawing/2014/main" id="{73D0C048-AF1B-4892-8AAC-B2D8F1F8DCC2}"/>
                </a:ext>
              </a:extLst>
            </p:cNvPr>
            <p:cNvSpPr/>
            <p:nvPr/>
          </p:nvSpPr>
          <p:spPr bwMode="gray">
            <a:xfrm>
              <a:off x="5961856" y="3209925"/>
              <a:ext cx="199231" cy="12096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29" name="Rechteck 28">
              <a:extLst>
                <a:ext uri="{FF2B5EF4-FFF2-40B4-BE49-F238E27FC236}">
                  <a16:creationId xmlns:a16="http://schemas.microsoft.com/office/drawing/2014/main" id="{99F20061-4E12-42A5-BA7F-E26A373AEEDF}"/>
                </a:ext>
              </a:extLst>
            </p:cNvPr>
            <p:cNvSpPr/>
            <p:nvPr/>
          </p:nvSpPr>
          <p:spPr bwMode="gray">
            <a:xfrm rot="5400000">
              <a:off x="5961856" y="3177262"/>
              <a:ext cx="199231" cy="12096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grpSp>
      <p:sp>
        <p:nvSpPr>
          <p:cNvPr id="24" name="Textfeld 23">
            <a:extLst>
              <a:ext uri="{FF2B5EF4-FFF2-40B4-BE49-F238E27FC236}">
                <a16:creationId xmlns:a16="http://schemas.microsoft.com/office/drawing/2014/main" id="{8030C7F0-8ADE-404F-88B8-8598815F1623}"/>
              </a:ext>
            </a:extLst>
          </p:cNvPr>
          <p:cNvSpPr txBox="1"/>
          <p:nvPr/>
        </p:nvSpPr>
        <p:spPr bwMode="gray">
          <a:xfrm>
            <a:off x="6570838" y="4485130"/>
            <a:ext cx="5187157" cy="1675117"/>
          </a:xfrm>
          <a:prstGeom prst="rect">
            <a:avLst/>
          </a:prstGeom>
          <a:noFill/>
        </p:spPr>
        <p:txBody>
          <a:bodyPr wrap="square" lIns="0" tIns="0" rIns="0" bIns="0" rtlCol="0">
            <a:noAutofit/>
          </a:bodyPr>
          <a:lstStyle/>
          <a:p>
            <a:pPr defTabSz="1088284">
              <a:spcAft>
                <a:spcPts val="1200"/>
              </a:spcAft>
            </a:pPr>
            <a:r>
              <a:rPr lang="en-US" sz="1800" b="1">
                <a:solidFill>
                  <a:schemeClr val="accent1"/>
                </a:solidFill>
              </a:rPr>
              <a:t>Online store / Lidl Reisen / Lidl Plus / Services</a:t>
            </a:r>
          </a:p>
          <a:p>
            <a:pPr defTabSz="1088284">
              <a:spcAft>
                <a:spcPts val="1200"/>
              </a:spcAft>
            </a:pPr>
            <a:r>
              <a:rPr lang="en-US" sz="1800" b="1">
                <a:solidFill>
                  <a:schemeClr val="accent1"/>
                </a:solidFill>
              </a:rPr>
              <a:t>Digital services </a:t>
            </a:r>
            <a:r>
              <a:rPr lang="en-US" sz="1800">
                <a:solidFill>
                  <a:prstClr val="black"/>
                </a:solidFill>
              </a:rPr>
              <a:t>in 12 countries</a:t>
            </a:r>
          </a:p>
          <a:p>
            <a:pPr defTabSz="1088284">
              <a:spcAft>
                <a:spcPts val="1200"/>
              </a:spcAft>
            </a:pPr>
            <a:r>
              <a:rPr lang="en-US" sz="1800"/>
              <a:t>&gt;</a:t>
            </a:r>
            <a:r>
              <a:rPr lang="en-US" sz="1800" b="1">
                <a:solidFill>
                  <a:schemeClr val="accent1"/>
                </a:solidFill>
              </a:rPr>
              <a:t> 12 million </a:t>
            </a:r>
            <a:r>
              <a:rPr lang="en-US" sz="1800">
                <a:solidFill>
                  <a:prstClr val="black"/>
                </a:solidFill>
              </a:rPr>
              <a:t>customers</a:t>
            </a:r>
          </a:p>
          <a:p>
            <a:pPr defTabSz="1088284">
              <a:spcAft>
                <a:spcPts val="1200"/>
              </a:spcAft>
            </a:pPr>
            <a:r>
              <a:rPr lang="en-US" sz="1800"/>
              <a:t>&gt;</a:t>
            </a:r>
            <a:r>
              <a:rPr lang="en-US" sz="1800" b="1">
                <a:solidFill>
                  <a:schemeClr val="accent1"/>
                </a:solidFill>
              </a:rPr>
              <a:t> 30,000 </a:t>
            </a:r>
            <a:r>
              <a:rPr lang="en-US" sz="1800"/>
              <a:t>products available online</a:t>
            </a:r>
          </a:p>
        </p:txBody>
      </p:sp>
      <p:sp>
        <p:nvSpPr>
          <p:cNvPr id="26" name="Textfeld 25">
            <a:extLst>
              <a:ext uri="{FF2B5EF4-FFF2-40B4-BE49-F238E27FC236}">
                <a16:creationId xmlns:a16="http://schemas.microsoft.com/office/drawing/2014/main" id="{4698B313-A6AD-4C45-9AF8-6FCA5E62A8B6}"/>
              </a:ext>
            </a:extLst>
          </p:cNvPr>
          <p:cNvSpPr txBox="1"/>
          <p:nvPr/>
        </p:nvSpPr>
        <p:spPr bwMode="gray">
          <a:xfrm>
            <a:off x="468521" y="4491480"/>
            <a:ext cx="4682319" cy="1675117"/>
          </a:xfrm>
          <a:prstGeom prst="rect">
            <a:avLst/>
          </a:prstGeom>
          <a:noFill/>
        </p:spPr>
        <p:txBody>
          <a:bodyPr wrap="square" lIns="0" tIns="0" rIns="0" bIns="0" rtlCol="0">
            <a:noAutofit/>
          </a:bodyPr>
          <a:lstStyle/>
          <a:p>
            <a:pPr defTabSz="1088284">
              <a:spcAft>
                <a:spcPts val="1200"/>
              </a:spcAft>
            </a:pPr>
            <a:r>
              <a:rPr lang="en-US" sz="1800" b="1" dirty="0">
                <a:solidFill>
                  <a:schemeClr val="accent1"/>
                </a:solidFill>
              </a:rPr>
              <a:t>Lidl stores</a:t>
            </a:r>
          </a:p>
          <a:p>
            <a:pPr defTabSz="1088284">
              <a:spcAft>
                <a:spcPts val="1200"/>
              </a:spcAft>
            </a:pPr>
            <a:r>
              <a:rPr lang="en-US" sz="1800" b="1" dirty="0">
                <a:solidFill>
                  <a:schemeClr val="accent1"/>
                </a:solidFill>
              </a:rPr>
              <a:t>10,800 </a:t>
            </a:r>
            <a:r>
              <a:rPr lang="en-US" sz="1800" dirty="0">
                <a:solidFill>
                  <a:prstClr val="black"/>
                </a:solidFill>
              </a:rPr>
              <a:t>stores</a:t>
            </a:r>
          </a:p>
          <a:p>
            <a:pPr defTabSz="1088284">
              <a:spcAft>
                <a:spcPts val="1200"/>
              </a:spcAft>
            </a:pPr>
            <a:r>
              <a:rPr lang="en-US" sz="1800" dirty="0"/>
              <a:t>&gt;</a:t>
            </a:r>
            <a:r>
              <a:rPr lang="en-US" sz="1800" b="1" dirty="0">
                <a:solidFill>
                  <a:schemeClr val="accent1"/>
                </a:solidFill>
              </a:rPr>
              <a:t> </a:t>
            </a:r>
            <a:r>
              <a:rPr lang="en-US" sz="1800" dirty="0">
                <a:solidFill>
                  <a:prstClr val="black"/>
                </a:solidFill>
              </a:rPr>
              <a:t>In </a:t>
            </a:r>
            <a:r>
              <a:rPr lang="en-US" sz="1800" b="1" dirty="0">
                <a:solidFill>
                  <a:schemeClr val="accent1"/>
                </a:solidFill>
              </a:rPr>
              <a:t>33 </a:t>
            </a:r>
            <a:r>
              <a:rPr lang="en-US" sz="1800" dirty="0">
                <a:solidFill>
                  <a:prstClr val="black"/>
                </a:solidFill>
              </a:rPr>
              <a:t>countries</a:t>
            </a:r>
          </a:p>
          <a:p>
            <a:pPr defTabSz="1088284">
              <a:spcAft>
                <a:spcPts val="1200"/>
              </a:spcAft>
            </a:pPr>
            <a:r>
              <a:rPr lang="en-US" sz="1800" dirty="0">
                <a:solidFill>
                  <a:prstClr val="black"/>
                </a:solidFill>
              </a:rPr>
              <a:t>&gt; </a:t>
            </a:r>
            <a:r>
              <a:rPr lang="en-US" sz="1800" dirty="0"/>
              <a:t>Wide selection of food / non-food items</a:t>
            </a:r>
          </a:p>
        </p:txBody>
      </p:sp>
      <p:pic>
        <p:nvPicPr>
          <p:cNvPr id="32" name="Grafik 31">
            <a:extLst>
              <a:ext uri="{FF2B5EF4-FFF2-40B4-BE49-F238E27FC236}">
                <a16:creationId xmlns:a16="http://schemas.microsoft.com/office/drawing/2014/main" id="{9140D323-ADE1-4F95-B466-48973345384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5011" y="2070858"/>
            <a:ext cx="342700" cy="342698"/>
          </a:xfrm>
          <a:prstGeom prst="rect">
            <a:avLst/>
          </a:prstGeom>
        </p:spPr>
      </p:pic>
      <p:pic>
        <p:nvPicPr>
          <p:cNvPr id="33" name="Grafik 32">
            <a:extLst>
              <a:ext uri="{FF2B5EF4-FFF2-40B4-BE49-F238E27FC236}">
                <a16:creationId xmlns:a16="http://schemas.microsoft.com/office/drawing/2014/main" id="{BA77BB13-5822-49D5-81AC-C193FA6400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09859" y="1856793"/>
            <a:ext cx="1662090" cy="1404179"/>
          </a:xfrm>
          <a:prstGeom prst="rect">
            <a:avLst/>
          </a:prstGeom>
        </p:spPr>
      </p:pic>
      <p:sp>
        <p:nvSpPr>
          <p:cNvPr id="36" name="Rechteck 35">
            <a:extLst>
              <a:ext uri="{FF2B5EF4-FFF2-40B4-BE49-F238E27FC236}">
                <a16:creationId xmlns:a16="http://schemas.microsoft.com/office/drawing/2014/main" id="{BF748D50-F494-4107-90D0-03FDC8B358F7}"/>
              </a:ext>
            </a:extLst>
          </p:cNvPr>
          <p:cNvSpPr/>
          <p:nvPr/>
        </p:nvSpPr>
        <p:spPr bwMode="gray">
          <a:xfrm>
            <a:off x="468521" y="3575716"/>
            <a:ext cx="4283783" cy="583904"/>
          </a:xfrm>
          <a:prstGeom prst="rect">
            <a:avLst/>
          </a:prstGeom>
          <a:gradFill>
            <a:gsLst>
              <a:gs pos="0">
                <a:srgbClr val="BD96C4"/>
              </a:gs>
              <a:gs pos="67000">
                <a:schemeClr val="accent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b="1">
                <a:solidFill>
                  <a:schemeClr val="bg1"/>
                </a:solidFill>
              </a:rPr>
              <a:t>Brick-and-mortar</a:t>
            </a:r>
          </a:p>
        </p:txBody>
      </p:sp>
      <p:sp>
        <p:nvSpPr>
          <p:cNvPr id="3" name="Rechteck 2">
            <a:extLst>
              <a:ext uri="{FF2B5EF4-FFF2-40B4-BE49-F238E27FC236}">
                <a16:creationId xmlns:a16="http://schemas.microsoft.com/office/drawing/2014/main" id="{8A41133F-7E74-4B0E-BFD0-6130A9F65CA4}"/>
              </a:ext>
            </a:extLst>
          </p:cNvPr>
          <p:cNvSpPr/>
          <p:nvPr/>
        </p:nvSpPr>
        <p:spPr>
          <a:xfrm>
            <a:off x="8083028" y="2405978"/>
            <a:ext cx="1226710" cy="307777"/>
          </a:xfrm>
          <a:prstGeom prst="rect">
            <a:avLst/>
          </a:prstGeom>
        </p:spPr>
        <p:txBody>
          <a:bodyPr wrap="square">
            <a:spAutoFit/>
          </a:bodyPr>
          <a:lstStyle/>
          <a:p>
            <a:r>
              <a:rPr lang="en-US" sz="1400" b="1">
                <a:solidFill>
                  <a:schemeClr val="accent1"/>
                </a:solidFill>
              </a:rPr>
              <a:t>www.lidl.de</a:t>
            </a:r>
          </a:p>
        </p:txBody>
      </p:sp>
      <p:sp>
        <p:nvSpPr>
          <p:cNvPr id="17" name="Rechteck 16">
            <a:extLst>
              <a:ext uri="{FF2B5EF4-FFF2-40B4-BE49-F238E27FC236}">
                <a16:creationId xmlns:a16="http://schemas.microsoft.com/office/drawing/2014/main" id="{5E61ADED-AA34-44C9-B970-DE43FD610F96}"/>
              </a:ext>
            </a:extLst>
          </p:cNvPr>
          <p:cNvSpPr/>
          <p:nvPr/>
        </p:nvSpPr>
        <p:spPr bwMode="gray">
          <a:xfrm>
            <a:off x="6534470" y="3575716"/>
            <a:ext cx="4283783" cy="583904"/>
          </a:xfrm>
          <a:prstGeom prst="rect">
            <a:avLst/>
          </a:prstGeom>
          <a:gradFill>
            <a:gsLst>
              <a:gs pos="0">
                <a:srgbClr val="BD96C4"/>
              </a:gs>
              <a:gs pos="67000">
                <a:schemeClr val="accent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b="1">
                <a:solidFill>
                  <a:schemeClr val="bg1"/>
                </a:solidFill>
              </a:rPr>
              <a:t>Online</a:t>
            </a:r>
          </a:p>
        </p:txBody>
      </p:sp>
      <p:pic>
        <p:nvPicPr>
          <p:cNvPr id="20" name="Grafik 19">
            <a:extLst>
              <a:ext uri="{FF2B5EF4-FFF2-40B4-BE49-F238E27FC236}">
                <a16:creationId xmlns:a16="http://schemas.microsoft.com/office/drawing/2014/main" id="{5CBFC51B-14F8-4D00-B8C4-B6555D87B77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00120" y="2340523"/>
            <a:ext cx="342700" cy="342698"/>
          </a:xfrm>
          <a:prstGeom prst="rect">
            <a:avLst/>
          </a:prstGeom>
        </p:spPr>
      </p:pic>
    </p:spTree>
    <p:extLst>
      <p:ext uri="{BB962C8B-B14F-4D97-AF65-F5344CB8AC3E}">
        <p14:creationId xmlns:p14="http://schemas.microsoft.com/office/powerpoint/2010/main" val="11944136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Ein Bild, das Essen, Frau, Marktplatz, Person enthält.&#10;&#10;Automatisch generierte Beschreibung">
            <a:extLst>
              <a:ext uri="{FF2B5EF4-FFF2-40B4-BE49-F238E27FC236}">
                <a16:creationId xmlns:a16="http://schemas.microsoft.com/office/drawing/2014/main" id="{B6751457-C520-4EA1-9BAB-718F0FE6583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8549" b="8549"/>
          <a:stretch/>
        </p:blipFill>
        <p:spPr>
          <a:xfrm>
            <a:off x="1119366" y="3918219"/>
            <a:ext cx="3985376" cy="2202229"/>
          </a:xfrm>
          <a:prstGeom prst="rect">
            <a:avLst/>
          </a:prstGeom>
        </p:spPr>
      </p:pic>
      <p:pic>
        <p:nvPicPr>
          <p:cNvPr id="14" name="Grafik 13" descr="Ein Bild, das Himmel, Auto, draußen, Straße enthält.&#10;&#10;Automatisch generierte Beschreibung">
            <a:extLst>
              <a:ext uri="{FF2B5EF4-FFF2-40B4-BE49-F238E27FC236}">
                <a16:creationId xmlns:a16="http://schemas.microsoft.com/office/drawing/2014/main" id="{F77AE1D4-17FF-4431-8B76-A7635854716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6393" b="11094"/>
          <a:stretch/>
        </p:blipFill>
        <p:spPr>
          <a:xfrm>
            <a:off x="5262557" y="3918218"/>
            <a:ext cx="4001416" cy="2202231"/>
          </a:xfrm>
          <a:prstGeom prst="rect">
            <a:avLst/>
          </a:prstGeom>
        </p:spPr>
      </p:pic>
      <p:pic>
        <p:nvPicPr>
          <p:cNvPr id="10" name="Grafik 9" descr="Ein Bild, das Person, drinnen, Mann enthält.&#10;&#10;Automatisch generierte Beschreibung">
            <a:extLst>
              <a:ext uri="{FF2B5EF4-FFF2-40B4-BE49-F238E27FC236}">
                <a16:creationId xmlns:a16="http://schemas.microsoft.com/office/drawing/2014/main" id="{F2C8270B-82A5-4A9B-9A87-D28221D7836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08" t="12953" b="3763"/>
          <a:stretch/>
        </p:blipFill>
        <p:spPr>
          <a:xfrm>
            <a:off x="5262557" y="1557953"/>
            <a:ext cx="3993398" cy="2212220"/>
          </a:xfrm>
          <a:prstGeom prst="rect">
            <a:avLst/>
          </a:prstGeom>
        </p:spPr>
      </p:pic>
      <p:pic>
        <p:nvPicPr>
          <p:cNvPr id="5" name="Grafik 4" descr="Ein Bild, das Himmel, draußen, Straße, Gebäude enthält.&#10;&#10;Automatisch generierte Beschreibung">
            <a:extLst>
              <a:ext uri="{FF2B5EF4-FFF2-40B4-BE49-F238E27FC236}">
                <a16:creationId xmlns:a16="http://schemas.microsoft.com/office/drawing/2014/main" id="{92D62A6D-CFD7-4DFE-A7DF-03053F3CD1F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610" b="17435"/>
          <a:stretch/>
        </p:blipFill>
        <p:spPr>
          <a:xfrm>
            <a:off x="1119366" y="1562857"/>
            <a:ext cx="3985376" cy="2207315"/>
          </a:xfrm>
          <a:prstGeom prst="rect">
            <a:avLst/>
          </a:prstGeom>
        </p:spPr>
      </p:pic>
      <p:sp>
        <p:nvSpPr>
          <p:cNvPr id="2" name="Titel 1"/>
          <p:cNvSpPr>
            <a:spLocks noGrp="1"/>
          </p:cNvSpPr>
          <p:nvPr>
            <p:ph type="title"/>
          </p:nvPr>
        </p:nvSpPr>
        <p:spPr/>
        <p:txBody>
          <a:bodyPr/>
          <a:lstStyle/>
          <a:p>
            <a:r>
              <a:rPr lang="en-US"/>
              <a:t>Kaufland</a:t>
            </a:r>
          </a:p>
        </p:txBody>
      </p:sp>
      <p:sp>
        <p:nvSpPr>
          <p:cNvPr id="7" name="Untertitel 6"/>
          <p:cNvSpPr>
            <a:spLocks noGrp="1"/>
          </p:cNvSpPr>
          <p:nvPr>
            <p:ph type="subTitle" idx="1"/>
          </p:nvPr>
        </p:nvSpPr>
        <p:spPr/>
        <p:txBody>
          <a:bodyPr/>
          <a:lstStyle/>
          <a:p>
            <a:r>
              <a:rPr lang="en-US"/>
              <a:t>Our self-service department store: The perfect shopping experience </a:t>
            </a:r>
          </a:p>
        </p:txBody>
      </p:sp>
      <p:sp>
        <p:nvSpPr>
          <p:cNvPr id="20" name="Foliennummernplatzhalter 9">
            <a:extLst>
              <a:ext uri="{FF2B5EF4-FFF2-40B4-BE49-F238E27FC236}">
                <a16:creationId xmlns:a16="http://schemas.microsoft.com/office/drawing/2014/main" id="{0B1CD8D5-C8A7-404A-9626-BF6A74D286BA}"/>
              </a:ext>
            </a:extLst>
          </p:cNvPr>
          <p:cNvSpPr>
            <a:spLocks noGrp="1"/>
          </p:cNvSpPr>
          <p:nvPr>
            <p:ph type="sldNum" sz="quarter" idx="12"/>
          </p:nvPr>
        </p:nvSpPr>
        <p:spPr/>
        <p:txBody>
          <a:bodyPr/>
          <a:lstStyle/>
          <a:p>
            <a:fld id="{0C7C1E0B-BD27-42F8-BC6B-2F0636970842}" type="slidenum">
              <a:rPr lang="de-DE" smtClean="0"/>
              <a:pPr/>
              <a:t>14</a:t>
            </a:fld>
            <a:endParaRPr lang="de-DE"/>
          </a:p>
        </p:txBody>
      </p:sp>
      <p:pic>
        <p:nvPicPr>
          <p:cNvPr id="12" name="Grafik 11">
            <a:extLst>
              <a:ext uri="{FF2B5EF4-FFF2-40B4-BE49-F238E27FC236}">
                <a16:creationId xmlns:a16="http://schemas.microsoft.com/office/drawing/2014/main" id="{6F491FC7-00E1-4CBC-9504-3F3B6ADB12C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27894" y="1558571"/>
            <a:ext cx="1105491" cy="1105491"/>
          </a:xfrm>
          <a:prstGeom prst="rect">
            <a:avLst/>
          </a:prstGeom>
        </p:spPr>
      </p:pic>
      <p:sp>
        <p:nvSpPr>
          <p:cNvPr id="13" name="Textfeld 12">
            <a:extLst>
              <a:ext uri="{FF2B5EF4-FFF2-40B4-BE49-F238E27FC236}">
                <a16:creationId xmlns:a16="http://schemas.microsoft.com/office/drawing/2014/main" id="{0FE50A86-DBC9-47F2-9B1F-58626E6AE5A1}"/>
              </a:ext>
            </a:extLst>
          </p:cNvPr>
          <p:cNvSpPr txBox="1"/>
          <p:nvPr/>
        </p:nvSpPr>
        <p:spPr bwMode="gray">
          <a:xfrm>
            <a:off x="10105121" y="2952908"/>
            <a:ext cx="1589744" cy="128330"/>
          </a:xfrm>
          <a:prstGeom prst="rect">
            <a:avLst/>
          </a:prstGeom>
          <a:noFill/>
        </p:spPr>
        <p:txBody>
          <a:bodyPr wrap="square" lIns="144000" tIns="0" rIns="0" bIns="0" rtlCol="0" anchor="b" anchorCtr="0">
            <a:noAutofit/>
          </a:bodyPr>
          <a:lstStyle/>
          <a:p>
            <a:pPr algn="r" defTabSz="1088284"/>
            <a:endParaRPr lang="de-DE" sz="1200" b="1" i="1">
              <a:solidFill>
                <a:srgbClr val="791F82"/>
              </a:solidFill>
              <a:latin typeface="Arial"/>
            </a:endParaRPr>
          </a:p>
          <a:p>
            <a:pPr algn="r" defTabSz="1088284">
              <a:spcAft>
                <a:spcPts val="200"/>
              </a:spcAft>
            </a:pPr>
            <a:r>
              <a:rPr lang="en-US" sz="1200" b="1">
                <a:latin typeface="Arial"/>
              </a:rPr>
              <a:t>www.kaufland.de</a:t>
            </a:r>
          </a:p>
        </p:txBody>
      </p:sp>
      <p:pic>
        <p:nvPicPr>
          <p:cNvPr id="15" name="Grafik 14">
            <a:extLst>
              <a:ext uri="{FF2B5EF4-FFF2-40B4-BE49-F238E27FC236}">
                <a16:creationId xmlns:a16="http://schemas.microsoft.com/office/drawing/2014/main" id="{70897450-E9FA-47CC-9086-25DC4D2FA87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71167" y="5255601"/>
            <a:ext cx="1023698" cy="864848"/>
          </a:xfrm>
          <a:prstGeom prst="rect">
            <a:avLst/>
          </a:prstGeom>
        </p:spPr>
      </p:pic>
    </p:spTree>
    <p:extLst>
      <p:ext uri="{BB962C8B-B14F-4D97-AF65-F5344CB8AC3E}">
        <p14:creationId xmlns:p14="http://schemas.microsoft.com/office/powerpoint/2010/main" val="9457850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Ein Bild, das Essen, Frau, Marktplatz, Person enthält.&#10;&#10;Automatisch generierte Beschreibung">
            <a:extLst>
              <a:ext uri="{FF2B5EF4-FFF2-40B4-BE49-F238E27FC236}">
                <a16:creationId xmlns:a16="http://schemas.microsoft.com/office/drawing/2014/main" id="{B6751457-C520-4EA1-9BAB-718F0FE65837}"/>
              </a:ext>
            </a:extLst>
          </p:cNvPr>
          <p:cNvPicPr>
            <a:picLocks noChangeAspect="1"/>
          </p:cNvPicPr>
          <p:nvPr/>
        </p:nvPicPr>
        <p:blipFill rotWithShape="1">
          <a:blip r:embed="rId3" cstate="print">
            <a:alphaModFix amt="40000"/>
            <a:extLst>
              <a:ext uri="{28A0092B-C50C-407E-A947-70E740481C1C}">
                <a14:useLocalDpi xmlns:a14="http://schemas.microsoft.com/office/drawing/2010/main" val="0"/>
              </a:ext>
            </a:extLst>
          </a:blip>
          <a:srcRect t="8549" b="8549"/>
          <a:stretch/>
        </p:blipFill>
        <p:spPr>
          <a:xfrm>
            <a:off x="1119366" y="3918219"/>
            <a:ext cx="3985376" cy="2202229"/>
          </a:xfrm>
          <a:prstGeom prst="rect">
            <a:avLst/>
          </a:prstGeom>
        </p:spPr>
      </p:pic>
      <p:pic>
        <p:nvPicPr>
          <p:cNvPr id="14" name="Grafik 13" descr="Ein Bild, das Himmel, Auto, draußen, Straße enthält.&#10;&#10;Automatisch generierte Beschreibung">
            <a:extLst>
              <a:ext uri="{FF2B5EF4-FFF2-40B4-BE49-F238E27FC236}">
                <a16:creationId xmlns:a16="http://schemas.microsoft.com/office/drawing/2014/main" id="{F77AE1D4-17FF-4431-8B76-A76358547167}"/>
              </a:ext>
            </a:extLst>
          </p:cNvPr>
          <p:cNvPicPr>
            <a:picLocks noChangeAspect="1"/>
          </p:cNvPicPr>
          <p:nvPr/>
        </p:nvPicPr>
        <p:blipFill rotWithShape="1">
          <a:blip r:embed="rId4" cstate="print">
            <a:alphaModFix amt="40000"/>
            <a:extLst>
              <a:ext uri="{28A0092B-C50C-407E-A947-70E740481C1C}">
                <a14:useLocalDpi xmlns:a14="http://schemas.microsoft.com/office/drawing/2010/main" val="0"/>
              </a:ext>
            </a:extLst>
          </a:blip>
          <a:srcRect t="6393" b="11094"/>
          <a:stretch/>
        </p:blipFill>
        <p:spPr>
          <a:xfrm>
            <a:off x="5262557" y="3918218"/>
            <a:ext cx="4001416" cy="2202231"/>
          </a:xfrm>
          <a:prstGeom prst="rect">
            <a:avLst/>
          </a:prstGeom>
        </p:spPr>
      </p:pic>
      <p:pic>
        <p:nvPicPr>
          <p:cNvPr id="10" name="Grafik 9" descr="Ein Bild, das Person, drinnen, Mann enthält.&#10;&#10;Automatisch generierte Beschreibung">
            <a:extLst>
              <a:ext uri="{FF2B5EF4-FFF2-40B4-BE49-F238E27FC236}">
                <a16:creationId xmlns:a16="http://schemas.microsoft.com/office/drawing/2014/main" id="{F2C8270B-82A5-4A9B-9A87-D28221D7836C}"/>
              </a:ext>
            </a:extLst>
          </p:cNvPr>
          <p:cNvPicPr>
            <a:picLocks noChangeAspect="1"/>
          </p:cNvPicPr>
          <p:nvPr/>
        </p:nvPicPr>
        <p:blipFill rotWithShape="1">
          <a:blip r:embed="rId5" cstate="print">
            <a:alphaModFix amt="40000"/>
            <a:extLst>
              <a:ext uri="{28A0092B-C50C-407E-A947-70E740481C1C}">
                <a14:useLocalDpi xmlns:a14="http://schemas.microsoft.com/office/drawing/2010/main" val="0"/>
              </a:ext>
            </a:extLst>
          </a:blip>
          <a:srcRect l="-208" t="12953" b="3763"/>
          <a:stretch/>
        </p:blipFill>
        <p:spPr>
          <a:xfrm>
            <a:off x="5262557" y="1557953"/>
            <a:ext cx="3993398" cy="2212220"/>
          </a:xfrm>
          <a:prstGeom prst="rect">
            <a:avLst/>
          </a:prstGeom>
        </p:spPr>
      </p:pic>
      <p:pic>
        <p:nvPicPr>
          <p:cNvPr id="5" name="Grafik 4" descr="Ein Bild, das Himmel, draußen, Straße, Gebäude enthält.&#10;&#10;Automatisch generierte Beschreibung">
            <a:extLst>
              <a:ext uri="{FF2B5EF4-FFF2-40B4-BE49-F238E27FC236}">
                <a16:creationId xmlns:a16="http://schemas.microsoft.com/office/drawing/2014/main" id="{92D62A6D-CFD7-4DFE-A7DF-03053F3CD1FB}"/>
              </a:ext>
            </a:extLst>
          </p:cNvPr>
          <p:cNvPicPr>
            <a:picLocks noChangeAspect="1"/>
          </p:cNvPicPr>
          <p:nvPr/>
        </p:nvPicPr>
        <p:blipFill rotWithShape="1">
          <a:blip r:embed="rId6" cstate="print">
            <a:alphaModFix amt="40000"/>
            <a:extLst>
              <a:ext uri="{28A0092B-C50C-407E-A947-70E740481C1C}">
                <a14:useLocalDpi xmlns:a14="http://schemas.microsoft.com/office/drawing/2010/main" val="0"/>
              </a:ext>
            </a:extLst>
          </a:blip>
          <a:srcRect r="610" b="17435"/>
          <a:stretch/>
        </p:blipFill>
        <p:spPr>
          <a:xfrm>
            <a:off x="1119366" y="1562857"/>
            <a:ext cx="3985376" cy="2207315"/>
          </a:xfrm>
          <a:prstGeom prst="rect">
            <a:avLst/>
          </a:prstGeom>
        </p:spPr>
      </p:pic>
      <p:sp>
        <p:nvSpPr>
          <p:cNvPr id="2" name="Titel 1"/>
          <p:cNvSpPr>
            <a:spLocks noGrp="1"/>
          </p:cNvSpPr>
          <p:nvPr>
            <p:ph type="title"/>
          </p:nvPr>
        </p:nvSpPr>
        <p:spPr/>
        <p:txBody>
          <a:bodyPr/>
          <a:lstStyle/>
          <a:p>
            <a:r>
              <a:rPr lang="en-US"/>
              <a:t>Kaufland</a:t>
            </a:r>
          </a:p>
        </p:txBody>
      </p:sp>
      <p:sp>
        <p:nvSpPr>
          <p:cNvPr id="7" name="Untertitel 6"/>
          <p:cNvSpPr>
            <a:spLocks noGrp="1"/>
          </p:cNvSpPr>
          <p:nvPr>
            <p:ph type="subTitle" idx="1"/>
          </p:nvPr>
        </p:nvSpPr>
        <p:spPr/>
        <p:txBody>
          <a:bodyPr/>
          <a:lstStyle/>
          <a:p>
            <a:r>
              <a:rPr lang="en-US"/>
              <a:t>Our self-service department store: The perfect shopping experience </a:t>
            </a:r>
          </a:p>
        </p:txBody>
      </p:sp>
      <p:sp>
        <p:nvSpPr>
          <p:cNvPr id="27" name="Foliennummernplatzhalter 9">
            <a:extLst>
              <a:ext uri="{FF2B5EF4-FFF2-40B4-BE49-F238E27FC236}">
                <a16:creationId xmlns:a16="http://schemas.microsoft.com/office/drawing/2014/main" id="{C90B4D3D-9DAF-4A82-A96F-23601EF3CDF8}"/>
              </a:ext>
            </a:extLst>
          </p:cNvPr>
          <p:cNvSpPr>
            <a:spLocks noGrp="1"/>
          </p:cNvSpPr>
          <p:nvPr>
            <p:ph type="sldNum" sz="quarter" idx="16"/>
          </p:nvPr>
        </p:nvSpPr>
        <p:spPr/>
        <p:txBody>
          <a:bodyPr/>
          <a:lstStyle/>
          <a:p>
            <a:fld id="{0C7C1E0B-BD27-42F8-BC6B-2F0636970842}" type="slidenum">
              <a:rPr lang="de-DE" smtClean="0"/>
              <a:pPr/>
              <a:t>15</a:t>
            </a:fld>
            <a:endParaRPr lang="de-DE"/>
          </a:p>
        </p:txBody>
      </p:sp>
      <p:grpSp>
        <p:nvGrpSpPr>
          <p:cNvPr id="21" name="Gruppieren 20">
            <a:extLst>
              <a:ext uri="{FF2B5EF4-FFF2-40B4-BE49-F238E27FC236}">
                <a16:creationId xmlns:a16="http://schemas.microsoft.com/office/drawing/2014/main" id="{69F5B506-6954-49A0-90C7-CA6C0220F3D9}"/>
              </a:ext>
            </a:extLst>
          </p:cNvPr>
          <p:cNvGrpSpPr/>
          <p:nvPr/>
        </p:nvGrpSpPr>
        <p:grpSpPr>
          <a:xfrm>
            <a:off x="707926" y="1893617"/>
            <a:ext cx="8465039" cy="3461358"/>
            <a:chOff x="-533757" y="3591080"/>
            <a:chExt cx="6125359" cy="2015590"/>
          </a:xfrm>
        </p:grpSpPr>
        <p:sp>
          <p:nvSpPr>
            <p:cNvPr id="22" name="Textfeld 21">
              <a:extLst>
                <a:ext uri="{FF2B5EF4-FFF2-40B4-BE49-F238E27FC236}">
                  <a16:creationId xmlns:a16="http://schemas.microsoft.com/office/drawing/2014/main" id="{174907B0-7585-450A-A940-C7128E985F09}"/>
                </a:ext>
              </a:extLst>
            </p:cNvPr>
            <p:cNvSpPr txBox="1"/>
            <p:nvPr/>
          </p:nvSpPr>
          <p:spPr bwMode="gray">
            <a:xfrm>
              <a:off x="-533757" y="3591081"/>
              <a:ext cx="3090975" cy="2015589"/>
            </a:xfrm>
            <a:prstGeom prst="rect">
              <a:avLst/>
            </a:prstGeom>
            <a:noFill/>
          </p:spPr>
          <p:txBody>
            <a:bodyPr wrap="square" lIns="0" tIns="0" rIns="0" bIns="0" rtlCol="0">
              <a:noAutofit/>
            </a:bodyPr>
            <a:lstStyle/>
            <a:p>
              <a:pPr algn="r" defTabSz="1088284">
                <a:spcAft>
                  <a:spcPts val="1200"/>
                </a:spcAft>
              </a:pPr>
              <a:r>
                <a:rPr lang="en-US" sz="2400" b="1">
                  <a:solidFill>
                    <a:schemeClr val="accent1"/>
                  </a:solidFill>
                </a:rPr>
                <a:t>23.7 bn</a:t>
              </a:r>
            </a:p>
            <a:p>
              <a:pPr algn="r" defTabSz="1088284">
                <a:spcAft>
                  <a:spcPts val="1200"/>
                </a:spcAft>
              </a:pPr>
              <a:r>
                <a:rPr lang="en-US" sz="2400" b="1">
                  <a:solidFill>
                    <a:schemeClr val="accent1"/>
                  </a:solidFill>
                </a:rPr>
                <a:t>1,300 stores</a:t>
              </a:r>
            </a:p>
            <a:p>
              <a:pPr algn="r" defTabSz="1088284">
                <a:spcAft>
                  <a:spcPts val="1200"/>
                </a:spcAft>
              </a:pPr>
              <a:r>
                <a:rPr lang="en-US" sz="2400" b="1">
                  <a:solidFill>
                    <a:schemeClr val="accent1"/>
                  </a:solidFill>
                </a:rPr>
                <a:t>670 stores</a:t>
              </a:r>
            </a:p>
            <a:p>
              <a:pPr algn="r" defTabSz="1088284">
                <a:spcAft>
                  <a:spcPts val="1200"/>
                </a:spcAft>
              </a:pPr>
              <a:r>
                <a:rPr lang="en-US" sz="2400" b="1">
                  <a:solidFill>
                    <a:schemeClr val="accent1"/>
                  </a:solidFill>
                </a:rPr>
                <a:t>132,000</a:t>
              </a:r>
            </a:p>
            <a:p>
              <a:pPr algn="r" defTabSz="1088284">
                <a:spcAft>
                  <a:spcPts val="1200"/>
                </a:spcAft>
              </a:pPr>
              <a:r>
                <a:rPr lang="en-US" sz="2400" b="1">
                  <a:solidFill>
                    <a:schemeClr val="accent1"/>
                  </a:solidFill>
                </a:rPr>
                <a:t>(avg.) 4,200 m</a:t>
              </a:r>
              <a:r>
                <a:rPr lang="en-US" sz="2400" b="1" baseline="30000">
                  <a:solidFill>
                    <a:schemeClr val="accent1"/>
                  </a:solidFill>
                </a:rPr>
                <a:t>2</a:t>
              </a:r>
            </a:p>
            <a:p>
              <a:pPr algn="r" defTabSz="1088284">
                <a:spcAft>
                  <a:spcPts val="1200"/>
                </a:spcAft>
              </a:pPr>
              <a:r>
                <a:rPr lang="en-US" sz="2400" b="1">
                  <a:solidFill>
                    <a:schemeClr val="accent1"/>
                  </a:solidFill>
                </a:rPr>
                <a:t>(avg.) 30,000 items</a:t>
              </a:r>
            </a:p>
            <a:p>
              <a:pPr algn="r" defTabSz="1088284">
                <a:spcAft>
                  <a:spcPts val="1200"/>
                </a:spcAft>
              </a:pPr>
              <a:r>
                <a:rPr lang="en-US" sz="2400" b="1">
                  <a:solidFill>
                    <a:schemeClr val="accent1"/>
                  </a:solidFill>
                </a:rPr>
                <a:t>5 meat processing plants</a:t>
              </a:r>
            </a:p>
            <a:p>
              <a:pPr algn="r" defTabSz="1088284">
                <a:spcAft>
                  <a:spcPts val="1200"/>
                </a:spcAft>
              </a:pPr>
              <a:r>
                <a:rPr lang="en-US" sz="1200" b="1">
                  <a:solidFill>
                    <a:schemeClr val="accent1"/>
                  </a:solidFill>
                </a:rPr>
                <a:t> </a:t>
              </a:r>
              <a:r>
                <a:rPr lang="en-US" sz="2400" b="1">
                  <a:solidFill>
                    <a:schemeClr val="accent1"/>
                  </a:solidFill>
                </a:rPr>
                <a:t>with</a:t>
              </a:r>
              <a:r>
                <a:rPr lang="en-US" sz="1200" b="1">
                  <a:solidFill>
                    <a:schemeClr val="accent1"/>
                  </a:solidFill>
                </a:rPr>
                <a:t> </a:t>
              </a:r>
              <a:r>
                <a:rPr lang="en-US" sz="2400" b="1">
                  <a:solidFill>
                    <a:schemeClr val="accent1"/>
                  </a:solidFill>
                </a:rPr>
                <a:t>200,000 t</a:t>
              </a:r>
            </a:p>
          </p:txBody>
        </p:sp>
        <p:sp>
          <p:nvSpPr>
            <p:cNvPr id="23" name="Textfeld 22">
              <a:extLst>
                <a:ext uri="{FF2B5EF4-FFF2-40B4-BE49-F238E27FC236}">
                  <a16:creationId xmlns:a16="http://schemas.microsoft.com/office/drawing/2014/main" id="{EABD1317-0D64-4409-8C0D-C0865FE6D63B}"/>
                </a:ext>
              </a:extLst>
            </p:cNvPr>
            <p:cNvSpPr txBox="1"/>
            <p:nvPr/>
          </p:nvSpPr>
          <p:spPr bwMode="gray">
            <a:xfrm>
              <a:off x="2852595" y="3591080"/>
              <a:ext cx="2739007" cy="2015589"/>
            </a:xfrm>
            <a:prstGeom prst="rect">
              <a:avLst/>
            </a:prstGeom>
            <a:noFill/>
          </p:spPr>
          <p:txBody>
            <a:bodyPr wrap="square" lIns="0" tIns="0" rIns="0" bIns="0" rtlCol="0">
              <a:noAutofit/>
            </a:bodyPr>
            <a:lstStyle/>
            <a:p>
              <a:pPr defTabSz="1088284">
                <a:spcAft>
                  <a:spcPts val="1200"/>
                </a:spcAft>
              </a:pPr>
              <a:r>
                <a:rPr lang="en-US" sz="2400">
                  <a:solidFill>
                    <a:prstClr val="black"/>
                  </a:solidFill>
                  <a:latin typeface="Arial"/>
                </a:rPr>
                <a:t>Euro sales</a:t>
              </a:r>
            </a:p>
            <a:p>
              <a:pPr defTabSz="1088284">
                <a:spcAft>
                  <a:spcPts val="1200"/>
                </a:spcAft>
              </a:pPr>
              <a:r>
                <a:rPr lang="en-US" sz="2400">
                  <a:solidFill>
                    <a:prstClr val="black"/>
                  </a:solidFill>
                  <a:latin typeface="Arial"/>
                </a:rPr>
                <a:t>in </a:t>
              </a:r>
              <a:r>
                <a:rPr lang="en-US" sz="2400" b="1">
                  <a:solidFill>
                    <a:schemeClr val="accent1"/>
                  </a:solidFill>
                </a:rPr>
                <a:t>8</a:t>
              </a:r>
              <a:r>
                <a:rPr lang="en-US" sz="2400">
                  <a:solidFill>
                    <a:prstClr val="black"/>
                  </a:solidFill>
                  <a:latin typeface="Arial"/>
                </a:rPr>
                <a:t> countries</a:t>
              </a:r>
            </a:p>
            <a:p>
              <a:pPr defTabSz="1088284">
                <a:spcAft>
                  <a:spcPts val="1200"/>
                </a:spcAft>
              </a:pPr>
              <a:r>
                <a:rPr lang="en-US" sz="2400">
                  <a:solidFill>
                    <a:prstClr val="black"/>
                  </a:solidFill>
                  <a:latin typeface="Arial"/>
                </a:rPr>
                <a:t>in Germany</a:t>
              </a:r>
            </a:p>
            <a:p>
              <a:pPr defTabSz="1088284">
                <a:spcAft>
                  <a:spcPts val="1200"/>
                </a:spcAft>
              </a:pPr>
              <a:r>
                <a:rPr lang="en-US" sz="2400">
                  <a:solidFill>
                    <a:prstClr val="black"/>
                  </a:solidFill>
                  <a:latin typeface="Arial"/>
                </a:rPr>
                <a:t>Employees</a:t>
              </a:r>
            </a:p>
            <a:p>
              <a:pPr defTabSz="1088284">
                <a:spcAft>
                  <a:spcPts val="1200"/>
                </a:spcAft>
              </a:pPr>
              <a:r>
                <a:rPr lang="en-US" sz="2400">
                  <a:solidFill>
                    <a:prstClr val="black"/>
                  </a:solidFill>
                  <a:latin typeface="Arial"/>
                </a:rPr>
                <a:t>Sales area</a:t>
              </a:r>
            </a:p>
            <a:p>
              <a:pPr defTabSz="1088284">
                <a:spcAft>
                  <a:spcPts val="1200"/>
                </a:spcAft>
              </a:pPr>
              <a:r>
                <a:rPr lang="en-US" sz="2400">
                  <a:solidFill>
                    <a:prstClr val="black"/>
                  </a:solidFill>
                  <a:latin typeface="Arial"/>
                </a:rPr>
                <a:t>In our assortment</a:t>
              </a:r>
            </a:p>
            <a:p>
              <a:pPr defTabSz="1088284">
                <a:spcAft>
                  <a:spcPts val="1200"/>
                </a:spcAft>
              </a:pPr>
              <a:r>
                <a:rPr lang="en-US" sz="2400">
                  <a:solidFill>
                    <a:prstClr val="black"/>
                  </a:solidFill>
                  <a:latin typeface="Arial"/>
                </a:rPr>
                <a:t>In Europe</a:t>
              </a:r>
            </a:p>
            <a:p>
              <a:pPr defTabSz="1088284">
                <a:spcAft>
                  <a:spcPts val="1200"/>
                </a:spcAft>
              </a:pPr>
              <a:r>
                <a:rPr lang="en-US" sz="2400">
                  <a:solidFill>
                    <a:prstClr val="black"/>
                  </a:solidFill>
                  <a:latin typeface="Arial"/>
                </a:rPr>
                <a:t>Annual production volume</a:t>
              </a:r>
            </a:p>
          </p:txBody>
        </p:sp>
      </p:grpSp>
      <p:pic>
        <p:nvPicPr>
          <p:cNvPr id="20" name="Grafik 19">
            <a:extLst>
              <a:ext uri="{FF2B5EF4-FFF2-40B4-BE49-F238E27FC236}">
                <a16:creationId xmlns:a16="http://schemas.microsoft.com/office/drawing/2014/main" id="{C6104A09-E25B-4C07-80FC-EF3EDC71027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27894" y="1558571"/>
            <a:ext cx="1105491" cy="1105491"/>
          </a:xfrm>
          <a:prstGeom prst="rect">
            <a:avLst/>
          </a:prstGeom>
        </p:spPr>
      </p:pic>
      <p:sp>
        <p:nvSpPr>
          <p:cNvPr id="25" name="Textfeld 24">
            <a:extLst>
              <a:ext uri="{FF2B5EF4-FFF2-40B4-BE49-F238E27FC236}">
                <a16:creationId xmlns:a16="http://schemas.microsoft.com/office/drawing/2014/main" id="{28CE9793-E6E6-4CE4-9EA8-C4EA3B0C1806}"/>
              </a:ext>
            </a:extLst>
          </p:cNvPr>
          <p:cNvSpPr txBox="1"/>
          <p:nvPr/>
        </p:nvSpPr>
        <p:spPr bwMode="gray">
          <a:xfrm>
            <a:off x="10105121" y="2952908"/>
            <a:ext cx="1589744" cy="128330"/>
          </a:xfrm>
          <a:prstGeom prst="rect">
            <a:avLst/>
          </a:prstGeom>
          <a:noFill/>
        </p:spPr>
        <p:txBody>
          <a:bodyPr wrap="square" lIns="144000" tIns="0" rIns="0" bIns="0" rtlCol="0" anchor="b" anchorCtr="0">
            <a:noAutofit/>
          </a:bodyPr>
          <a:lstStyle/>
          <a:p>
            <a:pPr algn="r" defTabSz="1088284"/>
            <a:endParaRPr lang="de-DE" sz="1200" b="1" i="1">
              <a:solidFill>
                <a:srgbClr val="791F82"/>
              </a:solidFill>
              <a:latin typeface="Arial"/>
            </a:endParaRPr>
          </a:p>
          <a:p>
            <a:pPr algn="r" defTabSz="1088284">
              <a:spcAft>
                <a:spcPts val="200"/>
              </a:spcAft>
            </a:pPr>
            <a:r>
              <a:rPr lang="en-US" sz="1200" b="1">
                <a:latin typeface="Arial"/>
              </a:rPr>
              <a:t>www.kaufland.de</a:t>
            </a:r>
          </a:p>
        </p:txBody>
      </p:sp>
      <p:pic>
        <p:nvPicPr>
          <p:cNvPr id="26" name="Grafik 25">
            <a:extLst>
              <a:ext uri="{FF2B5EF4-FFF2-40B4-BE49-F238E27FC236}">
                <a16:creationId xmlns:a16="http://schemas.microsoft.com/office/drawing/2014/main" id="{76397F0F-D5CC-4816-90EA-D4123461BD9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71167" y="5255601"/>
            <a:ext cx="1023698" cy="864848"/>
          </a:xfrm>
          <a:prstGeom prst="rect">
            <a:avLst/>
          </a:prstGeom>
        </p:spPr>
      </p:pic>
    </p:spTree>
    <p:extLst>
      <p:ext uri="{BB962C8B-B14F-4D97-AF65-F5344CB8AC3E}">
        <p14:creationId xmlns:p14="http://schemas.microsoft.com/office/powerpoint/2010/main" val="248613635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658DD477-9052-4433-8F9D-316E6270CB0C}"/>
              </a:ext>
            </a:extLst>
          </p:cNvPr>
          <p:cNvSpPr>
            <a:spLocks noGrp="1"/>
          </p:cNvSpPr>
          <p:nvPr>
            <p:ph type="title"/>
          </p:nvPr>
        </p:nvSpPr>
        <p:spPr/>
        <p:txBody>
          <a:bodyPr/>
          <a:lstStyle/>
          <a:p>
            <a:r>
              <a:rPr lang="en-US"/>
              <a:t>SCHWARZ GROUP</a:t>
            </a:r>
          </a:p>
        </p:txBody>
      </p:sp>
      <p:pic>
        <p:nvPicPr>
          <p:cNvPr id="6" name="Grafik 5">
            <a:extLst>
              <a:ext uri="{FF2B5EF4-FFF2-40B4-BE49-F238E27FC236}">
                <a16:creationId xmlns:a16="http://schemas.microsoft.com/office/drawing/2014/main" id="{BC12DB67-461F-419E-ADCE-16A212B5F9D4}"/>
              </a:ext>
            </a:extLst>
          </p:cNvPr>
          <p:cNvPicPr>
            <a:picLocks noChangeAspect="1"/>
          </p:cNvPicPr>
          <p:nvPr/>
        </p:nvPicPr>
        <p:blipFill>
          <a:blip r:embed="rId3"/>
          <a:srcRect/>
          <a:stretch/>
        </p:blipFill>
        <p:spPr>
          <a:xfrm>
            <a:off x="2681684" y="413673"/>
            <a:ext cx="6827044" cy="6144924"/>
          </a:xfrm>
          <a:prstGeom prst="rect">
            <a:avLst/>
          </a:prstGeom>
        </p:spPr>
      </p:pic>
      <p:sp>
        <p:nvSpPr>
          <p:cNvPr id="7" name="Foliennummernplatzhalter 6">
            <a:extLst>
              <a:ext uri="{FF2B5EF4-FFF2-40B4-BE49-F238E27FC236}">
                <a16:creationId xmlns:a16="http://schemas.microsoft.com/office/drawing/2014/main" id="{1AD8AFFD-FD8F-4FFA-A2F2-88147F51C88F}"/>
              </a:ext>
            </a:extLst>
          </p:cNvPr>
          <p:cNvSpPr>
            <a:spLocks noGrp="1"/>
          </p:cNvSpPr>
          <p:nvPr>
            <p:ph type="sldNum" sz="quarter" idx="12"/>
          </p:nvPr>
        </p:nvSpPr>
        <p:spPr/>
        <p:txBody>
          <a:bodyPr/>
          <a:lstStyle/>
          <a:p>
            <a:fld id="{0C7C1E0B-BD27-42F8-BC6B-2F0636970842}" type="slidenum">
              <a:rPr lang="de-DE" smtClean="0"/>
              <a:pPr/>
              <a:t>16</a:t>
            </a:fld>
            <a:endParaRPr lang="de-DE"/>
          </a:p>
        </p:txBody>
      </p:sp>
      <p:grpSp>
        <p:nvGrpSpPr>
          <p:cNvPr id="19" name="Gruppieren 18">
            <a:extLst>
              <a:ext uri="{FF2B5EF4-FFF2-40B4-BE49-F238E27FC236}">
                <a16:creationId xmlns:a16="http://schemas.microsoft.com/office/drawing/2014/main" id="{720D5F25-2FBC-4462-9CBB-17B4E964729C}"/>
              </a:ext>
            </a:extLst>
          </p:cNvPr>
          <p:cNvGrpSpPr/>
          <p:nvPr/>
        </p:nvGrpSpPr>
        <p:grpSpPr>
          <a:xfrm>
            <a:off x="4831874" y="2946642"/>
            <a:ext cx="2540315" cy="2537531"/>
            <a:chOff x="4599843" y="1892778"/>
            <a:chExt cx="3052372" cy="3049027"/>
          </a:xfrm>
        </p:grpSpPr>
        <p:grpSp>
          <p:nvGrpSpPr>
            <p:cNvPr id="20" name="Gruppieren 19">
              <a:extLst>
                <a:ext uri="{FF2B5EF4-FFF2-40B4-BE49-F238E27FC236}">
                  <a16:creationId xmlns:a16="http://schemas.microsoft.com/office/drawing/2014/main" id="{09FCBAC7-E9BF-432A-A936-5A44A6641930}"/>
                </a:ext>
              </a:extLst>
            </p:cNvPr>
            <p:cNvGrpSpPr/>
            <p:nvPr/>
          </p:nvGrpSpPr>
          <p:grpSpPr>
            <a:xfrm>
              <a:off x="4603188" y="1892778"/>
              <a:ext cx="3049027" cy="3049027"/>
              <a:chOff x="4603188" y="1892778"/>
              <a:chExt cx="3049027" cy="3049027"/>
            </a:xfrm>
          </p:grpSpPr>
          <p:grpSp>
            <p:nvGrpSpPr>
              <p:cNvPr id="22" name="Gruppieren 21">
                <a:extLst>
                  <a:ext uri="{FF2B5EF4-FFF2-40B4-BE49-F238E27FC236}">
                    <a16:creationId xmlns:a16="http://schemas.microsoft.com/office/drawing/2014/main" id="{BDC88AA0-F994-465D-B1DA-13338CAFE6DF}"/>
                  </a:ext>
                </a:extLst>
              </p:cNvPr>
              <p:cNvGrpSpPr/>
              <p:nvPr/>
            </p:nvGrpSpPr>
            <p:grpSpPr>
              <a:xfrm>
                <a:off x="4603188" y="1892778"/>
                <a:ext cx="3049027" cy="3049027"/>
                <a:chOff x="4603188" y="1892778"/>
                <a:chExt cx="3049027" cy="3049027"/>
              </a:xfrm>
            </p:grpSpPr>
            <p:sp>
              <p:nvSpPr>
                <p:cNvPr id="24" name="Ellipse 23">
                  <a:extLst>
                    <a:ext uri="{FF2B5EF4-FFF2-40B4-BE49-F238E27FC236}">
                      <a16:creationId xmlns:a16="http://schemas.microsoft.com/office/drawing/2014/main" id="{F4A6E6A8-3570-47DC-8AB3-DFF9C8414A11}"/>
                    </a:ext>
                  </a:extLst>
                </p:cNvPr>
                <p:cNvSpPr/>
                <p:nvPr/>
              </p:nvSpPr>
              <p:spPr bwMode="gray">
                <a:xfrm>
                  <a:off x="4603188" y="1892778"/>
                  <a:ext cx="3049027" cy="304902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pic>
              <p:nvPicPr>
                <p:cNvPr id="25" name="Grafik 24" descr="Ein Bild, das Schild enthält.&#10;&#10;Automatisch generierte Beschreibung">
                  <a:extLst>
                    <a:ext uri="{FF2B5EF4-FFF2-40B4-BE49-F238E27FC236}">
                      <a16:creationId xmlns:a16="http://schemas.microsoft.com/office/drawing/2014/main" id="{F5A73164-A51A-40D6-B9C4-AD8B8A7DDA3D}"/>
                    </a:ext>
                  </a:extLst>
                </p:cNvPr>
                <p:cNvPicPr>
                  <a:picLocks noChangeAspect="1"/>
                </p:cNvPicPr>
                <p:nvPr/>
              </p:nvPicPr>
              <p:blipFill>
                <a:blip r:embed="rId4"/>
                <a:stretch>
                  <a:fillRect/>
                </a:stretch>
              </p:blipFill>
              <p:spPr>
                <a:xfrm>
                  <a:off x="5410042" y="2835987"/>
                  <a:ext cx="1435319" cy="1162608"/>
                </a:xfrm>
                <a:prstGeom prst="rect">
                  <a:avLst/>
                </a:prstGeom>
              </p:spPr>
            </p:pic>
            <p:pic>
              <p:nvPicPr>
                <p:cNvPr id="26" name="Grafik 25" descr="Ein Bild, das Zeichnung enthält.&#10;&#10;Automatisch generierte Beschreibung">
                  <a:extLst>
                    <a:ext uri="{FF2B5EF4-FFF2-40B4-BE49-F238E27FC236}">
                      <a16:creationId xmlns:a16="http://schemas.microsoft.com/office/drawing/2014/main" id="{2E620A06-A615-40F4-8CA0-46F92368D55A}"/>
                    </a:ext>
                  </a:extLst>
                </p:cNvPr>
                <p:cNvPicPr>
                  <a:picLocks noChangeAspect="1"/>
                </p:cNvPicPr>
                <p:nvPr/>
              </p:nvPicPr>
              <p:blipFill>
                <a:blip r:embed="rId5"/>
                <a:stretch>
                  <a:fillRect/>
                </a:stretch>
              </p:blipFill>
              <p:spPr>
                <a:xfrm>
                  <a:off x="5460246" y="4262651"/>
                  <a:ext cx="1379576" cy="504925"/>
                </a:xfrm>
                <a:prstGeom prst="rect">
                  <a:avLst/>
                </a:prstGeom>
              </p:spPr>
            </p:pic>
            <p:pic>
              <p:nvPicPr>
                <p:cNvPr id="27" name="Grafik 26" descr="Ein Bild, das Zeichnung enthält.&#10;&#10;Automatisch generierte Beschreibung">
                  <a:extLst>
                    <a:ext uri="{FF2B5EF4-FFF2-40B4-BE49-F238E27FC236}">
                      <a16:creationId xmlns:a16="http://schemas.microsoft.com/office/drawing/2014/main" id="{57F35E6C-8832-4F19-954D-0EE7176FE988}"/>
                    </a:ext>
                  </a:extLst>
                </p:cNvPr>
                <p:cNvPicPr>
                  <a:picLocks noChangeAspect="1"/>
                </p:cNvPicPr>
                <p:nvPr/>
              </p:nvPicPr>
              <p:blipFill>
                <a:blip r:embed="rId6"/>
                <a:stretch>
                  <a:fillRect/>
                </a:stretch>
              </p:blipFill>
              <p:spPr>
                <a:xfrm>
                  <a:off x="5437913" y="2092804"/>
                  <a:ext cx="1379575" cy="504925"/>
                </a:xfrm>
                <a:prstGeom prst="rect">
                  <a:avLst/>
                </a:prstGeom>
              </p:spPr>
            </p:pic>
            <p:grpSp>
              <p:nvGrpSpPr>
                <p:cNvPr id="28" name="Gruppieren 27">
                  <a:extLst>
                    <a:ext uri="{FF2B5EF4-FFF2-40B4-BE49-F238E27FC236}">
                      <a16:creationId xmlns:a16="http://schemas.microsoft.com/office/drawing/2014/main" id="{DF077145-095C-4DB7-934D-75E78D235229}"/>
                    </a:ext>
                  </a:extLst>
                </p:cNvPr>
                <p:cNvGrpSpPr/>
                <p:nvPr/>
              </p:nvGrpSpPr>
              <p:grpSpPr>
                <a:xfrm>
                  <a:off x="6948711" y="3277170"/>
                  <a:ext cx="703504" cy="555768"/>
                  <a:chOff x="6948711" y="3277170"/>
                  <a:chExt cx="703504" cy="555768"/>
                </a:xfrm>
              </p:grpSpPr>
              <p:sp>
                <p:nvSpPr>
                  <p:cNvPr id="34" name="Pfeil: Fünfeck 38">
                    <a:extLst>
                      <a:ext uri="{FF2B5EF4-FFF2-40B4-BE49-F238E27FC236}">
                        <a16:creationId xmlns:a16="http://schemas.microsoft.com/office/drawing/2014/main" id="{5E98471F-D84B-4CCC-AE24-55DC8B4F29C3}"/>
                      </a:ext>
                    </a:extLst>
                  </p:cNvPr>
                  <p:cNvSpPr/>
                  <p:nvPr/>
                </p:nvSpPr>
                <p:spPr bwMode="gray">
                  <a:xfrm rot="5400000">
                    <a:off x="7123997" y="3240167"/>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5" name="Pfeil: Fünfeck 38">
                    <a:extLst>
                      <a:ext uri="{FF2B5EF4-FFF2-40B4-BE49-F238E27FC236}">
                        <a16:creationId xmlns:a16="http://schemas.microsoft.com/office/drawing/2014/main" id="{C1EF5E6F-F145-45F9-933B-E8D671AB09D5}"/>
                      </a:ext>
                    </a:extLst>
                  </p:cNvPr>
                  <p:cNvSpPr/>
                  <p:nvPr/>
                </p:nvSpPr>
                <p:spPr bwMode="gray">
                  <a:xfrm rot="5400000">
                    <a:off x="7123997" y="3151182"/>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6" name="Rechteck 45">
                    <a:extLst>
                      <a:ext uri="{FF2B5EF4-FFF2-40B4-BE49-F238E27FC236}">
                        <a16:creationId xmlns:a16="http://schemas.microsoft.com/office/drawing/2014/main" id="{84AD297B-DD5A-482E-B067-F5E7A5337E22}"/>
                      </a:ext>
                    </a:extLst>
                  </p:cNvPr>
                  <p:cNvSpPr/>
                  <p:nvPr/>
                </p:nvSpPr>
                <p:spPr bwMode="gray">
                  <a:xfrm rot="18931262" flipV="1">
                    <a:off x="7103319" y="3277170"/>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7" name="Rechteck 45">
                    <a:extLst>
                      <a:ext uri="{FF2B5EF4-FFF2-40B4-BE49-F238E27FC236}">
                        <a16:creationId xmlns:a16="http://schemas.microsoft.com/office/drawing/2014/main" id="{D0DDFA27-17CB-450E-B01E-4F331A90A5CE}"/>
                      </a:ext>
                    </a:extLst>
                  </p:cNvPr>
                  <p:cNvSpPr/>
                  <p:nvPr/>
                </p:nvSpPr>
                <p:spPr bwMode="gray">
                  <a:xfrm rot="13468738">
                    <a:off x="7442599" y="3285056"/>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grpSp>
              <p:nvGrpSpPr>
                <p:cNvPr id="29" name="Gruppieren 28">
                  <a:extLst>
                    <a:ext uri="{FF2B5EF4-FFF2-40B4-BE49-F238E27FC236}">
                      <a16:creationId xmlns:a16="http://schemas.microsoft.com/office/drawing/2014/main" id="{1496FB26-8253-4F98-A830-828CE1E76578}"/>
                    </a:ext>
                  </a:extLst>
                </p:cNvPr>
                <p:cNvGrpSpPr/>
                <p:nvPr/>
              </p:nvGrpSpPr>
              <p:grpSpPr>
                <a:xfrm>
                  <a:off x="4603946" y="3005384"/>
                  <a:ext cx="703504" cy="547882"/>
                  <a:chOff x="4603946" y="3005384"/>
                  <a:chExt cx="703504" cy="547882"/>
                </a:xfrm>
              </p:grpSpPr>
              <p:sp>
                <p:nvSpPr>
                  <p:cNvPr id="30" name="Pfeil: Fünfeck 38">
                    <a:extLst>
                      <a:ext uri="{FF2B5EF4-FFF2-40B4-BE49-F238E27FC236}">
                        <a16:creationId xmlns:a16="http://schemas.microsoft.com/office/drawing/2014/main" id="{E0448E69-7A7D-49CC-81A5-7099C29AB320}"/>
                      </a:ext>
                    </a:extLst>
                  </p:cNvPr>
                  <p:cNvSpPr/>
                  <p:nvPr/>
                </p:nvSpPr>
                <p:spPr bwMode="gray">
                  <a:xfrm rot="16200000" flipV="1">
                    <a:off x="4779232" y="2974716"/>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1" name="Pfeil: Fünfeck 38">
                    <a:extLst>
                      <a:ext uri="{FF2B5EF4-FFF2-40B4-BE49-F238E27FC236}">
                        <a16:creationId xmlns:a16="http://schemas.microsoft.com/office/drawing/2014/main" id="{1093B2D1-6926-4B66-BB3C-CFBE5F859132}"/>
                      </a:ext>
                    </a:extLst>
                  </p:cNvPr>
                  <p:cNvSpPr/>
                  <p:nvPr/>
                </p:nvSpPr>
                <p:spPr bwMode="gray">
                  <a:xfrm rot="16200000" flipV="1">
                    <a:off x="4777327" y="2887636"/>
                    <a:ext cx="352932" cy="69969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 name="connsiteX0" fmla="*/ 3808 w 352932"/>
                      <a:gd name="connsiteY0" fmla="*/ 6350 h 699694"/>
                      <a:gd name="connsiteX1" fmla="*/ 3744 w 352932"/>
                      <a:gd name="connsiteY1" fmla="*/ 0 h 699694"/>
                      <a:gd name="connsiteX2" fmla="*/ 352932 w 352932"/>
                      <a:gd name="connsiteY2" fmla="*/ 347284 h 699694"/>
                      <a:gd name="connsiteX3" fmla="*/ 1839 w 352932"/>
                      <a:gd name="connsiteY3" fmla="*/ 698378 h 699694"/>
                      <a:gd name="connsiteX4" fmla="*/ 0 w 352932"/>
                      <a:gd name="connsiteY4" fmla="*/ 699648 h 69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699694">
                        <a:moveTo>
                          <a:pt x="3808" y="6350"/>
                        </a:moveTo>
                        <a:cubicBezTo>
                          <a:pt x="3787" y="4233"/>
                          <a:pt x="3765" y="2117"/>
                          <a:pt x="3744" y="0"/>
                        </a:cubicBezTo>
                        <a:lnTo>
                          <a:pt x="352932" y="347284"/>
                        </a:lnTo>
                        <a:lnTo>
                          <a:pt x="1839" y="698378"/>
                        </a:lnTo>
                        <a:cubicBezTo>
                          <a:pt x="2495" y="700071"/>
                          <a:pt x="0" y="699648"/>
                          <a:pt x="0" y="69964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2" name="Rechteck 45">
                    <a:extLst>
                      <a:ext uri="{FF2B5EF4-FFF2-40B4-BE49-F238E27FC236}">
                        <a16:creationId xmlns:a16="http://schemas.microsoft.com/office/drawing/2014/main" id="{3047CCF4-F75F-4EBA-835A-A35C232C4BDA}"/>
                      </a:ext>
                    </a:extLst>
                  </p:cNvPr>
                  <p:cNvSpPr/>
                  <p:nvPr/>
                </p:nvSpPr>
                <p:spPr bwMode="gray">
                  <a:xfrm rot="2668738">
                    <a:off x="475292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3" name="Rechteck 45">
                    <a:extLst>
                      <a:ext uri="{FF2B5EF4-FFF2-40B4-BE49-F238E27FC236}">
                        <a16:creationId xmlns:a16="http://schemas.microsoft.com/office/drawing/2014/main" id="{B9A4FC19-CA0A-4438-92EE-6DDEBEAD7208}"/>
                      </a:ext>
                    </a:extLst>
                  </p:cNvPr>
                  <p:cNvSpPr/>
                  <p:nvPr/>
                </p:nvSpPr>
                <p:spPr bwMode="gray">
                  <a:xfrm rot="18931262" flipH="1">
                    <a:off x="509135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grpSp>
          <p:sp>
            <p:nvSpPr>
              <p:cNvPr id="23" name="Ellipse 22">
                <a:extLst>
                  <a:ext uri="{FF2B5EF4-FFF2-40B4-BE49-F238E27FC236}">
                    <a16:creationId xmlns:a16="http://schemas.microsoft.com/office/drawing/2014/main" id="{612F2093-4ECB-483E-BE88-7D8C6F2BB5B8}"/>
                  </a:ext>
                </a:extLst>
              </p:cNvPr>
              <p:cNvSpPr/>
              <p:nvPr/>
            </p:nvSpPr>
            <p:spPr bwMode="gray">
              <a:xfrm>
                <a:off x="5305375" y="2594965"/>
                <a:ext cx="1644652" cy="1644652"/>
              </a:xfrm>
              <a:prstGeom prst="ellipse">
                <a:avLst/>
              </a:prstGeom>
              <a:noFill/>
              <a:ln>
                <a:solidFill>
                  <a:srgbClr val="B1B1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sp>
          <p:nvSpPr>
            <p:cNvPr id="21" name="Ellipse 20">
              <a:extLst>
                <a:ext uri="{FF2B5EF4-FFF2-40B4-BE49-F238E27FC236}">
                  <a16:creationId xmlns:a16="http://schemas.microsoft.com/office/drawing/2014/main" id="{A7DA9FB5-2996-4259-B1EE-A9EDE41AB4B5}"/>
                </a:ext>
              </a:extLst>
            </p:cNvPr>
            <p:cNvSpPr/>
            <p:nvPr/>
          </p:nvSpPr>
          <p:spPr bwMode="gray">
            <a:xfrm>
              <a:off x="4599843" y="1892778"/>
              <a:ext cx="3049027" cy="3049027"/>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grpSp>
      <p:sp>
        <p:nvSpPr>
          <p:cNvPr id="38" name="Untertitel 6">
            <a:extLst>
              <a:ext uri="{FF2B5EF4-FFF2-40B4-BE49-F238E27FC236}">
                <a16:creationId xmlns:a16="http://schemas.microsoft.com/office/drawing/2014/main" id="{01450E13-7D51-4EDD-BE0D-73BCEE17988E}"/>
              </a:ext>
            </a:extLst>
          </p:cNvPr>
          <p:cNvSpPr>
            <a:spLocks noGrp="1"/>
          </p:cNvSpPr>
          <p:nvPr>
            <p:ph type="subTitle" idx="1"/>
          </p:nvPr>
        </p:nvSpPr>
        <p:spPr>
          <a:xfrm>
            <a:off x="409577" y="739137"/>
            <a:ext cx="11348418" cy="426662"/>
          </a:xfrm>
        </p:spPr>
        <p:txBody>
          <a:bodyPr/>
          <a:lstStyle/>
          <a:p>
            <a:r>
              <a:rPr lang="en-US"/>
              <a:t>Production</a:t>
            </a:r>
          </a:p>
        </p:txBody>
      </p:sp>
      <p:sp>
        <p:nvSpPr>
          <p:cNvPr id="3" name="Textfeld 2">
            <a:extLst>
              <a:ext uri="{FF2B5EF4-FFF2-40B4-BE49-F238E27FC236}">
                <a16:creationId xmlns:a16="http://schemas.microsoft.com/office/drawing/2014/main" id="{EB7EDC97-93CB-4635-AFD7-7E1A3BFD220A}"/>
              </a:ext>
            </a:extLst>
          </p:cNvPr>
          <p:cNvSpPr txBox="1"/>
          <p:nvPr/>
        </p:nvSpPr>
        <p:spPr bwMode="gray">
          <a:xfrm>
            <a:off x="5664809" y="2386118"/>
            <a:ext cx="914400" cy="318193"/>
          </a:xfrm>
          <a:prstGeom prst="rect">
            <a:avLst/>
          </a:prstGeom>
          <a:solidFill>
            <a:srgbClr val="965AA0"/>
          </a:solidFill>
        </p:spPr>
        <p:txBody>
          <a:bodyPr wrap="none" lIns="0" tIns="0" rIns="0" bIns="0" rtlCol="0">
            <a:noAutofit/>
          </a:bodyPr>
          <a:lstStyle/>
          <a:p>
            <a:pPr algn="ctr"/>
            <a:r>
              <a:rPr lang="en-US" sz="1800">
                <a:solidFill>
                  <a:schemeClr val="bg1"/>
                </a:solidFill>
              </a:rPr>
              <a:t>Retail</a:t>
            </a:r>
          </a:p>
        </p:txBody>
      </p:sp>
      <p:sp>
        <p:nvSpPr>
          <p:cNvPr id="4" name="Textfeld 3">
            <a:extLst>
              <a:ext uri="{FF2B5EF4-FFF2-40B4-BE49-F238E27FC236}">
                <a16:creationId xmlns:a16="http://schemas.microsoft.com/office/drawing/2014/main" id="{972D4BEB-1CB2-4EC4-A3A5-F8B6C7847780}"/>
              </a:ext>
            </a:extLst>
          </p:cNvPr>
          <p:cNvSpPr txBox="1"/>
          <p:nvPr/>
        </p:nvSpPr>
        <p:spPr bwMode="gray">
          <a:xfrm>
            <a:off x="5646222" y="2422656"/>
            <a:ext cx="914400" cy="349324"/>
          </a:xfrm>
          <a:prstGeom prst="rect">
            <a:avLst/>
          </a:prstGeom>
          <a:solidFill>
            <a:srgbClr val="965AA0"/>
          </a:solidFill>
        </p:spPr>
        <p:txBody>
          <a:bodyPr wrap="none" lIns="0" tIns="0" rIns="0" bIns="0" rtlCol="0">
            <a:prstTxWarp prst="textArchUp">
              <a:avLst/>
            </a:prstTxWarp>
            <a:noAutofit/>
          </a:bodyPr>
          <a:lstStyle/>
          <a:p>
            <a:pPr algn="ctr">
              <a:spcBef>
                <a:spcPts val="1200"/>
              </a:spcBef>
            </a:pPr>
            <a:r>
              <a:rPr lang="en-US" sz="2000" b="1">
                <a:solidFill>
                  <a:schemeClr val="bg1"/>
                </a:solidFill>
              </a:rPr>
              <a:t>Retail</a:t>
            </a:r>
          </a:p>
        </p:txBody>
      </p:sp>
      <p:sp>
        <p:nvSpPr>
          <p:cNvPr id="8" name="Textfeld 7">
            <a:extLst>
              <a:ext uri="{FF2B5EF4-FFF2-40B4-BE49-F238E27FC236}">
                <a16:creationId xmlns:a16="http://schemas.microsoft.com/office/drawing/2014/main" id="{2DA51A92-1DD6-4AA4-999A-09AB614136C9}"/>
              </a:ext>
            </a:extLst>
          </p:cNvPr>
          <p:cNvSpPr txBox="1"/>
          <p:nvPr/>
        </p:nvSpPr>
        <p:spPr bwMode="gray">
          <a:xfrm rot="14386342">
            <a:off x="3962635" y="4872012"/>
            <a:ext cx="1418466" cy="349324"/>
          </a:xfrm>
          <a:prstGeom prst="rect">
            <a:avLst/>
          </a:prstGeom>
          <a:solidFill>
            <a:schemeClr val="accent1"/>
          </a:solidFill>
        </p:spPr>
        <p:txBody>
          <a:bodyPr wrap="none" lIns="0" tIns="0" rIns="0" bIns="0" rtlCol="0">
            <a:prstTxWarp prst="textArchUp">
              <a:avLst/>
            </a:prstTxWarp>
            <a:noAutofit/>
          </a:bodyPr>
          <a:lstStyle/>
          <a:p>
            <a:pPr algn="ctr">
              <a:spcBef>
                <a:spcPts val="1200"/>
              </a:spcBef>
            </a:pPr>
            <a:r>
              <a:rPr lang="en-US" sz="2000" b="1">
                <a:solidFill>
                  <a:schemeClr val="bg1"/>
                </a:solidFill>
              </a:rPr>
              <a:t>Production</a:t>
            </a:r>
          </a:p>
        </p:txBody>
      </p:sp>
      <p:sp>
        <p:nvSpPr>
          <p:cNvPr id="9" name="Halbbogen 8">
            <a:extLst>
              <a:ext uri="{FF2B5EF4-FFF2-40B4-BE49-F238E27FC236}">
                <a16:creationId xmlns:a16="http://schemas.microsoft.com/office/drawing/2014/main" id="{2D906EF0-B96B-4133-A072-C9C35F8F952F}"/>
              </a:ext>
            </a:extLst>
          </p:cNvPr>
          <p:cNvSpPr/>
          <p:nvPr/>
        </p:nvSpPr>
        <p:spPr bwMode="gray">
          <a:xfrm rot="9978330">
            <a:off x="4218775" y="2083276"/>
            <a:ext cx="3806468" cy="4073982"/>
          </a:xfrm>
          <a:prstGeom prst="blockArc">
            <a:avLst>
              <a:gd name="adj1" fmla="val 10738884"/>
              <a:gd name="adj2" fmla="val 16521447"/>
              <a:gd name="adj3" fmla="val 11699"/>
            </a:avLst>
          </a:prstGeom>
          <a:solidFill>
            <a:srgbClr val="965A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solidFill>
                <a:schemeClr val="tx1"/>
              </a:solidFill>
            </a:endParaRPr>
          </a:p>
        </p:txBody>
      </p:sp>
      <p:sp>
        <p:nvSpPr>
          <p:cNvPr id="10" name="Textfeld 9">
            <a:extLst>
              <a:ext uri="{FF2B5EF4-FFF2-40B4-BE49-F238E27FC236}">
                <a16:creationId xmlns:a16="http://schemas.microsoft.com/office/drawing/2014/main" id="{43582242-D518-46F4-9602-9EBA6B8F56C3}"/>
              </a:ext>
            </a:extLst>
          </p:cNvPr>
          <p:cNvSpPr txBox="1"/>
          <p:nvPr/>
        </p:nvSpPr>
        <p:spPr bwMode="gray">
          <a:xfrm rot="7247891">
            <a:off x="5271420" y="3574165"/>
            <a:ext cx="2812147" cy="2045069"/>
          </a:xfrm>
          <a:prstGeom prst="rect">
            <a:avLst/>
          </a:prstGeom>
          <a:noFill/>
        </p:spPr>
        <p:txBody>
          <a:bodyPr wrap="none" lIns="0" tIns="0" rIns="0" bIns="0" rtlCol="0">
            <a:prstTxWarp prst="textArchUp">
              <a:avLst>
                <a:gd name="adj" fmla="val 12248805"/>
              </a:avLst>
            </a:prstTxWarp>
            <a:noAutofit/>
          </a:bodyPr>
          <a:lstStyle/>
          <a:p>
            <a:pPr algn="ctr">
              <a:spcBef>
                <a:spcPts val="1200"/>
              </a:spcBef>
            </a:pPr>
            <a:r>
              <a:rPr lang="en-US" sz="2000" b="1">
                <a:solidFill>
                  <a:schemeClr val="bg1"/>
                </a:solidFill>
              </a:rPr>
              <a:t>Recyclables management</a:t>
            </a:r>
          </a:p>
        </p:txBody>
      </p:sp>
    </p:spTree>
    <p:extLst>
      <p:ext uri="{BB962C8B-B14F-4D97-AF65-F5344CB8AC3E}">
        <p14:creationId xmlns:p14="http://schemas.microsoft.com/office/powerpoint/2010/main" val="107619403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ntertitel 6"/>
          <p:cNvSpPr>
            <a:spLocks noGrp="1"/>
          </p:cNvSpPr>
          <p:nvPr>
            <p:ph type="subTitle" idx="1"/>
          </p:nvPr>
        </p:nvSpPr>
        <p:spPr/>
        <p:txBody>
          <a:bodyPr/>
          <a:lstStyle/>
          <a:p>
            <a:r>
              <a:rPr lang="en-US"/>
              <a:t>Schwarz Produktion organizational chart</a:t>
            </a:r>
          </a:p>
        </p:txBody>
      </p:sp>
      <p:sp>
        <p:nvSpPr>
          <p:cNvPr id="15" name="Foliennummernplatzhalter 14"/>
          <p:cNvSpPr>
            <a:spLocks noGrp="1"/>
          </p:cNvSpPr>
          <p:nvPr>
            <p:ph type="sldNum" sz="quarter" idx="12"/>
          </p:nvPr>
        </p:nvSpPr>
        <p:spPr/>
        <p:txBody>
          <a:bodyPr/>
          <a:lstStyle/>
          <a:p>
            <a:fld id="{0C7C1E0B-BD27-42F8-BC6B-2F0636970842}" type="slidenum">
              <a:rPr lang="de-DE" smtClean="0"/>
              <a:pPr/>
              <a:t>17</a:t>
            </a:fld>
            <a:endParaRPr lang="de-DE"/>
          </a:p>
        </p:txBody>
      </p:sp>
      <p:sp>
        <p:nvSpPr>
          <p:cNvPr id="2" name="Titel 1"/>
          <p:cNvSpPr>
            <a:spLocks noGrp="1"/>
          </p:cNvSpPr>
          <p:nvPr>
            <p:ph type="title"/>
          </p:nvPr>
        </p:nvSpPr>
        <p:spPr>
          <a:xfrm>
            <a:off x="431800" y="428625"/>
            <a:ext cx="11569700" cy="335046"/>
          </a:xfrm>
        </p:spPr>
        <p:txBody>
          <a:bodyPr/>
          <a:lstStyle/>
          <a:p>
            <a:r>
              <a:rPr lang="en-US" dirty="0"/>
              <a:t>Schwarz Group and Schwarz Production</a:t>
            </a:r>
          </a:p>
        </p:txBody>
      </p:sp>
      <p:sp>
        <p:nvSpPr>
          <p:cNvPr id="11" name="Ellipse 10">
            <a:extLst>
              <a:ext uri="{FF2B5EF4-FFF2-40B4-BE49-F238E27FC236}">
                <a16:creationId xmlns:a16="http://schemas.microsoft.com/office/drawing/2014/main" id="{16D8FD85-0FCC-4F27-9704-62A024555371}"/>
              </a:ext>
            </a:extLst>
          </p:cNvPr>
          <p:cNvSpPr/>
          <p:nvPr/>
        </p:nvSpPr>
        <p:spPr bwMode="gray">
          <a:xfrm>
            <a:off x="1759143" y="1722863"/>
            <a:ext cx="8638681" cy="199965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a:p>
        </p:txBody>
      </p:sp>
      <p:cxnSp>
        <p:nvCxnSpPr>
          <p:cNvPr id="34" name="Gewinkelte Verbindung 46">
            <a:extLst>
              <a:ext uri="{FF2B5EF4-FFF2-40B4-BE49-F238E27FC236}">
                <a16:creationId xmlns:a16="http://schemas.microsoft.com/office/drawing/2014/main" id="{DFA6F8DB-34BF-4A25-AAB7-D61F319F66E6}"/>
              </a:ext>
            </a:extLst>
          </p:cNvPr>
          <p:cNvCxnSpPr>
            <a:cxnSpLocks/>
          </p:cNvCxnSpPr>
          <p:nvPr/>
        </p:nvCxnSpPr>
        <p:spPr>
          <a:xfrm rot="5400000">
            <a:off x="4025942" y="2319813"/>
            <a:ext cx="1241819" cy="2895096"/>
          </a:xfrm>
          <a:prstGeom prst="bentConnector3">
            <a:avLst>
              <a:gd name="adj1" fmla="val 50000"/>
            </a:avLst>
          </a:prstGeom>
          <a:noFill/>
          <a:ln w="9525" cap="flat" cmpd="sng" algn="ctr">
            <a:solidFill>
              <a:schemeClr val="accent1">
                <a:lumMod val="50000"/>
              </a:schemeClr>
            </a:solidFill>
            <a:prstDash val="solid"/>
          </a:ln>
          <a:effectLst/>
        </p:spPr>
      </p:cxnSp>
      <p:cxnSp>
        <p:nvCxnSpPr>
          <p:cNvPr id="35" name="Gewinkelte Verbindung 47">
            <a:extLst>
              <a:ext uri="{FF2B5EF4-FFF2-40B4-BE49-F238E27FC236}">
                <a16:creationId xmlns:a16="http://schemas.microsoft.com/office/drawing/2014/main" id="{D99A2CFB-791B-4B6E-84B4-71E2C425F116}"/>
              </a:ext>
            </a:extLst>
          </p:cNvPr>
          <p:cNvCxnSpPr>
            <a:cxnSpLocks/>
          </p:cNvCxnSpPr>
          <p:nvPr/>
        </p:nvCxnSpPr>
        <p:spPr>
          <a:xfrm rot="5400000">
            <a:off x="4953979" y="3247850"/>
            <a:ext cx="1241819" cy="1039022"/>
          </a:xfrm>
          <a:prstGeom prst="bentConnector3">
            <a:avLst>
              <a:gd name="adj1" fmla="val 50000"/>
            </a:avLst>
          </a:prstGeom>
          <a:noFill/>
          <a:ln w="9525" cap="flat" cmpd="sng" algn="ctr">
            <a:solidFill>
              <a:schemeClr val="accent1">
                <a:lumMod val="50000"/>
              </a:schemeClr>
            </a:solidFill>
            <a:prstDash val="solid"/>
          </a:ln>
          <a:effectLst/>
        </p:spPr>
      </p:cxnSp>
      <p:cxnSp>
        <p:nvCxnSpPr>
          <p:cNvPr id="36" name="Gewinkelte Verbindung 48">
            <a:extLst>
              <a:ext uri="{FF2B5EF4-FFF2-40B4-BE49-F238E27FC236}">
                <a16:creationId xmlns:a16="http://schemas.microsoft.com/office/drawing/2014/main" id="{99AC5A8A-D676-4F78-9B8D-253AD29F23C8}"/>
              </a:ext>
            </a:extLst>
          </p:cNvPr>
          <p:cNvCxnSpPr>
            <a:cxnSpLocks/>
          </p:cNvCxnSpPr>
          <p:nvPr/>
        </p:nvCxnSpPr>
        <p:spPr>
          <a:xfrm rot="16200000" flipH="1">
            <a:off x="5882016" y="3358836"/>
            <a:ext cx="1241819" cy="817053"/>
          </a:xfrm>
          <a:prstGeom prst="bentConnector3">
            <a:avLst>
              <a:gd name="adj1" fmla="val 50000"/>
            </a:avLst>
          </a:prstGeom>
          <a:noFill/>
          <a:ln w="9525" cap="flat" cmpd="sng" algn="ctr">
            <a:solidFill>
              <a:schemeClr val="accent1">
                <a:lumMod val="50000"/>
              </a:schemeClr>
            </a:solidFill>
            <a:prstDash val="solid"/>
          </a:ln>
          <a:effectLst/>
        </p:spPr>
      </p:cxnSp>
      <p:cxnSp>
        <p:nvCxnSpPr>
          <p:cNvPr id="37" name="Gewinkelte Verbindung 49">
            <a:extLst>
              <a:ext uri="{FF2B5EF4-FFF2-40B4-BE49-F238E27FC236}">
                <a16:creationId xmlns:a16="http://schemas.microsoft.com/office/drawing/2014/main" id="{A9AEF878-28DB-4DD8-BCCF-19B31FE6B622}"/>
              </a:ext>
            </a:extLst>
          </p:cNvPr>
          <p:cNvCxnSpPr>
            <a:cxnSpLocks/>
          </p:cNvCxnSpPr>
          <p:nvPr/>
        </p:nvCxnSpPr>
        <p:spPr>
          <a:xfrm rot="16200000" flipH="1">
            <a:off x="6810054" y="2430797"/>
            <a:ext cx="1241819" cy="2673128"/>
          </a:xfrm>
          <a:prstGeom prst="bentConnector3">
            <a:avLst>
              <a:gd name="adj1" fmla="val 50000"/>
            </a:avLst>
          </a:prstGeom>
          <a:noFill/>
          <a:ln w="9525" cap="flat" cmpd="sng" algn="ctr">
            <a:solidFill>
              <a:schemeClr val="accent1">
                <a:lumMod val="50000"/>
              </a:schemeClr>
            </a:solidFill>
            <a:prstDash val="solid"/>
          </a:ln>
          <a:effectLst/>
        </p:spPr>
      </p:cxnSp>
      <p:grpSp>
        <p:nvGrpSpPr>
          <p:cNvPr id="38" name="Gruppieren 37">
            <a:extLst>
              <a:ext uri="{FF2B5EF4-FFF2-40B4-BE49-F238E27FC236}">
                <a16:creationId xmlns:a16="http://schemas.microsoft.com/office/drawing/2014/main" id="{8B30B07F-817A-4270-B0EA-A438DC645DFB}"/>
              </a:ext>
            </a:extLst>
          </p:cNvPr>
          <p:cNvGrpSpPr/>
          <p:nvPr/>
        </p:nvGrpSpPr>
        <p:grpSpPr>
          <a:xfrm>
            <a:off x="7231749" y="2239134"/>
            <a:ext cx="907200" cy="907200"/>
            <a:chOff x="4462986" y="1731133"/>
            <a:chExt cx="1074992" cy="1074992"/>
          </a:xfrm>
        </p:grpSpPr>
        <p:sp>
          <p:nvSpPr>
            <p:cNvPr id="39" name="Rechteck 38">
              <a:extLst>
                <a:ext uri="{FF2B5EF4-FFF2-40B4-BE49-F238E27FC236}">
                  <a16:creationId xmlns:a16="http://schemas.microsoft.com/office/drawing/2014/main" id="{6CCB5696-6DD5-48B9-A618-396625496608}"/>
                </a:ext>
              </a:extLst>
            </p:cNvPr>
            <p:cNvSpPr/>
            <p:nvPr/>
          </p:nvSpPr>
          <p:spPr bwMode="gray">
            <a:xfrm>
              <a:off x="4462986" y="1731133"/>
              <a:ext cx="1074992" cy="1074992"/>
            </a:xfrm>
            <a:prstGeom prst="rect">
              <a:avLst/>
            </a:prstGeom>
            <a:solidFill>
              <a:schemeClr val="bg1"/>
            </a:solidFill>
            <a:ln>
              <a:solidFill>
                <a:srgbClr val="B3B2B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pic>
          <p:nvPicPr>
            <p:cNvPr id="40" name="Grafik 39">
              <a:extLst>
                <a:ext uri="{FF2B5EF4-FFF2-40B4-BE49-F238E27FC236}">
                  <a16:creationId xmlns:a16="http://schemas.microsoft.com/office/drawing/2014/main" id="{85161413-0FC7-402A-AD2F-8B95FD9F1E2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43282" y="2379354"/>
              <a:ext cx="914400" cy="397991"/>
            </a:xfrm>
            <a:prstGeom prst="rect">
              <a:avLst/>
            </a:prstGeom>
            <a:solidFill>
              <a:schemeClr val="accent1"/>
            </a:solidFill>
            <a:effectLst/>
          </p:spPr>
        </p:pic>
      </p:grpSp>
      <p:grpSp>
        <p:nvGrpSpPr>
          <p:cNvPr id="41" name="Gruppieren 40">
            <a:extLst>
              <a:ext uri="{FF2B5EF4-FFF2-40B4-BE49-F238E27FC236}">
                <a16:creationId xmlns:a16="http://schemas.microsoft.com/office/drawing/2014/main" id="{7E6C55AE-5868-4443-ACC4-667C8546BC0F}"/>
              </a:ext>
            </a:extLst>
          </p:cNvPr>
          <p:cNvGrpSpPr/>
          <p:nvPr/>
        </p:nvGrpSpPr>
        <p:grpSpPr>
          <a:xfrm>
            <a:off x="8815925" y="2239134"/>
            <a:ext cx="907200" cy="907200"/>
            <a:chOff x="3141591" y="1731069"/>
            <a:chExt cx="1074992" cy="1074992"/>
          </a:xfrm>
        </p:grpSpPr>
        <p:sp>
          <p:nvSpPr>
            <p:cNvPr id="42" name="Rechteck 41">
              <a:extLst>
                <a:ext uri="{FF2B5EF4-FFF2-40B4-BE49-F238E27FC236}">
                  <a16:creationId xmlns:a16="http://schemas.microsoft.com/office/drawing/2014/main" id="{08A90197-F27D-433A-94B7-C159F137FC0E}"/>
                </a:ext>
              </a:extLst>
            </p:cNvPr>
            <p:cNvSpPr/>
            <p:nvPr/>
          </p:nvSpPr>
          <p:spPr bwMode="gray">
            <a:xfrm>
              <a:off x="3141591" y="1731069"/>
              <a:ext cx="1074992" cy="1074992"/>
            </a:xfrm>
            <a:prstGeom prst="rect">
              <a:avLst/>
            </a:prstGeom>
            <a:solidFill>
              <a:schemeClr val="bg1"/>
            </a:solidFill>
            <a:ln>
              <a:solidFill>
                <a:srgbClr val="B3B2B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a:p>
          </p:txBody>
        </p:sp>
        <p:pic>
          <p:nvPicPr>
            <p:cNvPr id="43" name="Grafik 42">
              <a:extLst>
                <a:ext uri="{FF2B5EF4-FFF2-40B4-BE49-F238E27FC236}">
                  <a16:creationId xmlns:a16="http://schemas.microsoft.com/office/drawing/2014/main" id="{A1CA184F-2B5B-463D-8F64-398CC95D0AE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232520" y="2373732"/>
              <a:ext cx="914400" cy="402615"/>
            </a:xfrm>
            <a:prstGeom prst="rect">
              <a:avLst/>
            </a:prstGeom>
            <a:solidFill>
              <a:schemeClr val="accent1"/>
            </a:solidFill>
            <a:effectLst/>
          </p:spPr>
        </p:pic>
      </p:grpSp>
      <p:pic>
        <p:nvPicPr>
          <p:cNvPr id="44" name="Grafik 43">
            <a:extLst>
              <a:ext uri="{FF2B5EF4-FFF2-40B4-BE49-F238E27FC236}">
                <a16:creationId xmlns:a16="http://schemas.microsoft.com/office/drawing/2014/main" id="{07D1FEBF-C05B-4984-9955-80BC43DA3DE8}"/>
              </a:ext>
            </a:extLst>
          </p:cNvPr>
          <p:cNvPicPr>
            <a:picLocks noChangeAspect="1"/>
          </p:cNvPicPr>
          <p:nvPr/>
        </p:nvPicPr>
        <p:blipFill>
          <a:blip r:embed="rId4"/>
          <a:stretch>
            <a:fillRect/>
          </a:stretch>
        </p:blipFill>
        <p:spPr>
          <a:xfrm>
            <a:off x="3991389" y="2248600"/>
            <a:ext cx="907200" cy="907200"/>
          </a:xfrm>
          <a:prstGeom prst="rect">
            <a:avLst/>
          </a:prstGeom>
        </p:spPr>
      </p:pic>
      <p:pic>
        <p:nvPicPr>
          <p:cNvPr id="45" name="Grafik 44">
            <a:extLst>
              <a:ext uri="{FF2B5EF4-FFF2-40B4-BE49-F238E27FC236}">
                <a16:creationId xmlns:a16="http://schemas.microsoft.com/office/drawing/2014/main" id="{16CBB677-0647-4C1A-9ECC-420782808063}"/>
              </a:ext>
            </a:extLst>
          </p:cNvPr>
          <p:cNvPicPr>
            <a:picLocks noChangeAspect="1"/>
          </p:cNvPicPr>
          <p:nvPr/>
        </p:nvPicPr>
        <p:blipFill>
          <a:blip r:embed="rId5"/>
          <a:stretch>
            <a:fillRect/>
          </a:stretch>
        </p:blipFill>
        <p:spPr>
          <a:xfrm>
            <a:off x="2363077" y="2248600"/>
            <a:ext cx="907200" cy="907200"/>
          </a:xfrm>
          <a:prstGeom prst="rect">
            <a:avLst/>
          </a:prstGeom>
        </p:spPr>
      </p:pic>
      <p:pic>
        <p:nvPicPr>
          <p:cNvPr id="48" name="Grafik 47">
            <a:extLst>
              <a:ext uri="{FF2B5EF4-FFF2-40B4-BE49-F238E27FC236}">
                <a16:creationId xmlns:a16="http://schemas.microsoft.com/office/drawing/2014/main" id="{F92A8959-7EC7-47F3-962D-15D2BEEAC00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61638" y="2248600"/>
            <a:ext cx="907200" cy="897274"/>
          </a:xfrm>
          <a:prstGeom prst="rect">
            <a:avLst/>
          </a:prstGeom>
        </p:spPr>
      </p:pic>
      <p:pic>
        <p:nvPicPr>
          <p:cNvPr id="49" name="Grafik 48">
            <a:extLst>
              <a:ext uri="{FF2B5EF4-FFF2-40B4-BE49-F238E27FC236}">
                <a16:creationId xmlns:a16="http://schemas.microsoft.com/office/drawing/2014/main" id="{7129BDA5-31BD-4C9B-B1F6-1E81649886A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34132" y="4287211"/>
            <a:ext cx="907200" cy="907200"/>
          </a:xfrm>
          <a:prstGeom prst="rect">
            <a:avLst/>
          </a:prstGeom>
        </p:spPr>
      </p:pic>
      <p:pic>
        <p:nvPicPr>
          <p:cNvPr id="50" name="Grafik 49">
            <a:extLst>
              <a:ext uri="{FF2B5EF4-FFF2-40B4-BE49-F238E27FC236}">
                <a16:creationId xmlns:a16="http://schemas.microsoft.com/office/drawing/2014/main" id="{EC781E13-DA99-4EF0-AE19-6DA9603F915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745703" y="4287211"/>
            <a:ext cx="907200" cy="907200"/>
          </a:xfrm>
          <a:prstGeom prst="rect">
            <a:avLst/>
          </a:prstGeom>
        </p:spPr>
      </p:pic>
      <p:pic>
        <p:nvPicPr>
          <p:cNvPr id="51" name="Grafik 50">
            <a:extLst>
              <a:ext uri="{FF2B5EF4-FFF2-40B4-BE49-F238E27FC236}">
                <a16:creationId xmlns:a16="http://schemas.microsoft.com/office/drawing/2014/main" id="{51B80471-0D9D-4C42-BE4D-67D775C3B89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36427" y="4287211"/>
            <a:ext cx="907200" cy="907200"/>
          </a:xfrm>
          <a:prstGeom prst="rect">
            <a:avLst/>
          </a:prstGeom>
        </p:spPr>
      </p:pic>
      <p:pic>
        <p:nvPicPr>
          <p:cNvPr id="52" name="Grafik 51">
            <a:extLst>
              <a:ext uri="{FF2B5EF4-FFF2-40B4-BE49-F238E27FC236}">
                <a16:creationId xmlns:a16="http://schemas.microsoft.com/office/drawing/2014/main" id="{F1DC15BB-5CCC-4F56-9863-9DC45293361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479293" y="4283051"/>
            <a:ext cx="907200" cy="907200"/>
          </a:xfrm>
          <a:prstGeom prst="rect">
            <a:avLst/>
          </a:prstGeom>
        </p:spPr>
      </p:pic>
      <p:pic>
        <p:nvPicPr>
          <p:cNvPr id="53" name="Grafik 52">
            <a:extLst>
              <a:ext uri="{FF2B5EF4-FFF2-40B4-BE49-F238E27FC236}">
                <a16:creationId xmlns:a16="http://schemas.microsoft.com/office/drawing/2014/main" id="{DA5D6C7A-4112-4E4D-87C6-FBD5D168F60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346728" y="4296879"/>
            <a:ext cx="907200" cy="907200"/>
          </a:xfrm>
          <a:prstGeom prst="rect">
            <a:avLst/>
          </a:prstGeom>
        </p:spPr>
      </p:pic>
      <p:pic>
        <p:nvPicPr>
          <p:cNvPr id="54" name="Grafik 53">
            <a:extLst>
              <a:ext uri="{FF2B5EF4-FFF2-40B4-BE49-F238E27FC236}">
                <a16:creationId xmlns:a16="http://schemas.microsoft.com/office/drawing/2014/main" id="{7F49BF34-1EB5-45A4-BE48-C26CB83EC206}"/>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391989" y="4287211"/>
            <a:ext cx="907200" cy="907200"/>
          </a:xfrm>
          <a:prstGeom prst="rect">
            <a:avLst/>
          </a:prstGeom>
        </p:spPr>
      </p:pic>
      <p:cxnSp>
        <p:nvCxnSpPr>
          <p:cNvPr id="60" name="Verbinder: gewinkelt 59">
            <a:extLst>
              <a:ext uri="{FF2B5EF4-FFF2-40B4-BE49-F238E27FC236}">
                <a16:creationId xmlns:a16="http://schemas.microsoft.com/office/drawing/2014/main" id="{EDB35346-DF6F-46DD-B827-0F243F3A0C31}"/>
              </a:ext>
            </a:extLst>
          </p:cNvPr>
          <p:cNvCxnSpPr>
            <a:cxnSpLocks/>
          </p:cNvCxnSpPr>
          <p:nvPr/>
        </p:nvCxnSpPr>
        <p:spPr bwMode="gray">
          <a:xfrm rot="5400000" flipH="1" flipV="1">
            <a:off x="2032179" y="3027814"/>
            <a:ext cx="519850" cy="1998945"/>
          </a:xfrm>
          <a:prstGeom prst="bentConnector2">
            <a:avLst/>
          </a:prstGeom>
          <a:ln/>
        </p:spPr>
        <p:style>
          <a:lnRef idx="1">
            <a:schemeClr val="dk1"/>
          </a:lnRef>
          <a:fillRef idx="0">
            <a:schemeClr val="dk1"/>
          </a:fillRef>
          <a:effectRef idx="0">
            <a:schemeClr val="dk1"/>
          </a:effectRef>
          <a:fontRef idx="minor">
            <a:schemeClr val="tx1"/>
          </a:fontRef>
        </p:style>
      </p:cxnSp>
      <p:cxnSp>
        <p:nvCxnSpPr>
          <p:cNvPr id="62" name="Verbinder: gewinkelt 61">
            <a:extLst>
              <a:ext uri="{FF2B5EF4-FFF2-40B4-BE49-F238E27FC236}">
                <a16:creationId xmlns:a16="http://schemas.microsoft.com/office/drawing/2014/main" id="{0D5FEB71-D581-4A25-99B3-84CE34343196}"/>
              </a:ext>
            </a:extLst>
          </p:cNvPr>
          <p:cNvCxnSpPr>
            <a:cxnSpLocks/>
            <a:stCxn id="54" idx="0"/>
          </p:cNvCxnSpPr>
          <p:nvPr/>
        </p:nvCxnSpPr>
        <p:spPr bwMode="gray">
          <a:xfrm rot="16200000" flipV="1">
            <a:off x="9546635" y="2988256"/>
            <a:ext cx="519850" cy="2078059"/>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hteck 4">
            <a:extLst>
              <a:ext uri="{FF2B5EF4-FFF2-40B4-BE49-F238E27FC236}">
                <a16:creationId xmlns:a16="http://schemas.microsoft.com/office/drawing/2014/main" id="{35719DB0-54A4-43EA-8533-1B2E8E7F34B4}"/>
              </a:ext>
            </a:extLst>
          </p:cNvPr>
          <p:cNvSpPr/>
          <p:nvPr/>
        </p:nvSpPr>
        <p:spPr bwMode="gray">
          <a:xfrm>
            <a:off x="395411" y="5327649"/>
            <a:ext cx="1619421" cy="75443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a:solidFill>
                  <a:schemeClr val="tx1"/>
                </a:solidFill>
              </a:rPr>
              <a:t>Produce beverages, </a:t>
            </a:r>
            <a:br>
              <a:rPr lang="en-US" sz="1100">
                <a:solidFill>
                  <a:schemeClr val="tx1"/>
                </a:solidFill>
              </a:rPr>
            </a:br>
            <a:r>
              <a:rPr lang="en-US" sz="1100">
                <a:solidFill>
                  <a:schemeClr val="tx1"/>
                </a:solidFill>
              </a:rPr>
              <a:t>e.g. mineral water, </a:t>
            </a:r>
          </a:p>
          <a:p>
            <a:pPr algn="ctr"/>
            <a:r>
              <a:rPr lang="en-US" sz="1100">
                <a:solidFill>
                  <a:schemeClr val="tx1"/>
                </a:solidFill>
              </a:rPr>
              <a:t>soft drinks, spritzers, sport &amp; diet drinks</a:t>
            </a:r>
          </a:p>
        </p:txBody>
      </p:sp>
      <p:sp>
        <p:nvSpPr>
          <p:cNvPr id="32" name="Rechteck 31">
            <a:extLst>
              <a:ext uri="{FF2B5EF4-FFF2-40B4-BE49-F238E27FC236}">
                <a16:creationId xmlns:a16="http://schemas.microsoft.com/office/drawing/2014/main" id="{283760A9-C2D7-40C6-A5BE-3FF8918908F8}"/>
              </a:ext>
            </a:extLst>
          </p:cNvPr>
          <p:cNvSpPr/>
          <p:nvPr/>
        </p:nvSpPr>
        <p:spPr bwMode="gray">
          <a:xfrm>
            <a:off x="2363077" y="5333410"/>
            <a:ext cx="1619421" cy="75443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a:solidFill>
                  <a:schemeClr val="tx1"/>
                </a:solidFill>
              </a:rPr>
              <a:t>Produces various </a:t>
            </a:r>
          </a:p>
          <a:p>
            <a:pPr algn="ctr"/>
            <a:r>
              <a:rPr lang="en-US" sz="1100">
                <a:solidFill>
                  <a:schemeClr val="tx1"/>
                </a:solidFill>
              </a:rPr>
              <a:t>chocolate bars and dried fruits</a:t>
            </a:r>
          </a:p>
        </p:txBody>
      </p:sp>
      <p:sp>
        <p:nvSpPr>
          <p:cNvPr id="33" name="Rechteck 32">
            <a:extLst>
              <a:ext uri="{FF2B5EF4-FFF2-40B4-BE49-F238E27FC236}">
                <a16:creationId xmlns:a16="http://schemas.microsoft.com/office/drawing/2014/main" id="{D91EA185-FABE-4BD0-B48F-9B6B44ADBF48}"/>
              </a:ext>
            </a:extLst>
          </p:cNvPr>
          <p:cNvSpPr/>
          <p:nvPr/>
        </p:nvSpPr>
        <p:spPr bwMode="gray">
          <a:xfrm>
            <a:off x="4293619" y="5335156"/>
            <a:ext cx="1619421" cy="75443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a:solidFill>
                  <a:schemeClr val="tx1"/>
                </a:solidFill>
              </a:rPr>
              <a:t>Makes baked goods,</a:t>
            </a:r>
            <a:br>
              <a:rPr lang="en-US" sz="1100">
                <a:solidFill>
                  <a:schemeClr val="tx1"/>
                </a:solidFill>
              </a:rPr>
            </a:br>
            <a:r>
              <a:rPr lang="en-US" sz="1100">
                <a:solidFill>
                  <a:schemeClr val="tx1"/>
                </a:solidFill>
              </a:rPr>
              <a:t>e.g. bread, rolls and pastries</a:t>
            </a:r>
          </a:p>
        </p:txBody>
      </p:sp>
      <p:sp>
        <p:nvSpPr>
          <p:cNvPr id="46" name="Rechteck 45">
            <a:extLst>
              <a:ext uri="{FF2B5EF4-FFF2-40B4-BE49-F238E27FC236}">
                <a16:creationId xmlns:a16="http://schemas.microsoft.com/office/drawing/2014/main" id="{9E434915-A750-4697-996F-0E350B8EF19F}"/>
              </a:ext>
            </a:extLst>
          </p:cNvPr>
          <p:cNvSpPr/>
          <p:nvPr/>
        </p:nvSpPr>
        <p:spPr bwMode="gray">
          <a:xfrm>
            <a:off x="6094399" y="5335156"/>
            <a:ext cx="1619421" cy="75443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a:solidFill>
                  <a:schemeClr val="tx1"/>
                </a:solidFill>
              </a:rPr>
              <a:t>Produces ice cream, </a:t>
            </a:r>
            <a:br>
              <a:rPr lang="en-US" sz="1100">
                <a:solidFill>
                  <a:schemeClr val="tx1"/>
                </a:solidFill>
              </a:rPr>
            </a:br>
            <a:r>
              <a:rPr lang="en-US" sz="1100">
                <a:solidFill>
                  <a:schemeClr val="tx1"/>
                </a:solidFill>
              </a:rPr>
              <a:t>e.g. popsicles, ice cream cones and </a:t>
            </a:r>
            <a:r>
              <a:rPr lang="en-US" sz="1100" err="1">
                <a:solidFill>
                  <a:schemeClr val="tx1"/>
                </a:solidFill>
              </a:rPr>
              <a:t>scoopable</a:t>
            </a:r>
            <a:r>
              <a:rPr lang="en-US" sz="1100">
                <a:solidFill>
                  <a:schemeClr val="tx1"/>
                </a:solidFill>
              </a:rPr>
              <a:t> ice cream</a:t>
            </a:r>
          </a:p>
        </p:txBody>
      </p:sp>
      <p:sp>
        <p:nvSpPr>
          <p:cNvPr id="47" name="Rechteck 46">
            <a:extLst>
              <a:ext uri="{FF2B5EF4-FFF2-40B4-BE49-F238E27FC236}">
                <a16:creationId xmlns:a16="http://schemas.microsoft.com/office/drawing/2014/main" id="{68A1F362-2450-4A04-A957-E7694BB233BC}"/>
              </a:ext>
            </a:extLst>
          </p:cNvPr>
          <p:cNvSpPr/>
          <p:nvPr/>
        </p:nvSpPr>
        <p:spPr bwMode="gray">
          <a:xfrm>
            <a:off x="7898917" y="5327649"/>
            <a:ext cx="1619421" cy="75443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a:solidFill>
                  <a:schemeClr val="tx1"/>
                </a:solidFill>
              </a:rPr>
              <a:t>Performs</a:t>
            </a:r>
            <a:r>
              <a:rPr lang="en-US" sz="1100">
                <a:solidFill>
                  <a:schemeClr val="tx1"/>
                </a:solidFill>
                <a:latin typeface="Tahoma" panose="020B0604030504040204" pitchFamily="34" charset="0"/>
              </a:rPr>
              <a:t> logistics services at the </a:t>
            </a:r>
            <a:r>
              <a:rPr lang="en-US" sz="1100" err="1">
                <a:solidFill>
                  <a:schemeClr val="tx1"/>
                </a:solidFill>
                <a:latin typeface="Tahoma" panose="020B0604030504040204" pitchFamily="34" charset="0"/>
              </a:rPr>
              <a:t>Übach-Palenberg</a:t>
            </a:r>
            <a:r>
              <a:rPr lang="en-US" sz="1100">
                <a:solidFill>
                  <a:schemeClr val="tx1"/>
                </a:solidFill>
                <a:latin typeface="Tahoma" panose="020B0604030504040204" pitchFamily="34" charset="0"/>
              </a:rPr>
              <a:t> location</a:t>
            </a:r>
          </a:p>
        </p:txBody>
      </p:sp>
      <p:sp>
        <p:nvSpPr>
          <p:cNvPr id="55" name="Rechteck 54">
            <a:extLst>
              <a:ext uri="{FF2B5EF4-FFF2-40B4-BE49-F238E27FC236}">
                <a16:creationId xmlns:a16="http://schemas.microsoft.com/office/drawing/2014/main" id="{2B069645-A0D6-43B8-871D-0C36E1B46BA6}"/>
              </a:ext>
            </a:extLst>
          </p:cNvPr>
          <p:cNvSpPr/>
          <p:nvPr/>
        </p:nvSpPr>
        <p:spPr bwMode="gray">
          <a:xfrm>
            <a:off x="10035879" y="5341162"/>
            <a:ext cx="1759123" cy="75443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en-US" sz="1100">
                <a:solidFill>
                  <a:schemeClr val="tx1"/>
                </a:solidFill>
                <a:ea typeface="Tahoma" panose="020B0604030504040204" pitchFamily="34" charset="0"/>
                <a:cs typeface="Tahoma" panose="020B0604030504040204" pitchFamily="34" charset="0"/>
              </a:rPr>
              <a:t>Perform central services, set standards for wider processes and topics</a:t>
            </a:r>
          </a:p>
        </p:txBody>
      </p:sp>
    </p:spTree>
    <p:extLst>
      <p:ext uri="{BB962C8B-B14F-4D97-AF65-F5344CB8AC3E}">
        <p14:creationId xmlns:p14="http://schemas.microsoft.com/office/powerpoint/2010/main" val="394569428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6822D012-9FBA-4674-88C0-7882CD9E1172}"/>
              </a:ext>
            </a:extLst>
          </p:cNvPr>
          <p:cNvPicPr>
            <a:picLocks noChangeAspect="1"/>
          </p:cNvPicPr>
          <p:nvPr/>
        </p:nvPicPr>
        <p:blipFill rotWithShape="1">
          <a:blip r:embed="rId3" cstate="print">
            <a:alphaModFix amt="40000"/>
            <a:extLst>
              <a:ext uri="{28A0092B-C50C-407E-A947-70E740481C1C}">
                <a14:useLocalDpi xmlns:a14="http://schemas.microsoft.com/office/drawing/2010/main" val="0"/>
              </a:ext>
            </a:extLst>
          </a:blip>
          <a:srcRect b="2105"/>
          <a:stretch/>
        </p:blipFill>
        <p:spPr>
          <a:xfrm>
            <a:off x="1673894" y="3914303"/>
            <a:ext cx="3999261" cy="2202230"/>
          </a:xfrm>
          <a:prstGeom prst="rect">
            <a:avLst/>
          </a:prstGeom>
        </p:spPr>
      </p:pic>
      <p:pic>
        <p:nvPicPr>
          <p:cNvPr id="11" name="Grafik 10">
            <a:extLst>
              <a:ext uri="{FF2B5EF4-FFF2-40B4-BE49-F238E27FC236}">
                <a16:creationId xmlns:a16="http://schemas.microsoft.com/office/drawing/2014/main" id="{6033A16D-941B-4D17-B89F-ADB8B35117F8}"/>
              </a:ext>
            </a:extLst>
          </p:cNvPr>
          <p:cNvPicPr>
            <a:picLocks noChangeAspect="1"/>
          </p:cNvPicPr>
          <p:nvPr/>
        </p:nvPicPr>
        <p:blipFill rotWithShape="1">
          <a:blip r:embed="rId4" cstate="print">
            <a:alphaModFix amt="40000"/>
            <a:extLst>
              <a:ext uri="{28A0092B-C50C-407E-A947-70E740481C1C}">
                <a14:useLocalDpi xmlns:a14="http://schemas.microsoft.com/office/drawing/2010/main" val="0"/>
              </a:ext>
            </a:extLst>
          </a:blip>
          <a:srcRect b="1947"/>
          <a:stretch/>
        </p:blipFill>
        <p:spPr>
          <a:xfrm>
            <a:off x="5833123" y="3918218"/>
            <a:ext cx="3992843" cy="2202230"/>
          </a:xfrm>
          <a:prstGeom prst="rect">
            <a:avLst/>
          </a:prstGeom>
        </p:spPr>
      </p:pic>
      <p:pic>
        <p:nvPicPr>
          <p:cNvPr id="9" name="Grafik 8" descr="Ein Bild, das sitzend, Tastatur, schließen, Draht enthält.&#10;&#10;Automatisch generierte Beschreibung">
            <a:extLst>
              <a:ext uri="{FF2B5EF4-FFF2-40B4-BE49-F238E27FC236}">
                <a16:creationId xmlns:a16="http://schemas.microsoft.com/office/drawing/2014/main" id="{C8DC8AAC-0EFD-4CAA-B5BF-D3723A766AE5}"/>
              </a:ext>
            </a:extLst>
          </p:cNvPr>
          <p:cNvPicPr>
            <a:picLocks noChangeAspect="1"/>
          </p:cNvPicPr>
          <p:nvPr/>
        </p:nvPicPr>
        <p:blipFill rotWithShape="1">
          <a:blip r:embed="rId5" cstate="print">
            <a:alphaModFix amt="40000"/>
            <a:extLst>
              <a:ext uri="{28A0092B-C50C-407E-A947-70E740481C1C}">
                <a14:useLocalDpi xmlns:a14="http://schemas.microsoft.com/office/drawing/2010/main" val="0"/>
              </a:ext>
            </a:extLst>
          </a:blip>
          <a:srcRect b="1441"/>
          <a:stretch/>
        </p:blipFill>
        <p:spPr>
          <a:xfrm>
            <a:off x="5833124" y="1557953"/>
            <a:ext cx="3991243" cy="2212704"/>
          </a:xfrm>
          <a:prstGeom prst="rect">
            <a:avLst/>
          </a:prstGeom>
        </p:spPr>
      </p:pic>
      <p:pic>
        <p:nvPicPr>
          <p:cNvPr id="4" name="Grafik 3" descr="Ein Bild, das Essen enthält.&#10;&#10;Automatisch generierte Beschreibung">
            <a:extLst>
              <a:ext uri="{FF2B5EF4-FFF2-40B4-BE49-F238E27FC236}">
                <a16:creationId xmlns:a16="http://schemas.microsoft.com/office/drawing/2014/main" id="{B948543E-5B36-4CF3-ABFF-9C3F8DAF75ED}"/>
              </a:ext>
            </a:extLst>
          </p:cNvPr>
          <p:cNvPicPr>
            <a:picLocks noChangeAspect="1"/>
          </p:cNvPicPr>
          <p:nvPr/>
        </p:nvPicPr>
        <p:blipFill rotWithShape="1">
          <a:blip r:embed="rId6" cstate="print">
            <a:alphaModFix amt="40000"/>
            <a:extLst>
              <a:ext uri="{28A0092B-C50C-407E-A947-70E740481C1C}">
                <a14:useLocalDpi xmlns:a14="http://schemas.microsoft.com/office/drawing/2010/main" val="0"/>
              </a:ext>
            </a:extLst>
          </a:blip>
          <a:srcRect l="-427" t="556" r="546" b="1181"/>
          <a:stretch/>
        </p:blipFill>
        <p:spPr>
          <a:xfrm>
            <a:off x="1667112" y="1557952"/>
            <a:ext cx="3998422" cy="2212704"/>
          </a:xfrm>
          <a:prstGeom prst="rect">
            <a:avLst/>
          </a:prstGeom>
        </p:spPr>
      </p:pic>
      <p:sp>
        <p:nvSpPr>
          <p:cNvPr id="2" name="Titel 1"/>
          <p:cNvSpPr>
            <a:spLocks noGrp="1"/>
          </p:cNvSpPr>
          <p:nvPr>
            <p:ph type="title"/>
          </p:nvPr>
        </p:nvSpPr>
        <p:spPr/>
        <p:txBody>
          <a:bodyPr/>
          <a:lstStyle/>
          <a:p>
            <a:r>
              <a:rPr lang="en-US"/>
              <a:t>Production</a:t>
            </a:r>
          </a:p>
        </p:txBody>
      </p:sp>
      <p:sp>
        <p:nvSpPr>
          <p:cNvPr id="7" name="Untertitel 6"/>
          <p:cNvSpPr>
            <a:spLocks noGrp="1"/>
          </p:cNvSpPr>
          <p:nvPr>
            <p:ph type="subTitle" idx="1"/>
          </p:nvPr>
        </p:nvSpPr>
        <p:spPr>
          <a:xfrm>
            <a:off x="438771" y="739137"/>
            <a:ext cx="11348418" cy="426662"/>
          </a:xfrm>
        </p:spPr>
        <p:txBody>
          <a:bodyPr/>
          <a:lstStyle/>
          <a:p>
            <a:r>
              <a:rPr lang="en-US"/>
              <a:t>Top quality and supply chain safety</a:t>
            </a:r>
          </a:p>
        </p:txBody>
      </p:sp>
      <p:sp>
        <p:nvSpPr>
          <p:cNvPr id="17" name="Foliennummernplatzhalter 9">
            <a:extLst>
              <a:ext uri="{FF2B5EF4-FFF2-40B4-BE49-F238E27FC236}">
                <a16:creationId xmlns:a16="http://schemas.microsoft.com/office/drawing/2014/main" id="{1609BA48-47C5-4EE0-A8F6-4BE7822FAA26}"/>
              </a:ext>
            </a:extLst>
          </p:cNvPr>
          <p:cNvSpPr>
            <a:spLocks noGrp="1"/>
          </p:cNvSpPr>
          <p:nvPr>
            <p:ph type="sldNum" sz="quarter" idx="12"/>
          </p:nvPr>
        </p:nvSpPr>
        <p:spPr/>
        <p:txBody>
          <a:bodyPr/>
          <a:lstStyle/>
          <a:p>
            <a:fld id="{0C7C1E0B-BD27-42F8-BC6B-2F0636970842}" type="slidenum">
              <a:rPr lang="de-DE" smtClean="0"/>
              <a:pPr/>
              <a:t>18</a:t>
            </a:fld>
            <a:endParaRPr lang="de-DE"/>
          </a:p>
        </p:txBody>
      </p:sp>
      <p:pic>
        <p:nvPicPr>
          <p:cNvPr id="15" name="Grafik 14">
            <a:extLst>
              <a:ext uri="{FF2B5EF4-FFF2-40B4-BE49-F238E27FC236}">
                <a16:creationId xmlns:a16="http://schemas.microsoft.com/office/drawing/2014/main" id="{0DDBB99E-0E11-4334-84BB-8E43A20C265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6061" y="392280"/>
            <a:ext cx="673062" cy="771218"/>
          </a:xfrm>
          <a:prstGeom prst="rect">
            <a:avLst/>
          </a:prstGeom>
        </p:spPr>
      </p:pic>
      <p:pic>
        <p:nvPicPr>
          <p:cNvPr id="20" name="Grafik 19">
            <a:extLst>
              <a:ext uri="{FF2B5EF4-FFF2-40B4-BE49-F238E27FC236}">
                <a16:creationId xmlns:a16="http://schemas.microsoft.com/office/drawing/2014/main" id="{9A24AB1C-3186-4185-AB27-6076E51A9FA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886127" y="285197"/>
            <a:ext cx="872023" cy="872023"/>
          </a:xfrm>
          <a:prstGeom prst="rect">
            <a:avLst/>
          </a:prstGeom>
        </p:spPr>
      </p:pic>
      <p:sp>
        <p:nvSpPr>
          <p:cNvPr id="23" name="Textfeld 22">
            <a:extLst>
              <a:ext uri="{FF2B5EF4-FFF2-40B4-BE49-F238E27FC236}">
                <a16:creationId xmlns:a16="http://schemas.microsoft.com/office/drawing/2014/main" id="{74D3F6EC-908C-4543-BC6E-6C9AFA154D15}"/>
              </a:ext>
            </a:extLst>
          </p:cNvPr>
          <p:cNvSpPr txBox="1"/>
          <p:nvPr/>
        </p:nvSpPr>
        <p:spPr bwMode="gray">
          <a:xfrm>
            <a:off x="9026061" y="2887560"/>
            <a:ext cx="2731934" cy="149621"/>
          </a:xfrm>
          <a:prstGeom prst="rect">
            <a:avLst/>
          </a:prstGeom>
          <a:noFill/>
        </p:spPr>
        <p:txBody>
          <a:bodyPr wrap="square" lIns="144000" tIns="0" rIns="0" bIns="0" rtlCol="0" anchor="b" anchorCtr="0">
            <a:noAutofit/>
          </a:bodyPr>
          <a:lstStyle/>
          <a:p>
            <a:pPr algn="r" defTabSz="1088284"/>
            <a:endParaRPr lang="en-US" sz="1400" b="1">
              <a:latin typeface="Arial"/>
            </a:endParaRPr>
          </a:p>
        </p:txBody>
      </p:sp>
      <p:sp>
        <p:nvSpPr>
          <p:cNvPr id="13" name="Textfeld 12">
            <a:extLst>
              <a:ext uri="{FF2B5EF4-FFF2-40B4-BE49-F238E27FC236}">
                <a16:creationId xmlns:a16="http://schemas.microsoft.com/office/drawing/2014/main" id="{456EBBEE-D2C6-4002-86E4-878EA3BC5DD4}"/>
              </a:ext>
            </a:extLst>
          </p:cNvPr>
          <p:cNvSpPr txBox="1"/>
          <p:nvPr/>
        </p:nvSpPr>
        <p:spPr bwMode="gray">
          <a:xfrm>
            <a:off x="7679185" y="1279386"/>
            <a:ext cx="2392115" cy="128330"/>
          </a:xfrm>
          <a:prstGeom prst="rect">
            <a:avLst/>
          </a:prstGeom>
          <a:noFill/>
        </p:spPr>
        <p:txBody>
          <a:bodyPr wrap="square" lIns="144000" tIns="0" rIns="0" bIns="0" rtlCol="0" anchor="b" anchorCtr="0">
            <a:noAutofit/>
          </a:bodyPr>
          <a:lstStyle/>
          <a:p>
            <a:pPr algn="r" defTabSz="1088284"/>
            <a:endParaRPr lang="de-DE" sz="1200" b="1" i="1">
              <a:solidFill>
                <a:srgbClr val="791F82"/>
              </a:solidFill>
            </a:endParaRPr>
          </a:p>
          <a:p>
            <a:pPr algn="r" defTabSz="1088284">
              <a:spcAft>
                <a:spcPts val="200"/>
              </a:spcAft>
            </a:pPr>
            <a:r>
              <a:rPr lang="en-US" sz="1200" b="1"/>
              <a:t>www.schwarz-produktion.com</a:t>
            </a:r>
          </a:p>
        </p:txBody>
      </p:sp>
      <p:grpSp>
        <p:nvGrpSpPr>
          <p:cNvPr id="18" name="Gruppieren 17">
            <a:extLst>
              <a:ext uri="{FF2B5EF4-FFF2-40B4-BE49-F238E27FC236}">
                <a16:creationId xmlns:a16="http://schemas.microsoft.com/office/drawing/2014/main" id="{7A2493AC-DEF5-4B78-BF1D-A17FB57D7152}"/>
              </a:ext>
            </a:extLst>
          </p:cNvPr>
          <p:cNvGrpSpPr/>
          <p:nvPr/>
        </p:nvGrpSpPr>
        <p:grpSpPr>
          <a:xfrm>
            <a:off x="3466846" y="1801819"/>
            <a:ext cx="7446762" cy="4077408"/>
            <a:chOff x="1029031" y="3699358"/>
            <a:chExt cx="6026683" cy="3720794"/>
          </a:xfrm>
        </p:grpSpPr>
        <p:sp>
          <p:nvSpPr>
            <p:cNvPr id="19" name="Textfeld 18">
              <a:extLst>
                <a:ext uri="{FF2B5EF4-FFF2-40B4-BE49-F238E27FC236}">
                  <a16:creationId xmlns:a16="http://schemas.microsoft.com/office/drawing/2014/main" id="{9B81936F-B632-4F36-81FA-CE9F76F8CBF5}"/>
                </a:ext>
              </a:extLst>
            </p:cNvPr>
            <p:cNvSpPr txBox="1"/>
            <p:nvPr/>
          </p:nvSpPr>
          <p:spPr bwMode="gray">
            <a:xfrm>
              <a:off x="1029031" y="3699358"/>
              <a:ext cx="1599134" cy="3720794"/>
            </a:xfrm>
            <a:prstGeom prst="rect">
              <a:avLst/>
            </a:prstGeom>
            <a:noFill/>
          </p:spPr>
          <p:txBody>
            <a:bodyPr wrap="square" lIns="0" tIns="0" rIns="0" bIns="0" rtlCol="0">
              <a:noAutofit/>
            </a:bodyPr>
            <a:lstStyle/>
            <a:p>
              <a:pPr algn="r" defTabSz="1088284">
                <a:spcAft>
                  <a:spcPts val="1200"/>
                </a:spcAft>
              </a:pPr>
              <a:r>
                <a:rPr lang="en-US" sz="2200" b="1">
                  <a:solidFill>
                    <a:schemeClr val="accent1"/>
                  </a:solidFill>
                </a:rPr>
                <a:t>5</a:t>
              </a:r>
            </a:p>
            <a:p>
              <a:pPr algn="r" defTabSz="1088284">
                <a:spcAft>
                  <a:spcPts val="1200"/>
                </a:spcAft>
              </a:pPr>
              <a:r>
                <a:rPr lang="en-US" sz="2200" b="1">
                  <a:solidFill>
                    <a:schemeClr val="accent1"/>
                  </a:solidFill>
                </a:rPr>
                <a:t>10</a:t>
              </a:r>
            </a:p>
            <a:p>
              <a:pPr algn="r" defTabSz="1088284">
                <a:spcAft>
                  <a:spcPts val="1200"/>
                </a:spcAft>
              </a:pPr>
              <a:r>
                <a:rPr lang="en-US" sz="2200" b="1">
                  <a:solidFill>
                    <a:schemeClr val="accent1"/>
                  </a:solidFill>
                </a:rPr>
                <a:t>4,000</a:t>
              </a:r>
            </a:p>
            <a:p>
              <a:pPr algn="r" defTabSz="1088284">
                <a:spcAft>
                  <a:spcPts val="3000"/>
                </a:spcAft>
              </a:pPr>
              <a:r>
                <a:rPr lang="en-US" sz="2200" b="1">
                  <a:solidFill>
                    <a:schemeClr val="accent1"/>
                  </a:solidFill>
                </a:rPr>
                <a:t>3.7 bn</a:t>
              </a:r>
            </a:p>
            <a:p>
              <a:pPr algn="r" defTabSz="1088284">
                <a:spcAft>
                  <a:spcPts val="1200"/>
                </a:spcAft>
              </a:pPr>
              <a:r>
                <a:rPr lang="en-US" sz="2200" b="1">
                  <a:solidFill>
                    <a:schemeClr val="accent1"/>
                  </a:solidFill>
                </a:rPr>
                <a:t>2 bn</a:t>
              </a:r>
              <a:br>
                <a:rPr lang="en-US" sz="2200" b="1">
                  <a:solidFill>
                    <a:schemeClr val="accent1"/>
                  </a:solidFill>
                </a:rPr>
              </a:br>
              <a:endParaRPr lang="en-US" sz="2200" b="1">
                <a:solidFill>
                  <a:schemeClr val="accent1"/>
                </a:solidFill>
              </a:endParaRPr>
            </a:p>
            <a:p>
              <a:pPr algn="r" defTabSz="1088284">
                <a:spcAft>
                  <a:spcPts val="1200"/>
                </a:spcAft>
              </a:pPr>
              <a:r>
                <a:rPr lang="en-US" sz="2200" b="1">
                  <a:solidFill>
                    <a:schemeClr val="accent1"/>
                  </a:solidFill>
                </a:rPr>
                <a:t>45,000 t</a:t>
              </a:r>
            </a:p>
            <a:p>
              <a:pPr algn="r" defTabSz="1088284">
                <a:spcAft>
                  <a:spcPts val="1200"/>
                </a:spcAft>
              </a:pPr>
              <a:r>
                <a:rPr lang="en-US" sz="2200" b="1">
                  <a:solidFill>
                    <a:schemeClr val="accent1"/>
                  </a:solidFill>
                </a:rPr>
                <a:t>1.4 bn</a:t>
              </a:r>
            </a:p>
            <a:p>
              <a:pPr algn="r" defTabSz="1088284">
                <a:spcAft>
                  <a:spcPts val="1200"/>
                </a:spcAft>
              </a:pPr>
              <a:r>
                <a:rPr lang="en-US" sz="2200" b="1">
                  <a:solidFill>
                    <a:schemeClr val="accent1"/>
                  </a:solidFill>
                </a:rPr>
                <a:t>600 million</a:t>
              </a:r>
            </a:p>
            <a:p>
              <a:pPr algn="r" defTabSz="1088284">
                <a:spcAft>
                  <a:spcPts val="1200"/>
                </a:spcAft>
              </a:pPr>
              <a:endParaRPr lang="en-US" sz="2200">
                <a:solidFill>
                  <a:schemeClr val="accent1"/>
                </a:solidFill>
              </a:endParaRPr>
            </a:p>
          </p:txBody>
        </p:sp>
        <p:sp>
          <p:nvSpPr>
            <p:cNvPr id="21" name="Textfeld 20">
              <a:extLst>
                <a:ext uri="{FF2B5EF4-FFF2-40B4-BE49-F238E27FC236}">
                  <a16:creationId xmlns:a16="http://schemas.microsoft.com/office/drawing/2014/main" id="{7E84222A-5548-4A47-BB81-A8C335CC7087}"/>
                </a:ext>
              </a:extLst>
            </p:cNvPr>
            <p:cNvSpPr txBox="1"/>
            <p:nvPr/>
          </p:nvSpPr>
          <p:spPr bwMode="gray">
            <a:xfrm>
              <a:off x="3066345" y="3699358"/>
              <a:ext cx="3989369" cy="2015589"/>
            </a:xfrm>
            <a:prstGeom prst="rect">
              <a:avLst/>
            </a:prstGeom>
            <a:noFill/>
          </p:spPr>
          <p:txBody>
            <a:bodyPr wrap="square" lIns="0" tIns="0" rIns="0" bIns="0" rtlCol="0">
              <a:noAutofit/>
            </a:bodyPr>
            <a:lstStyle/>
            <a:p>
              <a:pPr defTabSz="1088284">
                <a:spcAft>
                  <a:spcPts val="1200"/>
                </a:spcAft>
              </a:pPr>
              <a:r>
                <a:rPr lang="en-US" sz="2200">
                  <a:solidFill>
                    <a:prstClr val="black"/>
                  </a:solidFill>
                  <a:latin typeface="Arial"/>
                </a:rPr>
                <a:t>Production segments</a:t>
              </a:r>
            </a:p>
            <a:p>
              <a:pPr defTabSz="1088284">
                <a:spcAft>
                  <a:spcPts val="1200"/>
                </a:spcAft>
              </a:pPr>
              <a:r>
                <a:rPr lang="en-US" sz="2200">
                  <a:solidFill>
                    <a:prstClr val="black"/>
                  </a:solidFill>
                  <a:latin typeface="Arial"/>
                </a:rPr>
                <a:t>Production sites in DE</a:t>
              </a:r>
            </a:p>
            <a:p>
              <a:pPr defTabSz="1088284">
                <a:spcAft>
                  <a:spcPts val="1200"/>
                </a:spcAft>
              </a:pPr>
              <a:r>
                <a:rPr lang="en-US" sz="2200">
                  <a:solidFill>
                    <a:prstClr val="black"/>
                  </a:solidFill>
                  <a:latin typeface="Arial"/>
                </a:rPr>
                <a:t>Employees</a:t>
              </a:r>
            </a:p>
            <a:p>
              <a:pPr defTabSz="1088284">
                <a:spcAft>
                  <a:spcPts val="3000"/>
                </a:spcAft>
              </a:pPr>
              <a:r>
                <a:rPr lang="en-US" sz="2200">
                  <a:solidFill>
                    <a:prstClr val="black"/>
                  </a:solidFill>
                  <a:latin typeface="Arial"/>
                </a:rPr>
                <a:t>Beverages filled annually</a:t>
              </a:r>
            </a:p>
            <a:p>
              <a:pPr defTabSz="1088284">
                <a:spcAft>
                  <a:spcPts val="1200"/>
                </a:spcAft>
              </a:pPr>
              <a:r>
                <a:rPr lang="en-US" sz="2200">
                  <a:solidFill>
                    <a:prstClr val="black"/>
                  </a:solidFill>
                  <a:latin typeface="Arial"/>
                </a:rPr>
                <a:t>Single-use bottles recycled </a:t>
              </a:r>
              <a:br>
                <a:rPr lang="en-US" sz="2200">
                  <a:solidFill>
                    <a:prstClr val="black"/>
                  </a:solidFill>
                  <a:latin typeface="Arial"/>
                </a:rPr>
              </a:br>
              <a:r>
                <a:rPr lang="en-US" sz="2200">
                  <a:solidFill>
                    <a:prstClr val="black"/>
                  </a:solidFill>
                  <a:latin typeface="Arial"/>
                </a:rPr>
                <a:t>annually</a:t>
              </a:r>
            </a:p>
            <a:p>
              <a:pPr defTabSz="1088284">
                <a:spcAft>
                  <a:spcPts val="1200"/>
                </a:spcAft>
              </a:pPr>
              <a:r>
                <a:rPr lang="en-US" sz="2200">
                  <a:solidFill>
                    <a:prstClr val="black"/>
                  </a:solidFill>
                  <a:latin typeface="Arial"/>
                </a:rPr>
                <a:t>Chocolate annually</a:t>
              </a:r>
            </a:p>
            <a:p>
              <a:pPr defTabSz="1088284">
                <a:spcAft>
                  <a:spcPts val="1200"/>
                </a:spcAft>
              </a:pPr>
              <a:r>
                <a:rPr lang="en-US" sz="2200">
                  <a:solidFill>
                    <a:prstClr val="black"/>
                  </a:solidFill>
                  <a:latin typeface="Arial"/>
                </a:rPr>
                <a:t>Baked goods annually</a:t>
              </a:r>
            </a:p>
            <a:p>
              <a:pPr defTabSz="1088284">
                <a:spcAft>
                  <a:spcPts val="1200"/>
                </a:spcAft>
              </a:pPr>
              <a:r>
                <a:rPr lang="en-US" sz="2200">
                  <a:solidFill>
                    <a:prstClr val="black"/>
                  </a:solidFill>
                  <a:latin typeface="Arial"/>
                </a:rPr>
                <a:t>Ice cream annually</a:t>
              </a:r>
            </a:p>
          </p:txBody>
        </p:sp>
      </p:grpSp>
      <p:pic>
        <p:nvPicPr>
          <p:cNvPr id="22" name="Grafik 21">
            <a:extLst>
              <a:ext uri="{FF2B5EF4-FFF2-40B4-BE49-F238E27FC236}">
                <a16:creationId xmlns:a16="http://schemas.microsoft.com/office/drawing/2014/main" id="{F1ABBD86-D9CA-446E-81F7-B79A84A7573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824367" y="5027775"/>
            <a:ext cx="1076400" cy="1076400"/>
          </a:xfrm>
          <a:prstGeom prst="rect">
            <a:avLst/>
          </a:prstGeom>
          <a:effectLst>
            <a:outerShdw blurRad="50800" dist="38100" dir="2700000" algn="tl" rotWithShape="0">
              <a:prstClr val="black">
                <a:alpha val="40000"/>
              </a:prstClr>
            </a:outerShdw>
          </a:effectLst>
        </p:spPr>
      </p:pic>
      <p:pic>
        <p:nvPicPr>
          <p:cNvPr id="24" name="Grafik 23">
            <a:extLst>
              <a:ext uri="{FF2B5EF4-FFF2-40B4-BE49-F238E27FC236}">
                <a16:creationId xmlns:a16="http://schemas.microsoft.com/office/drawing/2014/main" id="{01C6E80B-2133-4FEE-BF6F-C83A49AF9B6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24367" y="1559122"/>
            <a:ext cx="1076400" cy="1076400"/>
          </a:xfrm>
          <a:prstGeom prst="rect">
            <a:avLst/>
          </a:prstGeom>
          <a:effectLst>
            <a:outerShdw blurRad="50800" dist="38100" dir="2700000" algn="tl" rotWithShape="0">
              <a:prstClr val="black">
                <a:alpha val="40000"/>
              </a:prstClr>
            </a:outerShdw>
          </a:effectLst>
        </p:spPr>
      </p:pic>
      <p:pic>
        <p:nvPicPr>
          <p:cNvPr id="25" name="Grafik 24">
            <a:extLst>
              <a:ext uri="{FF2B5EF4-FFF2-40B4-BE49-F238E27FC236}">
                <a16:creationId xmlns:a16="http://schemas.microsoft.com/office/drawing/2014/main" id="{02FF8F2C-D449-42B9-BBB2-9F0E538B9B3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91652" y="5027776"/>
            <a:ext cx="1076400" cy="1076400"/>
          </a:xfrm>
          <a:prstGeom prst="rect">
            <a:avLst/>
          </a:prstGeom>
          <a:effectLst>
            <a:outerShdw blurRad="50800" dist="38100" dir="2700000" algn="tl" rotWithShape="0">
              <a:prstClr val="black">
                <a:alpha val="40000"/>
              </a:prstClr>
            </a:outerShdw>
          </a:effectLst>
        </p:spPr>
      </p:pic>
      <p:pic>
        <p:nvPicPr>
          <p:cNvPr id="26" name="Grafik 25">
            <a:extLst>
              <a:ext uri="{FF2B5EF4-FFF2-40B4-BE49-F238E27FC236}">
                <a16:creationId xmlns:a16="http://schemas.microsoft.com/office/drawing/2014/main" id="{E406EB76-21D6-4DEB-817B-A07E132FD8F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14291" y="1546765"/>
            <a:ext cx="1076400" cy="10764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14328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A6CE49E-5B0D-44D3-9FA0-C3274C934AEB}"/>
              </a:ext>
            </a:extLst>
          </p:cNvPr>
          <p:cNvSpPr>
            <a:spLocks noGrp="1"/>
          </p:cNvSpPr>
          <p:nvPr>
            <p:ph type="subTitle" idx="1"/>
          </p:nvPr>
        </p:nvSpPr>
        <p:spPr/>
        <p:txBody>
          <a:bodyPr/>
          <a:lstStyle/>
          <a:p>
            <a:r>
              <a:rPr lang="en-US" sz="1866" dirty="0"/>
              <a:t>PRODUCTION</a:t>
            </a:r>
          </a:p>
        </p:txBody>
      </p:sp>
      <p:sp>
        <p:nvSpPr>
          <p:cNvPr id="4" name="Date Placeholder 3">
            <a:extLst>
              <a:ext uri="{FF2B5EF4-FFF2-40B4-BE49-F238E27FC236}">
                <a16:creationId xmlns:a16="http://schemas.microsoft.com/office/drawing/2014/main" id="{E82AAF72-A8CC-404E-B272-47E81E90FBE2}"/>
              </a:ext>
            </a:extLst>
          </p:cNvPr>
          <p:cNvSpPr>
            <a:spLocks noGrp="1"/>
          </p:cNvSpPr>
          <p:nvPr>
            <p:ph type="dt" sz="half" idx="10"/>
          </p:nvPr>
        </p:nvSpPr>
        <p:spPr bwMode="gray">
          <a:xfrm>
            <a:off x="407196" y="6416724"/>
            <a:ext cx="926304" cy="193495"/>
          </a:xfrm>
          <a:prstGeom prst="rect">
            <a:avLst/>
          </a:prstGeom>
        </p:spPr>
        <p:txBody>
          <a:bodyPr vert="horz" lIns="0" tIns="0" rIns="0" bIns="0" rtlCol="0" anchor="b">
            <a:noAutofit/>
          </a:bodyPr>
          <a:lstStyle>
            <a:defPPr>
              <a:defRPr lang="de-DE"/>
            </a:defPPr>
            <a:lvl1pPr marL="0" algn="l" defTabSz="1088502" rtl="0" eaLnBrk="1" latinLnBrk="0" hangingPunct="1">
              <a:defRPr sz="1100" kern="1200">
                <a:noFill/>
                <a:latin typeface="+mn-lt"/>
                <a:ea typeface="+mn-ea"/>
                <a:cs typeface="+mn-cs"/>
              </a:defRPr>
            </a:lvl1pPr>
            <a:lvl2pPr marL="0" indent="0" algn="l" defTabSz="1088502" rtl="0" eaLnBrk="1" latinLnBrk="0" hangingPunct="1">
              <a:defRPr sz="1100" kern="1200">
                <a:noFill/>
                <a:latin typeface="+mn-lt"/>
                <a:ea typeface="+mn-ea"/>
                <a:cs typeface="+mn-cs"/>
              </a:defRPr>
            </a:lvl2pPr>
            <a:lvl3pPr marL="0" indent="0" algn="l" defTabSz="1088502" rtl="0" eaLnBrk="1" latinLnBrk="0" hangingPunct="1">
              <a:defRPr sz="1100" kern="1200">
                <a:noFill/>
                <a:latin typeface="+mn-lt"/>
                <a:ea typeface="+mn-ea"/>
                <a:cs typeface="+mn-cs"/>
              </a:defRPr>
            </a:lvl3pPr>
            <a:lvl4pPr marL="0" indent="0" algn="l" defTabSz="1088502" rtl="0" eaLnBrk="1" latinLnBrk="0" hangingPunct="1">
              <a:defRPr sz="1100" kern="1200">
                <a:noFill/>
                <a:latin typeface="+mn-lt"/>
                <a:ea typeface="+mn-ea"/>
                <a:cs typeface="+mn-cs"/>
              </a:defRPr>
            </a:lvl4pPr>
            <a:lvl5pPr marL="0" indent="0" algn="l" defTabSz="1088502" rtl="0" eaLnBrk="1" latinLnBrk="0" hangingPunct="1">
              <a:defRPr sz="1100" kern="1200">
                <a:noFill/>
                <a:latin typeface="+mn-lt"/>
                <a:ea typeface="+mn-ea"/>
                <a:cs typeface="+mn-cs"/>
              </a:defRPr>
            </a:lvl5pPr>
            <a:lvl6pPr marL="3175" indent="0" algn="l" defTabSz="1088502" rtl="0" eaLnBrk="1" latinLnBrk="0" hangingPunct="1">
              <a:defRPr sz="1100" kern="1200">
                <a:noFill/>
                <a:latin typeface="+mn-lt"/>
                <a:ea typeface="+mn-ea"/>
                <a:cs typeface="+mn-cs"/>
              </a:defRPr>
            </a:lvl6pPr>
            <a:lvl7pPr marL="0" indent="0" algn="l" defTabSz="1088502" rtl="0" eaLnBrk="1" latinLnBrk="0" hangingPunct="1">
              <a:defRPr sz="1100" kern="1200">
                <a:noFill/>
                <a:latin typeface="+mn-lt"/>
                <a:ea typeface="+mn-ea"/>
                <a:cs typeface="+mn-cs"/>
              </a:defRPr>
            </a:lvl7pPr>
            <a:lvl8pPr marL="0" indent="0" algn="l" defTabSz="1088502" rtl="0" eaLnBrk="1" latinLnBrk="0" hangingPunct="1">
              <a:defRPr sz="1100" kern="1200">
                <a:noFill/>
                <a:latin typeface="+mn-lt"/>
                <a:ea typeface="+mn-ea"/>
                <a:cs typeface="+mn-cs"/>
              </a:defRPr>
            </a:lvl8pPr>
            <a:lvl9pPr marL="0" indent="0" algn="l" defTabSz="1088502" rtl="0" eaLnBrk="1" latinLnBrk="0" hangingPunct="1">
              <a:defRPr sz="1100" kern="1200">
                <a:noFill/>
                <a:latin typeface="+mn-lt"/>
                <a:ea typeface="+mn-ea"/>
                <a:cs typeface="+mn-cs"/>
              </a:defRPr>
            </a:lvl9pPr>
          </a:lstStyle>
          <a:p>
            <a:endParaRPr lang="de-DE"/>
          </a:p>
        </p:txBody>
      </p:sp>
      <p:sp>
        <p:nvSpPr>
          <p:cNvPr id="5" name="Slide Number Placeholder 4">
            <a:extLst>
              <a:ext uri="{FF2B5EF4-FFF2-40B4-BE49-F238E27FC236}">
                <a16:creationId xmlns:a16="http://schemas.microsoft.com/office/drawing/2014/main" id="{3D2CC002-6FDA-4FF3-804B-D944222306FF}"/>
              </a:ext>
            </a:extLst>
          </p:cNvPr>
          <p:cNvSpPr>
            <a:spLocks noGrp="1"/>
          </p:cNvSpPr>
          <p:nvPr>
            <p:ph type="sldNum" sz="quarter" idx="12"/>
          </p:nvPr>
        </p:nvSpPr>
        <p:spPr bwMode="gray">
          <a:xfrm>
            <a:off x="11568287" y="6426067"/>
            <a:ext cx="330199" cy="193676"/>
          </a:xfrm>
          <a:prstGeom prst="rect">
            <a:avLst/>
          </a:prstGeom>
        </p:spPr>
        <p:txBody>
          <a:bodyPr vert="horz" lIns="0" tIns="0" rIns="0" bIns="0" rtlCol="0" anchor="b">
            <a:noAutofit/>
          </a:bodyPr>
          <a:lstStyle>
            <a:defPPr>
              <a:defRPr lang="de-DE"/>
            </a:defPPr>
            <a:lvl1pPr marL="0" algn="l" defTabSz="1088502" rtl="0" eaLnBrk="1" latinLnBrk="0" hangingPunct="1">
              <a:defRPr sz="1400" b="1" kern="1200">
                <a:solidFill>
                  <a:schemeClr val="accent1"/>
                </a:solidFill>
                <a:latin typeface="+mn-lt"/>
                <a:ea typeface="+mn-ea"/>
                <a:cs typeface="+mn-cs"/>
              </a:defRPr>
            </a:lvl1pPr>
            <a:lvl2pPr marL="0" indent="0" algn="l" defTabSz="1088502" rtl="0" eaLnBrk="1" latinLnBrk="0" hangingPunct="1">
              <a:defRPr sz="1400" b="1" kern="1200">
                <a:solidFill>
                  <a:schemeClr val="accent1"/>
                </a:solidFill>
                <a:latin typeface="+mn-lt"/>
                <a:ea typeface="+mn-ea"/>
                <a:cs typeface="+mn-cs"/>
              </a:defRPr>
            </a:lvl2pPr>
            <a:lvl3pPr marL="0" indent="0" algn="l" defTabSz="1088502" rtl="0" eaLnBrk="1" latinLnBrk="0" hangingPunct="1">
              <a:defRPr sz="1400" b="1" kern="1200">
                <a:solidFill>
                  <a:schemeClr val="accent1"/>
                </a:solidFill>
                <a:latin typeface="+mn-lt"/>
                <a:ea typeface="+mn-ea"/>
                <a:cs typeface="+mn-cs"/>
              </a:defRPr>
            </a:lvl3pPr>
            <a:lvl4pPr marL="1588" indent="0" algn="l" defTabSz="1088502" rtl="0" eaLnBrk="1" latinLnBrk="0" hangingPunct="1">
              <a:defRPr sz="1400" b="1" kern="1200">
                <a:solidFill>
                  <a:schemeClr val="accent1"/>
                </a:solidFill>
                <a:latin typeface="+mn-lt"/>
                <a:ea typeface="+mn-ea"/>
                <a:cs typeface="+mn-cs"/>
              </a:defRPr>
            </a:lvl4pPr>
            <a:lvl5pPr marL="3175" indent="0" algn="l" defTabSz="1088502" rtl="0" eaLnBrk="1" latinLnBrk="0" hangingPunct="1">
              <a:defRPr sz="1400" b="1" kern="1200">
                <a:solidFill>
                  <a:schemeClr val="accent1"/>
                </a:solidFill>
                <a:latin typeface="+mn-lt"/>
                <a:ea typeface="+mn-ea"/>
                <a:cs typeface="+mn-cs"/>
              </a:defRPr>
            </a:lvl5pPr>
            <a:lvl6pPr marL="1588" indent="0" algn="l" defTabSz="1088502" rtl="0" eaLnBrk="1" latinLnBrk="0" hangingPunct="1">
              <a:defRPr sz="1400" b="1" kern="1200">
                <a:solidFill>
                  <a:schemeClr val="accent1"/>
                </a:solidFill>
                <a:latin typeface="+mn-lt"/>
                <a:ea typeface="+mn-ea"/>
                <a:cs typeface="+mn-cs"/>
              </a:defRPr>
            </a:lvl6pPr>
            <a:lvl7pPr marL="0" indent="0" algn="l" defTabSz="1088502" rtl="0" eaLnBrk="1" latinLnBrk="0" hangingPunct="1">
              <a:defRPr sz="1400" b="1" kern="1200">
                <a:solidFill>
                  <a:schemeClr val="accent1"/>
                </a:solidFill>
                <a:latin typeface="+mn-lt"/>
                <a:ea typeface="+mn-ea"/>
                <a:cs typeface="+mn-cs"/>
              </a:defRPr>
            </a:lvl7pPr>
            <a:lvl8pPr marL="0" indent="0" algn="l" defTabSz="1088502" rtl="0" eaLnBrk="1" latinLnBrk="0" hangingPunct="1">
              <a:defRPr sz="1400" b="1" kern="1200">
                <a:solidFill>
                  <a:schemeClr val="accent1"/>
                </a:solidFill>
                <a:latin typeface="+mn-lt"/>
                <a:ea typeface="+mn-ea"/>
                <a:cs typeface="+mn-cs"/>
              </a:defRPr>
            </a:lvl8pPr>
            <a:lvl9pPr marL="0" indent="0" algn="l" defTabSz="1088502" rtl="0" eaLnBrk="1" latinLnBrk="0" hangingPunct="1">
              <a:defRPr sz="1400" b="1" kern="1200">
                <a:solidFill>
                  <a:schemeClr val="accent1"/>
                </a:solidFill>
                <a:latin typeface="+mn-lt"/>
                <a:ea typeface="+mn-ea"/>
                <a:cs typeface="+mn-cs"/>
              </a:defRPr>
            </a:lvl9pPr>
          </a:lstStyle>
          <a:p>
            <a:fld id="{0C7C1E0B-BD27-42F8-BC6B-2F0636970842}" type="slidenum">
              <a:rPr lang="de-DE" smtClean="0"/>
              <a:pPr/>
              <a:t>19</a:t>
            </a:fld>
            <a:endParaRPr lang="de-DE"/>
          </a:p>
        </p:txBody>
      </p:sp>
      <p:sp>
        <p:nvSpPr>
          <p:cNvPr id="11" name="Textplatzhalter 18">
            <a:extLst>
              <a:ext uri="{FF2B5EF4-FFF2-40B4-BE49-F238E27FC236}">
                <a16:creationId xmlns:a16="http://schemas.microsoft.com/office/drawing/2014/main" id="{1378A507-DBEC-40AF-BE09-C4242F2D742A}"/>
              </a:ext>
            </a:extLst>
          </p:cNvPr>
          <p:cNvSpPr txBox="1">
            <a:spLocks/>
          </p:cNvSpPr>
          <p:nvPr/>
        </p:nvSpPr>
        <p:spPr>
          <a:xfrm>
            <a:off x="265099" y="306551"/>
            <a:ext cx="3485855" cy="433560"/>
          </a:xfrm>
          <a:prstGeom prst="rect">
            <a:avLst/>
          </a:prstGeom>
        </p:spPr>
        <p:txBody>
          <a:bodyPr/>
          <a:lstStyle>
            <a:lvl1pPr marL="0" indent="0" algn="l" defTabSz="914400" rtl="0" eaLnBrk="1" latinLnBrk="0" hangingPunct="1">
              <a:lnSpc>
                <a:spcPct val="11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Kaufland Office" panose="020B0503040000020003" pitchFamily="34" charset="0"/>
              <a:buChar char="−"/>
              <a:defRPr sz="1200" b="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SzPct val="90000"/>
              <a:buFont typeface="Kaufland Office" panose="020B0503040000020003" pitchFamily="34" charset="0"/>
              <a:buChar char="−"/>
              <a:defRPr sz="1200" kern="1200">
                <a:solidFill>
                  <a:schemeClr val="tx1"/>
                </a:solidFill>
                <a:latin typeface="+mn-lt"/>
                <a:ea typeface="+mn-ea"/>
                <a:cs typeface="+mn-cs"/>
              </a:defRPr>
            </a:lvl3pPr>
            <a:lvl4pPr marL="180000" indent="-180000" algn="l" defTabSz="914400" rtl="0" eaLnBrk="1" latinLnBrk="0" hangingPunct="1">
              <a:lnSpc>
                <a:spcPct val="110000"/>
              </a:lnSpc>
              <a:spcBef>
                <a:spcPts val="300"/>
              </a:spcBef>
              <a:spcAft>
                <a:spcPts val="300"/>
              </a:spcAft>
              <a:buClr>
                <a:schemeClr val="tx2"/>
              </a:buClr>
              <a:buSzPct val="90000"/>
              <a:buFont typeface="+mj-lt"/>
              <a:buAutoNum type="arabicPeriod"/>
              <a:defRPr sz="1200" kern="1200">
                <a:solidFill>
                  <a:schemeClr val="tx1"/>
                </a:solidFill>
                <a:latin typeface="+mn-lt"/>
                <a:ea typeface="+mn-ea"/>
                <a:cs typeface="+mn-cs"/>
              </a:defRPr>
            </a:lvl4pPr>
            <a:lvl5pPr marL="360000" indent="-180975" algn="l" defTabSz="914400" rtl="0" eaLnBrk="1" latinLnBrk="0" hangingPunct="1">
              <a:lnSpc>
                <a:spcPct val="110000"/>
              </a:lnSpc>
              <a:spcBef>
                <a:spcPts val="300"/>
              </a:spcBef>
              <a:spcAft>
                <a:spcPts val="300"/>
              </a:spcAft>
              <a:buClr>
                <a:schemeClr val="tx2"/>
              </a:buClr>
              <a:buSzPct val="100000"/>
              <a:buFont typeface="+mj-lt"/>
              <a:buAutoNum type="alphaLcPeriod"/>
              <a:defRPr sz="1200" kern="1200" baseline="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Clr>
                <a:schemeClr val="tx2"/>
              </a:buClr>
              <a:buFont typeface="+mj-lt"/>
              <a:buNone/>
              <a:defRPr sz="1400" b="1" kern="1200" cap="all" baseline="0">
                <a:solidFill>
                  <a:schemeClr val="accent4"/>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bg2"/>
                </a:solidFill>
                <a:latin typeface="+mn-lt"/>
                <a:ea typeface="+mn-ea"/>
                <a:cs typeface="+mn-cs"/>
              </a:defRPr>
            </a:lvl8pPr>
            <a:lvl9pPr marL="0" indent="0" algn="l" defTabSz="914400" rtl="0" eaLnBrk="1" latinLnBrk="0" hangingPunct="1">
              <a:lnSpc>
                <a:spcPct val="110000"/>
              </a:lnSpc>
              <a:spcBef>
                <a:spcPts val="300"/>
              </a:spcBef>
              <a:spcAft>
                <a:spcPts val="300"/>
              </a:spcAft>
              <a:buFont typeface="Arial" panose="020B0604020202020204" pitchFamily="34" charset="0"/>
              <a:buNone/>
              <a:defRPr sz="600" kern="1200">
                <a:solidFill>
                  <a:schemeClr val="tx1"/>
                </a:solidFill>
                <a:latin typeface="+mn-lt"/>
                <a:ea typeface="+mn-ea"/>
                <a:cs typeface="+mn-cs"/>
              </a:defRPr>
            </a:lvl9pPr>
          </a:lstStyle>
          <a:p>
            <a:r>
              <a:rPr lang="en-US" sz="2666" b="1" dirty="0">
                <a:solidFill>
                  <a:srgbClr val="7030A0"/>
                </a:solidFill>
              </a:rPr>
              <a:t>SCHWARZ GROUP</a:t>
            </a:r>
          </a:p>
        </p:txBody>
      </p:sp>
      <p:sp>
        <p:nvSpPr>
          <p:cNvPr id="2" name="TextBox 1">
            <a:extLst>
              <a:ext uri="{FF2B5EF4-FFF2-40B4-BE49-F238E27FC236}">
                <a16:creationId xmlns:a16="http://schemas.microsoft.com/office/drawing/2014/main" id="{A22592BB-79AB-4E62-8097-6165DD58C9A9}"/>
              </a:ext>
            </a:extLst>
          </p:cNvPr>
          <p:cNvSpPr txBox="1"/>
          <p:nvPr/>
        </p:nvSpPr>
        <p:spPr bwMode="gray">
          <a:xfrm>
            <a:off x="409578" y="1474250"/>
            <a:ext cx="10663381" cy="4645228"/>
          </a:xfrm>
          <a:prstGeom prst="rect">
            <a:avLst/>
          </a:prstGeom>
          <a:noFill/>
        </p:spPr>
        <p:txBody>
          <a:bodyPr wrap="square" lIns="0" tIns="0" rIns="0" bIns="0" rtlCol="0">
            <a:noAutofit/>
          </a:bodyPr>
          <a:lstStyle/>
          <a:p>
            <a:pPr marL="228577" indent="-228577">
              <a:lnSpc>
                <a:spcPct val="110000"/>
              </a:lnSpc>
              <a:spcBef>
                <a:spcPts val="400"/>
              </a:spcBef>
              <a:spcAft>
                <a:spcPts val="400"/>
              </a:spcAft>
              <a:buFont typeface="Wingdings" panose="05000000000000000000" pitchFamily="2" charset="2"/>
              <a:buChar char="§"/>
            </a:pPr>
            <a:endParaRPr lang="bg-BG" sz="1600" b="1" dirty="0">
              <a:solidFill>
                <a:srgbClr val="00B050"/>
              </a:solidFill>
            </a:endParaRPr>
          </a:p>
        </p:txBody>
      </p:sp>
      <p:pic>
        <p:nvPicPr>
          <p:cNvPr id="7" name="Picture 6">
            <a:extLst>
              <a:ext uri="{FF2B5EF4-FFF2-40B4-BE49-F238E27FC236}">
                <a16:creationId xmlns:a16="http://schemas.microsoft.com/office/drawing/2014/main" id="{8FFB022F-4373-431A-BCC7-68633E54CCE4}"/>
              </a:ext>
            </a:extLst>
          </p:cNvPr>
          <p:cNvPicPr>
            <a:picLocks noChangeAspect="1"/>
          </p:cNvPicPr>
          <p:nvPr/>
        </p:nvPicPr>
        <p:blipFill>
          <a:blip r:embed="rId2"/>
          <a:stretch>
            <a:fillRect/>
          </a:stretch>
        </p:blipFill>
        <p:spPr>
          <a:xfrm>
            <a:off x="137486" y="1092464"/>
            <a:ext cx="12052927" cy="5333603"/>
          </a:xfrm>
          <a:prstGeom prst="rect">
            <a:avLst/>
          </a:prstGeom>
        </p:spPr>
      </p:pic>
    </p:spTree>
    <p:extLst>
      <p:ext uri="{BB962C8B-B14F-4D97-AF65-F5344CB8AC3E}">
        <p14:creationId xmlns:p14="http://schemas.microsoft.com/office/powerpoint/2010/main" val="10587235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41EF5-6629-4AE3-A15D-32A439851547}"/>
              </a:ext>
            </a:extLst>
          </p:cNvPr>
          <p:cNvSpPr>
            <a:spLocks noGrp="1"/>
          </p:cNvSpPr>
          <p:nvPr>
            <p:ph type="title"/>
          </p:nvPr>
        </p:nvSpPr>
        <p:spPr/>
        <p:txBody>
          <a:bodyPr/>
          <a:lstStyle/>
          <a:p>
            <a:r>
              <a:rPr lang="en-US" dirty="0"/>
              <a:t>our business in the Making</a:t>
            </a:r>
            <a:endParaRPr lang="bg-BG" dirty="0"/>
          </a:p>
        </p:txBody>
      </p:sp>
      <p:sp>
        <p:nvSpPr>
          <p:cNvPr id="5" name="Slide Number Placeholder 4">
            <a:extLst>
              <a:ext uri="{FF2B5EF4-FFF2-40B4-BE49-F238E27FC236}">
                <a16:creationId xmlns:a16="http://schemas.microsoft.com/office/drawing/2014/main" id="{3984D5EA-F745-4499-B6D9-76D82E0CFB47}"/>
              </a:ext>
            </a:extLst>
          </p:cNvPr>
          <p:cNvSpPr>
            <a:spLocks noGrp="1"/>
          </p:cNvSpPr>
          <p:nvPr>
            <p:ph type="sldNum" sz="quarter" idx="12"/>
          </p:nvPr>
        </p:nvSpPr>
        <p:spPr/>
        <p:txBody>
          <a:bodyPr/>
          <a:lstStyle/>
          <a:p>
            <a:fld id="{0C7C1E0B-BD27-42F8-BC6B-2F0636970842}" type="slidenum">
              <a:rPr lang="de-DE" smtClean="0"/>
              <a:pPr/>
              <a:t>2</a:t>
            </a:fld>
            <a:endParaRPr lang="de-DE"/>
          </a:p>
        </p:txBody>
      </p:sp>
      <p:sp>
        <p:nvSpPr>
          <p:cNvPr id="6" name="Text Placeholder 5">
            <a:extLst>
              <a:ext uri="{FF2B5EF4-FFF2-40B4-BE49-F238E27FC236}">
                <a16:creationId xmlns:a16="http://schemas.microsoft.com/office/drawing/2014/main" id="{2BFB2877-86CB-426F-9F78-F10344ADF8CD}"/>
              </a:ext>
            </a:extLst>
          </p:cNvPr>
          <p:cNvSpPr>
            <a:spLocks noGrp="1"/>
          </p:cNvSpPr>
          <p:nvPr>
            <p:ph type="body" sz="quarter" idx="13"/>
          </p:nvPr>
        </p:nvSpPr>
        <p:spPr>
          <a:xfrm>
            <a:off x="1479253" y="1356649"/>
            <a:ext cx="8543721" cy="5143500"/>
          </a:xfrm>
        </p:spPr>
        <p:txBody>
          <a:bodyPr/>
          <a:lstStyle/>
          <a:p>
            <a:endParaRPr lang="bg-BG" dirty="0"/>
          </a:p>
        </p:txBody>
      </p:sp>
      <p:pic>
        <p:nvPicPr>
          <p:cNvPr id="7" name="Picture 6">
            <a:extLst>
              <a:ext uri="{FF2B5EF4-FFF2-40B4-BE49-F238E27FC236}">
                <a16:creationId xmlns:a16="http://schemas.microsoft.com/office/drawing/2014/main" id="{B12009B4-6F44-4624-A3BF-6A93A452034D}"/>
              </a:ext>
            </a:extLst>
          </p:cNvPr>
          <p:cNvPicPr>
            <a:picLocks noChangeAspect="1"/>
          </p:cNvPicPr>
          <p:nvPr/>
        </p:nvPicPr>
        <p:blipFill>
          <a:blip r:embed="rId2"/>
          <a:stretch>
            <a:fillRect/>
          </a:stretch>
        </p:blipFill>
        <p:spPr>
          <a:xfrm>
            <a:off x="1181745" y="839264"/>
            <a:ext cx="9825334" cy="5915059"/>
          </a:xfrm>
          <a:prstGeom prst="rect">
            <a:avLst/>
          </a:prstGeom>
        </p:spPr>
      </p:pic>
      <p:pic>
        <p:nvPicPr>
          <p:cNvPr id="8" name="Picture 7" descr="Graphical user interface, application&#10;&#10;Description automatically generated">
            <a:extLst>
              <a:ext uri="{FF2B5EF4-FFF2-40B4-BE49-F238E27FC236}">
                <a16:creationId xmlns:a16="http://schemas.microsoft.com/office/drawing/2014/main" id="{48AE8856-50D4-4CF5-854D-1E883379D71A}"/>
              </a:ext>
            </a:extLst>
          </p:cNvPr>
          <p:cNvPicPr>
            <a:picLocks noChangeAspect="1"/>
          </p:cNvPicPr>
          <p:nvPr/>
        </p:nvPicPr>
        <p:blipFill>
          <a:blip r:embed="rId3"/>
          <a:stretch>
            <a:fillRect/>
          </a:stretch>
        </p:blipFill>
        <p:spPr>
          <a:xfrm>
            <a:off x="4277407" y="1685187"/>
            <a:ext cx="3634009" cy="3631104"/>
          </a:xfrm>
          <a:prstGeom prst="rect">
            <a:avLst/>
          </a:prstGeom>
        </p:spPr>
      </p:pic>
    </p:spTree>
    <p:extLst>
      <p:ext uri="{BB962C8B-B14F-4D97-AF65-F5344CB8AC3E}">
        <p14:creationId xmlns:p14="http://schemas.microsoft.com/office/powerpoint/2010/main" val="342855025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658DD477-9052-4433-8F9D-316E6270CB0C}"/>
              </a:ext>
            </a:extLst>
          </p:cNvPr>
          <p:cNvSpPr>
            <a:spLocks noGrp="1"/>
          </p:cNvSpPr>
          <p:nvPr>
            <p:ph type="title"/>
          </p:nvPr>
        </p:nvSpPr>
        <p:spPr/>
        <p:txBody>
          <a:bodyPr/>
          <a:lstStyle/>
          <a:p>
            <a:r>
              <a:rPr lang="en-US"/>
              <a:t>SCHWARZ GROUP</a:t>
            </a:r>
          </a:p>
        </p:txBody>
      </p:sp>
      <p:pic>
        <p:nvPicPr>
          <p:cNvPr id="6" name="Grafik 5">
            <a:extLst>
              <a:ext uri="{FF2B5EF4-FFF2-40B4-BE49-F238E27FC236}">
                <a16:creationId xmlns:a16="http://schemas.microsoft.com/office/drawing/2014/main" id="{BC12DB67-461F-419E-ADCE-16A212B5F9D4}"/>
              </a:ext>
            </a:extLst>
          </p:cNvPr>
          <p:cNvPicPr>
            <a:picLocks noChangeAspect="1"/>
          </p:cNvPicPr>
          <p:nvPr/>
        </p:nvPicPr>
        <p:blipFill>
          <a:blip r:embed="rId3"/>
          <a:srcRect/>
          <a:stretch/>
        </p:blipFill>
        <p:spPr>
          <a:xfrm>
            <a:off x="2681684" y="413673"/>
            <a:ext cx="6827044" cy="6144924"/>
          </a:xfrm>
          <a:prstGeom prst="rect">
            <a:avLst/>
          </a:prstGeom>
        </p:spPr>
      </p:pic>
      <p:sp>
        <p:nvSpPr>
          <p:cNvPr id="7" name="Foliennummernplatzhalter 6">
            <a:extLst>
              <a:ext uri="{FF2B5EF4-FFF2-40B4-BE49-F238E27FC236}">
                <a16:creationId xmlns:a16="http://schemas.microsoft.com/office/drawing/2014/main" id="{1AD8AFFD-FD8F-4FFA-A2F2-88147F51C88F}"/>
              </a:ext>
            </a:extLst>
          </p:cNvPr>
          <p:cNvSpPr>
            <a:spLocks noGrp="1"/>
          </p:cNvSpPr>
          <p:nvPr>
            <p:ph type="sldNum" sz="quarter" idx="12"/>
          </p:nvPr>
        </p:nvSpPr>
        <p:spPr/>
        <p:txBody>
          <a:bodyPr/>
          <a:lstStyle/>
          <a:p>
            <a:fld id="{0C7C1E0B-BD27-42F8-BC6B-2F0636970842}" type="slidenum">
              <a:rPr lang="de-DE" smtClean="0"/>
              <a:pPr/>
              <a:t>20</a:t>
            </a:fld>
            <a:endParaRPr lang="de-DE" dirty="0"/>
          </a:p>
        </p:txBody>
      </p:sp>
      <p:grpSp>
        <p:nvGrpSpPr>
          <p:cNvPr id="19" name="Gruppieren 18">
            <a:extLst>
              <a:ext uri="{FF2B5EF4-FFF2-40B4-BE49-F238E27FC236}">
                <a16:creationId xmlns:a16="http://schemas.microsoft.com/office/drawing/2014/main" id="{BD2CE37F-F4E0-42FF-873D-3B71C23AD2FF}"/>
              </a:ext>
            </a:extLst>
          </p:cNvPr>
          <p:cNvGrpSpPr/>
          <p:nvPr/>
        </p:nvGrpSpPr>
        <p:grpSpPr>
          <a:xfrm>
            <a:off x="4831874" y="2946642"/>
            <a:ext cx="2540315" cy="2537531"/>
            <a:chOff x="4599843" y="1892778"/>
            <a:chExt cx="3052372" cy="3049027"/>
          </a:xfrm>
        </p:grpSpPr>
        <p:grpSp>
          <p:nvGrpSpPr>
            <p:cNvPr id="20" name="Gruppieren 19">
              <a:extLst>
                <a:ext uri="{FF2B5EF4-FFF2-40B4-BE49-F238E27FC236}">
                  <a16:creationId xmlns:a16="http://schemas.microsoft.com/office/drawing/2014/main" id="{6EDBF03D-3C0E-4FDB-893D-99CAB855DDD6}"/>
                </a:ext>
              </a:extLst>
            </p:cNvPr>
            <p:cNvGrpSpPr/>
            <p:nvPr/>
          </p:nvGrpSpPr>
          <p:grpSpPr>
            <a:xfrm>
              <a:off x="4603188" y="1892778"/>
              <a:ext cx="3049027" cy="3049027"/>
              <a:chOff x="4603188" y="1892778"/>
              <a:chExt cx="3049027" cy="3049027"/>
            </a:xfrm>
          </p:grpSpPr>
          <p:grpSp>
            <p:nvGrpSpPr>
              <p:cNvPr id="22" name="Gruppieren 21">
                <a:extLst>
                  <a:ext uri="{FF2B5EF4-FFF2-40B4-BE49-F238E27FC236}">
                    <a16:creationId xmlns:a16="http://schemas.microsoft.com/office/drawing/2014/main" id="{08EE75DD-9952-476A-AE0D-118866B123AF}"/>
                  </a:ext>
                </a:extLst>
              </p:cNvPr>
              <p:cNvGrpSpPr/>
              <p:nvPr/>
            </p:nvGrpSpPr>
            <p:grpSpPr>
              <a:xfrm>
                <a:off x="4603188" y="1892778"/>
                <a:ext cx="3049027" cy="3049027"/>
                <a:chOff x="4603188" y="1892778"/>
                <a:chExt cx="3049027" cy="3049027"/>
              </a:xfrm>
            </p:grpSpPr>
            <p:sp>
              <p:nvSpPr>
                <p:cNvPr id="24" name="Ellipse 23">
                  <a:extLst>
                    <a:ext uri="{FF2B5EF4-FFF2-40B4-BE49-F238E27FC236}">
                      <a16:creationId xmlns:a16="http://schemas.microsoft.com/office/drawing/2014/main" id="{B17959FE-86EB-4BE1-947F-918AFA26229A}"/>
                    </a:ext>
                  </a:extLst>
                </p:cNvPr>
                <p:cNvSpPr/>
                <p:nvPr/>
              </p:nvSpPr>
              <p:spPr bwMode="gray">
                <a:xfrm>
                  <a:off x="4603188" y="1892778"/>
                  <a:ext cx="3049027" cy="304902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pic>
              <p:nvPicPr>
                <p:cNvPr id="25" name="Grafik 24" descr="Ein Bild, das Schild enthält.&#10;&#10;Automatisch generierte Beschreibung">
                  <a:extLst>
                    <a:ext uri="{FF2B5EF4-FFF2-40B4-BE49-F238E27FC236}">
                      <a16:creationId xmlns:a16="http://schemas.microsoft.com/office/drawing/2014/main" id="{946AC408-4CE4-4FFD-8286-D1615102CCF4}"/>
                    </a:ext>
                  </a:extLst>
                </p:cNvPr>
                <p:cNvPicPr>
                  <a:picLocks noChangeAspect="1"/>
                </p:cNvPicPr>
                <p:nvPr/>
              </p:nvPicPr>
              <p:blipFill>
                <a:blip r:embed="rId4"/>
                <a:stretch>
                  <a:fillRect/>
                </a:stretch>
              </p:blipFill>
              <p:spPr>
                <a:xfrm>
                  <a:off x="5410042" y="2835987"/>
                  <a:ext cx="1435319" cy="1162608"/>
                </a:xfrm>
                <a:prstGeom prst="rect">
                  <a:avLst/>
                </a:prstGeom>
              </p:spPr>
            </p:pic>
            <p:pic>
              <p:nvPicPr>
                <p:cNvPr id="26" name="Grafik 25" descr="Ein Bild, das Zeichnung enthält.&#10;&#10;Automatisch generierte Beschreibung">
                  <a:extLst>
                    <a:ext uri="{FF2B5EF4-FFF2-40B4-BE49-F238E27FC236}">
                      <a16:creationId xmlns:a16="http://schemas.microsoft.com/office/drawing/2014/main" id="{774D9551-6C3A-4A1F-A13B-9908589904F7}"/>
                    </a:ext>
                  </a:extLst>
                </p:cNvPr>
                <p:cNvPicPr>
                  <a:picLocks noChangeAspect="1"/>
                </p:cNvPicPr>
                <p:nvPr/>
              </p:nvPicPr>
              <p:blipFill>
                <a:blip r:embed="rId5"/>
                <a:stretch>
                  <a:fillRect/>
                </a:stretch>
              </p:blipFill>
              <p:spPr>
                <a:xfrm>
                  <a:off x="5460246" y="4262651"/>
                  <a:ext cx="1379576" cy="504925"/>
                </a:xfrm>
                <a:prstGeom prst="rect">
                  <a:avLst/>
                </a:prstGeom>
              </p:spPr>
            </p:pic>
            <p:pic>
              <p:nvPicPr>
                <p:cNvPr id="27" name="Grafik 26" descr="Ein Bild, das Zeichnung enthält.&#10;&#10;Automatisch generierte Beschreibung">
                  <a:extLst>
                    <a:ext uri="{FF2B5EF4-FFF2-40B4-BE49-F238E27FC236}">
                      <a16:creationId xmlns:a16="http://schemas.microsoft.com/office/drawing/2014/main" id="{E4AB06DB-EA10-4752-A4C1-F59407D77AFD}"/>
                    </a:ext>
                  </a:extLst>
                </p:cNvPr>
                <p:cNvPicPr>
                  <a:picLocks noChangeAspect="1"/>
                </p:cNvPicPr>
                <p:nvPr/>
              </p:nvPicPr>
              <p:blipFill>
                <a:blip r:embed="rId6"/>
                <a:stretch>
                  <a:fillRect/>
                </a:stretch>
              </p:blipFill>
              <p:spPr>
                <a:xfrm>
                  <a:off x="5437913" y="2092804"/>
                  <a:ext cx="1379575" cy="504925"/>
                </a:xfrm>
                <a:prstGeom prst="rect">
                  <a:avLst/>
                </a:prstGeom>
              </p:spPr>
            </p:pic>
            <p:grpSp>
              <p:nvGrpSpPr>
                <p:cNvPr id="28" name="Gruppieren 27">
                  <a:extLst>
                    <a:ext uri="{FF2B5EF4-FFF2-40B4-BE49-F238E27FC236}">
                      <a16:creationId xmlns:a16="http://schemas.microsoft.com/office/drawing/2014/main" id="{980E80E2-97DC-4410-A3D1-1CE9A3F915FD}"/>
                    </a:ext>
                  </a:extLst>
                </p:cNvPr>
                <p:cNvGrpSpPr/>
                <p:nvPr/>
              </p:nvGrpSpPr>
              <p:grpSpPr>
                <a:xfrm>
                  <a:off x="6948711" y="3277170"/>
                  <a:ext cx="703504" cy="555768"/>
                  <a:chOff x="6948711" y="3277170"/>
                  <a:chExt cx="703504" cy="555768"/>
                </a:xfrm>
              </p:grpSpPr>
              <p:sp>
                <p:nvSpPr>
                  <p:cNvPr id="34" name="Pfeil: Fünfeck 38">
                    <a:extLst>
                      <a:ext uri="{FF2B5EF4-FFF2-40B4-BE49-F238E27FC236}">
                        <a16:creationId xmlns:a16="http://schemas.microsoft.com/office/drawing/2014/main" id="{5D753F77-BCA5-47B3-B4FF-2B3561B55B04}"/>
                      </a:ext>
                    </a:extLst>
                  </p:cNvPr>
                  <p:cNvSpPr/>
                  <p:nvPr/>
                </p:nvSpPr>
                <p:spPr bwMode="gray">
                  <a:xfrm rot="5400000">
                    <a:off x="7123997" y="3240167"/>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5" name="Pfeil: Fünfeck 38">
                    <a:extLst>
                      <a:ext uri="{FF2B5EF4-FFF2-40B4-BE49-F238E27FC236}">
                        <a16:creationId xmlns:a16="http://schemas.microsoft.com/office/drawing/2014/main" id="{D26E622E-06BE-4E9F-9607-FA32B1980FE5}"/>
                      </a:ext>
                    </a:extLst>
                  </p:cNvPr>
                  <p:cNvSpPr/>
                  <p:nvPr/>
                </p:nvSpPr>
                <p:spPr bwMode="gray">
                  <a:xfrm rot="5400000">
                    <a:off x="7123997" y="3151182"/>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6" name="Rechteck 45">
                    <a:extLst>
                      <a:ext uri="{FF2B5EF4-FFF2-40B4-BE49-F238E27FC236}">
                        <a16:creationId xmlns:a16="http://schemas.microsoft.com/office/drawing/2014/main" id="{8B5D6640-F82A-46F9-A873-5EED594BC491}"/>
                      </a:ext>
                    </a:extLst>
                  </p:cNvPr>
                  <p:cNvSpPr/>
                  <p:nvPr/>
                </p:nvSpPr>
                <p:spPr bwMode="gray">
                  <a:xfrm rot="18931262" flipV="1">
                    <a:off x="7103319" y="3277170"/>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7" name="Rechteck 45">
                    <a:extLst>
                      <a:ext uri="{FF2B5EF4-FFF2-40B4-BE49-F238E27FC236}">
                        <a16:creationId xmlns:a16="http://schemas.microsoft.com/office/drawing/2014/main" id="{D47EDBF3-7BB1-42F4-8B90-D35E89C6798F}"/>
                      </a:ext>
                    </a:extLst>
                  </p:cNvPr>
                  <p:cNvSpPr/>
                  <p:nvPr/>
                </p:nvSpPr>
                <p:spPr bwMode="gray">
                  <a:xfrm rot="13468738">
                    <a:off x="7442599" y="3285056"/>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grpSp>
              <p:nvGrpSpPr>
                <p:cNvPr id="29" name="Gruppieren 28">
                  <a:extLst>
                    <a:ext uri="{FF2B5EF4-FFF2-40B4-BE49-F238E27FC236}">
                      <a16:creationId xmlns:a16="http://schemas.microsoft.com/office/drawing/2014/main" id="{10852BC8-096E-4061-BC42-406EB3ABE622}"/>
                    </a:ext>
                  </a:extLst>
                </p:cNvPr>
                <p:cNvGrpSpPr/>
                <p:nvPr/>
              </p:nvGrpSpPr>
              <p:grpSpPr>
                <a:xfrm>
                  <a:off x="4603946" y="3005384"/>
                  <a:ext cx="703504" cy="547882"/>
                  <a:chOff x="4603946" y="3005384"/>
                  <a:chExt cx="703504" cy="547882"/>
                </a:xfrm>
              </p:grpSpPr>
              <p:sp>
                <p:nvSpPr>
                  <p:cNvPr id="30" name="Pfeil: Fünfeck 38">
                    <a:extLst>
                      <a:ext uri="{FF2B5EF4-FFF2-40B4-BE49-F238E27FC236}">
                        <a16:creationId xmlns:a16="http://schemas.microsoft.com/office/drawing/2014/main" id="{EBD46649-FB5F-4686-9BAC-8CE02FD29F79}"/>
                      </a:ext>
                    </a:extLst>
                  </p:cNvPr>
                  <p:cNvSpPr/>
                  <p:nvPr/>
                </p:nvSpPr>
                <p:spPr bwMode="gray">
                  <a:xfrm rot="16200000" flipV="1">
                    <a:off x="4779232" y="2974716"/>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1" name="Pfeil: Fünfeck 38">
                    <a:extLst>
                      <a:ext uri="{FF2B5EF4-FFF2-40B4-BE49-F238E27FC236}">
                        <a16:creationId xmlns:a16="http://schemas.microsoft.com/office/drawing/2014/main" id="{F6A26A0B-14EC-4910-824A-025C5C480597}"/>
                      </a:ext>
                    </a:extLst>
                  </p:cNvPr>
                  <p:cNvSpPr/>
                  <p:nvPr/>
                </p:nvSpPr>
                <p:spPr bwMode="gray">
                  <a:xfrm rot="16200000" flipV="1">
                    <a:off x="4777327" y="2887636"/>
                    <a:ext cx="352932" cy="69969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 name="connsiteX0" fmla="*/ 3808 w 352932"/>
                      <a:gd name="connsiteY0" fmla="*/ 6350 h 699694"/>
                      <a:gd name="connsiteX1" fmla="*/ 3744 w 352932"/>
                      <a:gd name="connsiteY1" fmla="*/ 0 h 699694"/>
                      <a:gd name="connsiteX2" fmla="*/ 352932 w 352932"/>
                      <a:gd name="connsiteY2" fmla="*/ 347284 h 699694"/>
                      <a:gd name="connsiteX3" fmla="*/ 1839 w 352932"/>
                      <a:gd name="connsiteY3" fmla="*/ 698378 h 699694"/>
                      <a:gd name="connsiteX4" fmla="*/ 0 w 352932"/>
                      <a:gd name="connsiteY4" fmla="*/ 699648 h 69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699694">
                        <a:moveTo>
                          <a:pt x="3808" y="6350"/>
                        </a:moveTo>
                        <a:cubicBezTo>
                          <a:pt x="3787" y="4233"/>
                          <a:pt x="3765" y="2117"/>
                          <a:pt x="3744" y="0"/>
                        </a:cubicBezTo>
                        <a:lnTo>
                          <a:pt x="352932" y="347284"/>
                        </a:lnTo>
                        <a:lnTo>
                          <a:pt x="1839" y="698378"/>
                        </a:lnTo>
                        <a:cubicBezTo>
                          <a:pt x="2495" y="700071"/>
                          <a:pt x="0" y="699648"/>
                          <a:pt x="0" y="69964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2" name="Rechteck 45">
                    <a:extLst>
                      <a:ext uri="{FF2B5EF4-FFF2-40B4-BE49-F238E27FC236}">
                        <a16:creationId xmlns:a16="http://schemas.microsoft.com/office/drawing/2014/main" id="{B4C27E40-93CE-43F7-A40C-065122CE80B9}"/>
                      </a:ext>
                    </a:extLst>
                  </p:cNvPr>
                  <p:cNvSpPr/>
                  <p:nvPr/>
                </p:nvSpPr>
                <p:spPr bwMode="gray">
                  <a:xfrm rot="2668738">
                    <a:off x="475292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33" name="Rechteck 45">
                    <a:extLst>
                      <a:ext uri="{FF2B5EF4-FFF2-40B4-BE49-F238E27FC236}">
                        <a16:creationId xmlns:a16="http://schemas.microsoft.com/office/drawing/2014/main" id="{8B84FA60-6D0D-439A-A615-113DAB8BEC3B}"/>
                      </a:ext>
                    </a:extLst>
                  </p:cNvPr>
                  <p:cNvSpPr/>
                  <p:nvPr/>
                </p:nvSpPr>
                <p:spPr bwMode="gray">
                  <a:xfrm rot="18931262" flipH="1">
                    <a:off x="509135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grpSp>
          <p:sp>
            <p:nvSpPr>
              <p:cNvPr id="23" name="Ellipse 22">
                <a:extLst>
                  <a:ext uri="{FF2B5EF4-FFF2-40B4-BE49-F238E27FC236}">
                    <a16:creationId xmlns:a16="http://schemas.microsoft.com/office/drawing/2014/main" id="{6AC72868-1C20-41FD-9224-7DCC996AD5A8}"/>
                  </a:ext>
                </a:extLst>
              </p:cNvPr>
              <p:cNvSpPr/>
              <p:nvPr/>
            </p:nvSpPr>
            <p:spPr bwMode="gray">
              <a:xfrm>
                <a:off x="5305375" y="2594965"/>
                <a:ext cx="1644652" cy="1644652"/>
              </a:xfrm>
              <a:prstGeom prst="ellipse">
                <a:avLst/>
              </a:prstGeom>
              <a:noFill/>
              <a:ln>
                <a:solidFill>
                  <a:srgbClr val="B1B1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sp>
          <p:nvSpPr>
            <p:cNvPr id="21" name="Ellipse 20">
              <a:extLst>
                <a:ext uri="{FF2B5EF4-FFF2-40B4-BE49-F238E27FC236}">
                  <a16:creationId xmlns:a16="http://schemas.microsoft.com/office/drawing/2014/main" id="{05999011-E1C4-4102-A5E1-870E6611EC4B}"/>
                </a:ext>
              </a:extLst>
            </p:cNvPr>
            <p:cNvSpPr/>
            <p:nvPr/>
          </p:nvSpPr>
          <p:spPr bwMode="gray">
            <a:xfrm>
              <a:off x="4599843" y="1892778"/>
              <a:ext cx="3049027" cy="3049027"/>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grpSp>
      <p:sp>
        <p:nvSpPr>
          <p:cNvPr id="38" name="Untertitel 6">
            <a:extLst>
              <a:ext uri="{FF2B5EF4-FFF2-40B4-BE49-F238E27FC236}">
                <a16:creationId xmlns:a16="http://schemas.microsoft.com/office/drawing/2014/main" id="{A246D939-BADD-4450-8724-124909F11D9C}"/>
              </a:ext>
            </a:extLst>
          </p:cNvPr>
          <p:cNvSpPr>
            <a:spLocks noGrp="1"/>
          </p:cNvSpPr>
          <p:nvPr>
            <p:ph type="subTitle" idx="1"/>
          </p:nvPr>
        </p:nvSpPr>
        <p:spPr>
          <a:xfrm>
            <a:off x="409577" y="739137"/>
            <a:ext cx="11348418" cy="426662"/>
          </a:xfrm>
        </p:spPr>
        <p:txBody>
          <a:bodyPr/>
          <a:lstStyle/>
          <a:p>
            <a:r>
              <a:rPr lang="en-US"/>
              <a:t>Recyclables management</a:t>
            </a:r>
          </a:p>
        </p:txBody>
      </p:sp>
      <p:sp>
        <p:nvSpPr>
          <p:cNvPr id="3" name="Textfeld 2">
            <a:extLst>
              <a:ext uri="{FF2B5EF4-FFF2-40B4-BE49-F238E27FC236}">
                <a16:creationId xmlns:a16="http://schemas.microsoft.com/office/drawing/2014/main" id="{F2C96EA2-785C-457E-B79A-A566E4DBDADE}"/>
              </a:ext>
            </a:extLst>
          </p:cNvPr>
          <p:cNvSpPr txBox="1"/>
          <p:nvPr/>
        </p:nvSpPr>
        <p:spPr bwMode="gray">
          <a:xfrm>
            <a:off x="5664809" y="2386118"/>
            <a:ext cx="914400" cy="318193"/>
          </a:xfrm>
          <a:prstGeom prst="rect">
            <a:avLst/>
          </a:prstGeom>
          <a:solidFill>
            <a:srgbClr val="965AA0"/>
          </a:solidFill>
        </p:spPr>
        <p:txBody>
          <a:bodyPr wrap="none" lIns="0" tIns="0" rIns="0" bIns="0" rtlCol="0">
            <a:noAutofit/>
          </a:bodyPr>
          <a:lstStyle/>
          <a:p>
            <a:pPr algn="ctr"/>
            <a:r>
              <a:rPr lang="en-US" sz="1800">
                <a:solidFill>
                  <a:schemeClr val="bg1"/>
                </a:solidFill>
              </a:rPr>
              <a:t>Retail</a:t>
            </a:r>
          </a:p>
        </p:txBody>
      </p:sp>
      <p:sp>
        <p:nvSpPr>
          <p:cNvPr id="4" name="Textfeld 3">
            <a:extLst>
              <a:ext uri="{FF2B5EF4-FFF2-40B4-BE49-F238E27FC236}">
                <a16:creationId xmlns:a16="http://schemas.microsoft.com/office/drawing/2014/main" id="{55760349-5175-4F68-B590-A4828D2C80C6}"/>
              </a:ext>
            </a:extLst>
          </p:cNvPr>
          <p:cNvSpPr txBox="1"/>
          <p:nvPr/>
        </p:nvSpPr>
        <p:spPr bwMode="gray">
          <a:xfrm>
            <a:off x="5646222" y="2422656"/>
            <a:ext cx="914400" cy="349324"/>
          </a:xfrm>
          <a:prstGeom prst="rect">
            <a:avLst/>
          </a:prstGeom>
          <a:solidFill>
            <a:srgbClr val="965AA0"/>
          </a:solidFill>
        </p:spPr>
        <p:txBody>
          <a:bodyPr wrap="none" lIns="0" tIns="0" rIns="0" bIns="0" rtlCol="0">
            <a:prstTxWarp prst="textArchUp">
              <a:avLst/>
            </a:prstTxWarp>
            <a:noAutofit/>
          </a:bodyPr>
          <a:lstStyle/>
          <a:p>
            <a:pPr algn="ctr">
              <a:spcBef>
                <a:spcPts val="1200"/>
              </a:spcBef>
            </a:pPr>
            <a:r>
              <a:rPr lang="en-US" sz="2000" b="1">
                <a:solidFill>
                  <a:schemeClr val="bg1"/>
                </a:solidFill>
              </a:rPr>
              <a:t>Retail</a:t>
            </a:r>
          </a:p>
        </p:txBody>
      </p:sp>
      <p:sp>
        <p:nvSpPr>
          <p:cNvPr id="8" name="Textfeld 7">
            <a:extLst>
              <a:ext uri="{FF2B5EF4-FFF2-40B4-BE49-F238E27FC236}">
                <a16:creationId xmlns:a16="http://schemas.microsoft.com/office/drawing/2014/main" id="{C587E53D-70ED-4C7B-8E62-9976CCE5D2D4}"/>
              </a:ext>
            </a:extLst>
          </p:cNvPr>
          <p:cNvSpPr txBox="1"/>
          <p:nvPr/>
        </p:nvSpPr>
        <p:spPr bwMode="gray">
          <a:xfrm rot="14386342">
            <a:off x="3962635" y="4872012"/>
            <a:ext cx="1418466" cy="349324"/>
          </a:xfrm>
          <a:prstGeom prst="rect">
            <a:avLst/>
          </a:prstGeom>
          <a:solidFill>
            <a:srgbClr val="965AA0"/>
          </a:solidFill>
        </p:spPr>
        <p:txBody>
          <a:bodyPr wrap="none" lIns="0" tIns="0" rIns="0" bIns="0" rtlCol="0">
            <a:prstTxWarp prst="textArchUp">
              <a:avLst/>
            </a:prstTxWarp>
            <a:noAutofit/>
          </a:bodyPr>
          <a:lstStyle/>
          <a:p>
            <a:pPr algn="ctr">
              <a:spcBef>
                <a:spcPts val="1200"/>
              </a:spcBef>
            </a:pPr>
            <a:r>
              <a:rPr lang="en-US" sz="2000" b="1">
                <a:solidFill>
                  <a:schemeClr val="bg1"/>
                </a:solidFill>
              </a:rPr>
              <a:t>Production</a:t>
            </a:r>
          </a:p>
        </p:txBody>
      </p:sp>
      <p:sp>
        <p:nvSpPr>
          <p:cNvPr id="9" name="Halbbogen 8">
            <a:extLst>
              <a:ext uri="{FF2B5EF4-FFF2-40B4-BE49-F238E27FC236}">
                <a16:creationId xmlns:a16="http://schemas.microsoft.com/office/drawing/2014/main" id="{739495C9-2DBF-41CA-A732-67AEDA6C85D1}"/>
              </a:ext>
            </a:extLst>
          </p:cNvPr>
          <p:cNvSpPr/>
          <p:nvPr/>
        </p:nvSpPr>
        <p:spPr bwMode="gray">
          <a:xfrm rot="9978330">
            <a:off x="4218775" y="2083276"/>
            <a:ext cx="3806468" cy="4073982"/>
          </a:xfrm>
          <a:prstGeom prst="blockArc">
            <a:avLst>
              <a:gd name="adj1" fmla="val 10738884"/>
              <a:gd name="adj2" fmla="val 16521447"/>
              <a:gd name="adj3" fmla="val 116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solidFill>
                <a:schemeClr val="tx1"/>
              </a:solidFill>
            </a:endParaRPr>
          </a:p>
        </p:txBody>
      </p:sp>
      <p:sp>
        <p:nvSpPr>
          <p:cNvPr id="10" name="Textfeld 9">
            <a:extLst>
              <a:ext uri="{FF2B5EF4-FFF2-40B4-BE49-F238E27FC236}">
                <a16:creationId xmlns:a16="http://schemas.microsoft.com/office/drawing/2014/main" id="{95DCB11E-96CC-4EA8-8CF5-2F79D866D988}"/>
              </a:ext>
            </a:extLst>
          </p:cNvPr>
          <p:cNvSpPr txBox="1"/>
          <p:nvPr/>
        </p:nvSpPr>
        <p:spPr bwMode="gray">
          <a:xfrm rot="7247891">
            <a:off x="5271420" y="3574165"/>
            <a:ext cx="2812147" cy="2045069"/>
          </a:xfrm>
          <a:prstGeom prst="rect">
            <a:avLst/>
          </a:prstGeom>
          <a:noFill/>
        </p:spPr>
        <p:txBody>
          <a:bodyPr wrap="none" lIns="0" tIns="0" rIns="0" bIns="0" rtlCol="0">
            <a:prstTxWarp prst="textArchUp">
              <a:avLst>
                <a:gd name="adj" fmla="val 12248805"/>
              </a:avLst>
            </a:prstTxWarp>
            <a:noAutofit/>
          </a:bodyPr>
          <a:lstStyle/>
          <a:p>
            <a:pPr algn="ctr">
              <a:spcBef>
                <a:spcPts val="1200"/>
              </a:spcBef>
            </a:pPr>
            <a:r>
              <a:rPr lang="en-US" sz="2000" b="1">
                <a:solidFill>
                  <a:schemeClr val="bg1"/>
                </a:solidFill>
              </a:rPr>
              <a:t>Recyclables management</a:t>
            </a:r>
          </a:p>
        </p:txBody>
      </p:sp>
    </p:spTree>
    <p:extLst>
      <p:ext uri="{BB962C8B-B14F-4D97-AF65-F5344CB8AC3E}">
        <p14:creationId xmlns:p14="http://schemas.microsoft.com/office/powerpoint/2010/main" val="241016439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normAutofit lnSpcReduction="10000"/>
          </a:bodyPr>
          <a:lstStyle/>
          <a:p>
            <a:r>
              <a:rPr lang="en-US"/>
              <a:t>GreenCycle</a:t>
            </a:r>
          </a:p>
        </p:txBody>
      </p:sp>
      <p:sp>
        <p:nvSpPr>
          <p:cNvPr id="3" name="Textplatzhalter 2">
            <a:extLst>
              <a:ext uri="{FF2B5EF4-FFF2-40B4-BE49-F238E27FC236}">
                <a16:creationId xmlns:a16="http://schemas.microsoft.com/office/drawing/2014/main" id="{47EBCB1B-52DF-44C6-9760-EC1085D478B1}"/>
              </a:ext>
            </a:extLst>
          </p:cNvPr>
          <p:cNvSpPr>
            <a:spLocks noGrp="1"/>
          </p:cNvSpPr>
          <p:nvPr>
            <p:ph type="body" sz="quarter" idx="11"/>
          </p:nvPr>
        </p:nvSpPr>
        <p:spPr/>
        <p:txBody>
          <a:bodyPr>
            <a:normAutofit fontScale="25000" lnSpcReduction="20000"/>
          </a:bodyPr>
          <a:lstStyle/>
          <a:p>
            <a:r>
              <a:rPr lang="en-US" sz="8000"/>
              <a:t>The environmental branch</a:t>
            </a:r>
          </a:p>
          <a:p>
            <a:endParaRPr lang="de-DE" sz="8000"/>
          </a:p>
          <a:p>
            <a:endParaRPr lang="de-DE" sz="8000"/>
          </a:p>
          <a:p>
            <a:endParaRPr lang="de-DE" sz="8000"/>
          </a:p>
          <a:p>
            <a:endParaRPr lang="de-DE" sz="8000"/>
          </a:p>
          <a:p>
            <a:endParaRPr lang="de-DE" sz="8000"/>
          </a:p>
          <a:p>
            <a:endParaRPr lang="de-DE" sz="8000"/>
          </a:p>
          <a:p>
            <a:endParaRPr lang="de-DE" sz="8000"/>
          </a:p>
          <a:p>
            <a:r>
              <a:rPr lang="en-US" sz="7200"/>
              <a:t>www.greencycle.de</a:t>
            </a:r>
          </a:p>
          <a:p>
            <a:endParaRPr lang="de-DE" sz="2000"/>
          </a:p>
          <a:p>
            <a:endParaRPr lang="de-DE"/>
          </a:p>
          <a:p>
            <a:endParaRPr lang="de-DE"/>
          </a:p>
          <a:p>
            <a:endParaRPr lang="de-DE"/>
          </a:p>
          <a:p>
            <a:endParaRPr lang="de-DE"/>
          </a:p>
          <a:p>
            <a:endParaRPr lang="de-DE"/>
          </a:p>
          <a:p>
            <a:endParaRPr lang="de-DE"/>
          </a:p>
        </p:txBody>
      </p:sp>
    </p:spTree>
    <p:extLst>
      <p:ext uri="{BB962C8B-B14F-4D97-AF65-F5344CB8AC3E}">
        <p14:creationId xmlns:p14="http://schemas.microsoft.com/office/powerpoint/2010/main" val="242819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kt 30" hidden="1">
            <a:extLst>
              <a:ext uri="{FF2B5EF4-FFF2-40B4-BE49-F238E27FC236}">
                <a16:creationId xmlns:a16="http://schemas.microsoft.com/office/drawing/2014/main" id="{2180E3D4-AE88-4E2E-9E71-87A06D7A8D68}"/>
              </a:ext>
            </a:extLst>
          </p:cNvPr>
          <p:cNvGraphicFramePr>
            <a:graphicFrameLocks noChangeAspect="1"/>
          </p:cNvGraphicFramePr>
          <p:nvPr>
            <p:custDataLst>
              <p:tags r:id="rId2"/>
            </p:custDataLst>
          </p:nvPr>
        </p:nvGraphicFramePr>
        <p:xfrm>
          <a:off x="2380" y="3720"/>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7" imgW="347" imgH="348" progId="TCLayout.ActiveDocument.1">
                  <p:embed/>
                </p:oleObj>
              </mc:Choice>
              <mc:Fallback>
                <p:oleObj name="think-cell Folie" r:id="rId7" imgW="347" imgH="348" progId="TCLayout.ActiveDocument.1">
                  <p:embed/>
                  <p:pic>
                    <p:nvPicPr>
                      <p:cNvPr id="31" name="Objekt 30" hidden="1">
                        <a:extLst>
                          <a:ext uri="{FF2B5EF4-FFF2-40B4-BE49-F238E27FC236}">
                            <a16:creationId xmlns:a16="http://schemas.microsoft.com/office/drawing/2014/main" id="{2180E3D4-AE88-4E2E-9E71-87A06D7A8D68}"/>
                          </a:ext>
                        </a:extLst>
                      </p:cNvPr>
                      <p:cNvPicPr/>
                      <p:nvPr/>
                    </p:nvPicPr>
                    <p:blipFill>
                      <a:blip r:embed="rId8"/>
                      <a:stretch>
                        <a:fillRect/>
                      </a:stretch>
                    </p:blipFill>
                    <p:spPr>
                      <a:xfrm>
                        <a:off x="2380" y="3720"/>
                        <a:ext cx="1588" cy="1588"/>
                      </a:xfrm>
                      <a:prstGeom prst="rect">
                        <a:avLst/>
                      </a:prstGeom>
                    </p:spPr>
                  </p:pic>
                </p:oleObj>
              </mc:Fallback>
            </mc:AlternateContent>
          </a:graphicData>
        </a:graphic>
      </p:graphicFrame>
      <p:sp>
        <p:nvSpPr>
          <p:cNvPr id="30" name="Rechteck 29" hidden="1">
            <a:extLst>
              <a:ext uri="{FF2B5EF4-FFF2-40B4-BE49-F238E27FC236}">
                <a16:creationId xmlns:a16="http://schemas.microsoft.com/office/drawing/2014/main" id="{0F346A4F-9AC5-4362-B296-872B6F269C8C}"/>
              </a:ext>
            </a:extLst>
          </p:cNvPr>
          <p:cNvSpPr/>
          <p:nvPr>
            <p:custDataLst>
              <p:tags r:id="rId3"/>
            </p:custDataLst>
          </p:nvPr>
        </p:nvSpPr>
        <p:spPr>
          <a:xfrm>
            <a:off x="795" y="2135"/>
            <a:ext cx="158688" cy="158688"/>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899" rtl="0" eaLnBrk="1" fontAlgn="auto" latinLnBrk="0" hangingPunct="1">
              <a:lnSpc>
                <a:spcPct val="100000"/>
              </a:lnSpc>
              <a:spcBef>
                <a:spcPts val="0"/>
              </a:spcBef>
              <a:spcAft>
                <a:spcPts val="0"/>
              </a:spcAft>
              <a:buClrTx/>
              <a:buSzTx/>
              <a:buFontTx/>
              <a:buNone/>
              <a:tabLst/>
              <a:defRPr/>
            </a:pPr>
            <a:endParaRPr kumimoji="0" lang="de-DE" sz="2999" b="0" i="0" u="none" strike="noStrike" kern="1200" cap="none" spc="0" normalizeH="0" baseline="0" noProof="0">
              <a:ln>
                <a:noFill/>
              </a:ln>
              <a:solidFill>
                <a:srgbClr val="0A091B"/>
              </a:solidFill>
              <a:effectLst/>
              <a:uLnTx/>
              <a:uFillTx/>
              <a:latin typeface="Calibri Light" panose="020F0302020204030204" pitchFamily="34" charset="0"/>
              <a:ea typeface="Motiva Sans Light" panose="00000400000000000000" pitchFamily="50" charset="0"/>
              <a:cs typeface="+mn-cs"/>
              <a:sym typeface="Calibri Light" panose="020F0302020204030204" pitchFamily="34" charset="0"/>
            </a:endParaRPr>
          </a:p>
        </p:txBody>
      </p:sp>
      <p:sp>
        <p:nvSpPr>
          <p:cNvPr id="69" name="Title 68">
            <a:extLst>
              <a:ext uri="{FF2B5EF4-FFF2-40B4-BE49-F238E27FC236}">
                <a16:creationId xmlns:a16="http://schemas.microsoft.com/office/drawing/2014/main" id="{A7C90E21-1F45-8045-AEFB-AB4F618CBC9D}"/>
              </a:ext>
            </a:extLst>
          </p:cNvPr>
          <p:cNvSpPr>
            <a:spLocks noGrp="1"/>
          </p:cNvSpPr>
          <p:nvPr>
            <p:ph type="title"/>
          </p:nvPr>
        </p:nvSpPr>
        <p:spPr>
          <a:xfrm>
            <a:off x="584124" y="381038"/>
            <a:ext cx="10767514" cy="507949"/>
          </a:xfrm>
        </p:spPr>
        <p:txBody>
          <a:bodyPr>
            <a:normAutofit/>
          </a:bodyPr>
          <a:lstStyle/>
          <a:p>
            <a:r>
              <a:rPr lang="en-US"/>
              <a:t>About </a:t>
            </a:r>
            <a:r>
              <a:rPr lang="en-US" sz="2800"/>
              <a:t>GreenCycle</a:t>
            </a:r>
          </a:p>
        </p:txBody>
      </p:sp>
      <p:sp>
        <p:nvSpPr>
          <p:cNvPr id="21" name="Textplatzhalter 6"/>
          <p:cNvSpPr>
            <a:spLocks noGrp="1"/>
          </p:cNvSpPr>
          <p:nvPr>
            <p:ph idx="1"/>
          </p:nvPr>
        </p:nvSpPr>
        <p:spPr>
          <a:xfrm>
            <a:off x="583767" y="890563"/>
            <a:ext cx="3521841" cy="548125"/>
          </a:xfrm>
        </p:spPr>
        <p:txBody>
          <a:bodyPr>
            <a:normAutofit/>
          </a:bodyPr>
          <a:lstStyle/>
          <a:p>
            <a:pPr marL="0" indent="0">
              <a:buNone/>
            </a:pPr>
            <a:r>
              <a:rPr lang="en-US">
                <a:solidFill>
                  <a:schemeClr val="tx2"/>
                </a:solidFill>
              </a:rPr>
              <a:t>Corporate divisions</a:t>
            </a:r>
          </a:p>
        </p:txBody>
      </p:sp>
      <p:cxnSp>
        <p:nvCxnSpPr>
          <p:cNvPr id="5" name="Straight Connector 4">
            <a:extLst>
              <a:ext uri="{FF2B5EF4-FFF2-40B4-BE49-F238E27FC236}">
                <a16:creationId xmlns:a16="http://schemas.microsoft.com/office/drawing/2014/main" id="{3D199DF4-748D-2E4C-A4EE-0BA033CAE76D}"/>
              </a:ext>
            </a:extLst>
          </p:cNvPr>
          <p:cNvCxnSpPr>
            <a:cxnSpLocks/>
          </p:cNvCxnSpPr>
          <p:nvPr/>
        </p:nvCxnSpPr>
        <p:spPr>
          <a:xfrm>
            <a:off x="3236962" y="4936931"/>
            <a:ext cx="5152749" cy="0"/>
          </a:xfrm>
          <a:prstGeom prst="line">
            <a:avLst/>
          </a:prstGeom>
          <a:ln w="6350">
            <a:solidFill>
              <a:schemeClr val="bg2">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CD4E392-3409-0E47-AD6C-C592AF74E0D4}"/>
              </a:ext>
            </a:extLst>
          </p:cNvPr>
          <p:cNvSpPr txBox="1"/>
          <p:nvPr/>
        </p:nvSpPr>
        <p:spPr>
          <a:xfrm>
            <a:off x="3398352" y="3581269"/>
            <a:ext cx="4389676" cy="1476685"/>
          </a:xfrm>
          <a:prstGeom prst="rect">
            <a:avLst/>
          </a:prstGeom>
          <a:noFill/>
        </p:spPr>
        <p:txBody>
          <a:bodyPr wrap="square" rtlCol="0">
            <a:spAutoFit/>
          </a:bodyPr>
          <a:lstStyle/>
          <a:p>
            <a:pPr marL="0" marR="0" lvl="0" indent="0" algn="l" defTabSz="913899" rtl="0" eaLnBrk="1" fontAlgn="auto" latinLnBrk="0" hangingPunct="1">
              <a:lnSpc>
                <a:spcPct val="100000"/>
              </a:lnSpc>
              <a:spcBef>
                <a:spcPts val="0"/>
              </a:spcBef>
              <a:spcAft>
                <a:spcPts val="0"/>
              </a:spcAft>
              <a:buClrTx/>
              <a:buSzTx/>
              <a:buFontTx/>
              <a:buNone/>
              <a:tabLst/>
              <a:defRPr/>
            </a:pPr>
            <a:r>
              <a:rPr kumimoji="0" lang="en-US" sz="1799" b="0" i="0" u="none" strike="noStrike" cap="none" normalizeH="0" baseline="0" noProof="0" dirty="0">
                <a:ln>
                  <a:noFill/>
                </a:ln>
                <a:solidFill>
                  <a:srgbClr val="F4F5F4">
                    <a:lumMod val="10000"/>
                  </a:srgbClr>
                </a:solidFill>
                <a:uLnTx/>
                <a:uFillTx/>
                <a:latin typeface="Calibri Light" panose="020F0302020204030204"/>
                <a:ea typeface="+mn-ea"/>
                <a:cs typeface="Calibri Light" panose="020F0302020204030204" pitchFamily="34" charset="0"/>
              </a:rPr>
              <a:t>With </a:t>
            </a:r>
            <a:r>
              <a:rPr kumimoji="0" lang="en-US" sz="1799" b="0" i="0" u="none" strike="noStrike" cap="none" normalizeH="0" baseline="0" noProof="0" dirty="0" err="1">
                <a:ln>
                  <a:noFill/>
                </a:ln>
                <a:solidFill>
                  <a:srgbClr val="F4F5F4">
                    <a:lumMod val="10000"/>
                  </a:srgbClr>
                </a:solidFill>
                <a:uLnTx/>
                <a:uFillTx/>
                <a:latin typeface="Calibri Light" panose="020F0302020204030204"/>
                <a:ea typeface="+mn-ea"/>
                <a:cs typeface="Calibri Light" panose="020F0302020204030204" pitchFamily="34" charset="0"/>
              </a:rPr>
              <a:t>PreZero</a:t>
            </a:r>
            <a:r>
              <a:rPr kumimoji="0" lang="en-US" sz="1799" b="0" i="0" u="none" strike="noStrike" cap="none" normalizeH="0" baseline="0" noProof="0" dirty="0">
                <a:ln>
                  <a:noFill/>
                </a:ln>
                <a:solidFill>
                  <a:srgbClr val="F4F5F4">
                    <a:lumMod val="10000"/>
                  </a:srgbClr>
                </a:solidFill>
                <a:uLnTx/>
                <a:uFillTx/>
                <a:latin typeface="Calibri Light" panose="020F0302020204030204"/>
                <a:ea typeface="+mn-ea"/>
                <a:cs typeface="Calibri Light" panose="020F0302020204030204" pitchFamily="34" charset="0"/>
              </a:rPr>
              <a:t>, one of the leading </a:t>
            </a:r>
            <a:r>
              <a:rPr kumimoji="0" lang="en-US" sz="1799" b="1" i="0" u="none" strike="noStrike" cap="none" normalizeH="0" baseline="0" noProof="0" dirty="0">
                <a:ln>
                  <a:noFill/>
                </a:ln>
                <a:solidFill>
                  <a:srgbClr val="F4F5F4">
                    <a:lumMod val="10000"/>
                  </a:srgbClr>
                </a:solidFill>
                <a:uLnTx/>
                <a:uFillTx/>
                <a:latin typeface="Calibri Light" panose="020F0302020204030204"/>
                <a:ea typeface="+mn-ea"/>
                <a:cs typeface="Calibri Light" panose="020F0302020204030204" pitchFamily="34" charset="0"/>
              </a:rPr>
              <a:t>disposal services </a:t>
            </a:r>
            <a:r>
              <a:rPr kumimoji="0" lang="en-US" sz="1799" b="0" i="0" u="none" strike="noStrike" cap="none" normalizeH="0" baseline="0" noProof="0" dirty="0">
                <a:ln>
                  <a:noFill/>
                </a:ln>
                <a:solidFill>
                  <a:srgbClr val="F4F5F4">
                    <a:lumMod val="10000"/>
                  </a:srgbClr>
                </a:solidFill>
                <a:uLnTx/>
                <a:uFillTx/>
                <a:latin typeface="Calibri Light" panose="020F0302020204030204"/>
                <a:ea typeface="+mn-ea"/>
                <a:cs typeface="Calibri Light" panose="020F0302020204030204" pitchFamily="34" charset="0"/>
              </a:rPr>
              <a:t>in Germany. </a:t>
            </a:r>
          </a:p>
          <a:p>
            <a:pPr marL="0" marR="0" lvl="0" indent="0" algn="l" defTabSz="913899" rtl="0" eaLnBrk="1" fontAlgn="auto" latinLnBrk="0" hangingPunct="1">
              <a:lnSpc>
                <a:spcPct val="100000"/>
              </a:lnSpc>
              <a:spcBef>
                <a:spcPts val="0"/>
              </a:spcBef>
              <a:spcAft>
                <a:spcPts val="0"/>
              </a:spcAft>
              <a:buClrTx/>
              <a:buSzTx/>
              <a:buFontTx/>
              <a:buNone/>
              <a:tabLst/>
              <a:defRPr/>
            </a:pPr>
            <a:r>
              <a:rPr kumimoji="0" lang="en-US" sz="1799" b="0" i="0" u="none" strike="noStrike" cap="none" normalizeH="0" baseline="0" noProof="0" dirty="0">
                <a:ln>
                  <a:noFill/>
                </a:ln>
                <a:solidFill>
                  <a:srgbClr val="F4F5F4">
                    <a:lumMod val="10000"/>
                  </a:srgbClr>
                </a:solidFill>
                <a:uLnTx/>
                <a:uFillTx/>
                <a:latin typeface="Calibri Light" panose="020F0302020204030204"/>
                <a:ea typeface="+mn-ea"/>
                <a:cs typeface="Calibri Light" panose="020F0302020204030204" pitchFamily="34" charset="0"/>
              </a:rPr>
              <a:t>The dual system as strategic</a:t>
            </a:r>
            <a:r>
              <a:rPr kumimoji="0" lang="en-US" sz="1799" b="1" i="0" u="none" strike="noStrike" cap="none" normalizeH="0" baseline="0" noProof="0" dirty="0">
                <a:ln>
                  <a:noFill/>
                </a:ln>
                <a:solidFill>
                  <a:srgbClr val="F4F5F4">
                    <a:lumMod val="10000"/>
                  </a:srgbClr>
                </a:solidFill>
                <a:uLnTx/>
                <a:uFillTx/>
                <a:latin typeface="Calibri Light" panose="020F0302020204030204"/>
                <a:ea typeface="+mn-ea"/>
                <a:cs typeface="Calibri Light" panose="020F0302020204030204" pitchFamily="34" charset="0"/>
              </a:rPr>
              <a:t> link </a:t>
            </a:r>
            <a:r>
              <a:rPr kumimoji="0" lang="en-US" sz="1799" b="0" i="0" u="none" strike="noStrike" cap="none" normalizeH="0" baseline="0" noProof="0" dirty="0">
                <a:ln>
                  <a:noFill/>
                </a:ln>
                <a:solidFill>
                  <a:srgbClr val="F4F5F4">
                    <a:lumMod val="10000"/>
                  </a:srgbClr>
                </a:solidFill>
                <a:uLnTx/>
                <a:uFillTx/>
                <a:latin typeface="Calibri Light" panose="020F0302020204030204"/>
                <a:ea typeface="+mn-ea"/>
                <a:cs typeface="Calibri Light" panose="020F0302020204030204" pitchFamily="34" charset="0"/>
              </a:rPr>
              <a:t>between </a:t>
            </a:r>
            <a:r>
              <a:rPr kumimoji="0" lang="en-US" sz="1799" b="1" i="0" u="none" strike="noStrike" cap="none" normalizeH="0" baseline="0" noProof="0" dirty="0">
                <a:ln>
                  <a:noFill/>
                </a:ln>
                <a:solidFill>
                  <a:srgbClr val="F4F5F4">
                    <a:lumMod val="10000"/>
                  </a:srgbClr>
                </a:solidFill>
                <a:uLnTx/>
                <a:uFillTx/>
                <a:latin typeface="Calibri Light" panose="020F0302020204030204"/>
                <a:ea typeface="+mn-ea"/>
                <a:cs typeface="Calibri Light" panose="020F0302020204030204" pitchFamily="34" charset="0"/>
              </a:rPr>
              <a:t>manufacturer and disposal agent.</a:t>
            </a:r>
          </a:p>
          <a:p>
            <a:pPr marL="0" marR="0" lvl="0" indent="0" algn="l" defTabSz="913899" rtl="0" eaLnBrk="1" fontAlgn="auto" latinLnBrk="0" hangingPunct="1">
              <a:lnSpc>
                <a:spcPct val="100000"/>
              </a:lnSpc>
              <a:spcBef>
                <a:spcPts val="0"/>
              </a:spcBef>
              <a:spcAft>
                <a:spcPts val="0"/>
              </a:spcAft>
              <a:buClrTx/>
              <a:buSzTx/>
              <a:buFontTx/>
              <a:buNone/>
              <a:tabLst/>
              <a:defRPr/>
            </a:pPr>
            <a:endParaRPr kumimoji="0" lang="uk-UA" sz="1799" b="0" i="0" u="none" strike="noStrike" kern="1200" cap="none" spc="0" normalizeH="0" baseline="0" noProof="0" dirty="0">
              <a:ln>
                <a:noFill/>
              </a:ln>
              <a:solidFill>
                <a:srgbClr val="F4F5F4">
                  <a:lumMod val="10000"/>
                </a:srgbClr>
              </a:solidFill>
              <a:effectLst/>
              <a:uLnTx/>
              <a:uFillTx/>
              <a:latin typeface="Calibri Light" panose="020F0302020204030204"/>
              <a:ea typeface="+mn-ea"/>
              <a:cs typeface="Calibri Light" panose="020F0302020204030204" pitchFamily="34" charset="0"/>
            </a:endParaRPr>
          </a:p>
        </p:txBody>
      </p:sp>
      <p:sp>
        <p:nvSpPr>
          <p:cNvPr id="10" name="TextBox 9">
            <a:extLst>
              <a:ext uri="{FF2B5EF4-FFF2-40B4-BE49-F238E27FC236}">
                <a16:creationId xmlns:a16="http://schemas.microsoft.com/office/drawing/2014/main" id="{54421FE9-6DEA-154E-AF61-1A9EDAE92A0E}"/>
              </a:ext>
            </a:extLst>
          </p:cNvPr>
          <p:cNvSpPr txBox="1"/>
          <p:nvPr/>
        </p:nvSpPr>
        <p:spPr>
          <a:xfrm>
            <a:off x="3398352" y="1707749"/>
            <a:ext cx="3521841" cy="461485"/>
          </a:xfrm>
          <a:prstGeom prst="rect">
            <a:avLst/>
          </a:prstGeom>
          <a:noFill/>
        </p:spPr>
        <p:txBody>
          <a:bodyPr wrap="square" rtlCol="0">
            <a:spAutoFit/>
          </a:bodyPr>
          <a:lstStyle/>
          <a:p>
            <a:pPr marL="0" marR="0" lvl="0" indent="0" algn="l" defTabSz="913899" rtl="0" eaLnBrk="1" fontAlgn="auto" latinLnBrk="0" hangingPunct="1">
              <a:lnSpc>
                <a:spcPct val="100000"/>
              </a:lnSpc>
              <a:spcBef>
                <a:spcPts val="0"/>
              </a:spcBef>
              <a:spcAft>
                <a:spcPts val="0"/>
              </a:spcAft>
              <a:buClrTx/>
              <a:buSzTx/>
              <a:buFontTx/>
              <a:buNone/>
              <a:tabLst/>
              <a:defRPr/>
            </a:pPr>
            <a:r>
              <a:rPr kumimoji="0" lang="en-US" sz="2399" b="1" i="0" u="none" strike="noStrike" cap="none" normalizeH="0" baseline="0" noProof="0">
                <a:ln>
                  <a:noFill/>
                </a:ln>
                <a:solidFill>
                  <a:srgbClr val="8FCB18"/>
                </a:solidFill>
                <a:uLnTx/>
                <a:uFillTx/>
                <a:latin typeface="Calibri Light" panose="020F0302020204030204" pitchFamily="34" charset="0"/>
                <a:ea typeface="+mn-ea"/>
                <a:cs typeface="Calibri Light" panose="020F0302020204030204" pitchFamily="34" charset="0"/>
              </a:rPr>
              <a:t>Pallet pool</a:t>
            </a:r>
          </a:p>
        </p:txBody>
      </p:sp>
      <p:sp>
        <p:nvSpPr>
          <p:cNvPr id="11" name="TextBox 10">
            <a:extLst>
              <a:ext uri="{FF2B5EF4-FFF2-40B4-BE49-F238E27FC236}">
                <a16:creationId xmlns:a16="http://schemas.microsoft.com/office/drawing/2014/main" id="{8A046D06-CAE7-7F49-A527-D41AB64F9DF6}"/>
              </a:ext>
            </a:extLst>
          </p:cNvPr>
          <p:cNvSpPr txBox="1"/>
          <p:nvPr/>
        </p:nvSpPr>
        <p:spPr>
          <a:xfrm>
            <a:off x="3398352" y="2179806"/>
            <a:ext cx="4116231" cy="646163"/>
          </a:xfrm>
          <a:prstGeom prst="rect">
            <a:avLst/>
          </a:prstGeom>
          <a:noFill/>
        </p:spPr>
        <p:txBody>
          <a:bodyPr wrap="square" rtlCol="0">
            <a:spAutoFit/>
          </a:bodyPr>
          <a:lstStyle/>
          <a:p>
            <a:pPr marL="0" marR="0" lvl="0" indent="0" algn="l" defTabSz="913899" rtl="0" eaLnBrk="1" fontAlgn="auto" latinLnBrk="0" hangingPunct="1">
              <a:lnSpc>
                <a:spcPct val="100000"/>
              </a:lnSpc>
              <a:spcBef>
                <a:spcPts val="0"/>
              </a:spcBef>
              <a:spcAft>
                <a:spcPts val="0"/>
              </a:spcAft>
              <a:buClrTx/>
              <a:buSzTx/>
              <a:buFontTx/>
              <a:buNone/>
              <a:tabLst/>
              <a:defRPr/>
            </a:pPr>
            <a:r>
              <a:rPr kumimoji="0" lang="en-US" sz="1799" b="1" i="0" u="none" strike="noStrike" cap="none" normalizeH="0" baseline="0" noProof="0">
                <a:ln>
                  <a:noFill/>
                </a:ln>
                <a:solidFill>
                  <a:srgbClr val="F4F5F4">
                    <a:lumMod val="10000"/>
                  </a:srgbClr>
                </a:solidFill>
                <a:uLnTx/>
                <a:uFillTx/>
                <a:latin typeface="Calibri Light" panose="020F0302020204030204" pitchFamily="34" charset="0"/>
                <a:ea typeface="+mn-ea"/>
                <a:cs typeface="Calibri Light" panose="020F0302020204030204" pitchFamily="34" charset="0"/>
              </a:rPr>
              <a:t>Innovative reusable carriers</a:t>
            </a:r>
            <a:br>
              <a:rPr kumimoji="0" lang="en-US" sz="1799" b="1" i="0" u="none" strike="noStrike" cap="none" normalizeH="0" baseline="0" noProof="0">
                <a:ln>
                  <a:noFill/>
                </a:ln>
                <a:solidFill>
                  <a:srgbClr val="F4F5F4">
                    <a:lumMod val="10000"/>
                  </a:srgbClr>
                </a:solidFill>
                <a:uLnTx/>
                <a:uFillTx/>
                <a:latin typeface="Calibri Light" panose="020F0302020204030204" pitchFamily="34" charset="0"/>
                <a:ea typeface="+mn-ea"/>
                <a:cs typeface="Calibri Light" panose="020F0302020204030204" pitchFamily="34" charset="0"/>
              </a:rPr>
            </a:br>
            <a:r>
              <a:rPr kumimoji="0" lang="en-US" sz="1799" b="0" i="0" u="none" strike="noStrike" cap="none" normalizeH="0" baseline="0" noProof="0">
                <a:ln>
                  <a:noFill/>
                </a:ln>
                <a:solidFill>
                  <a:srgbClr val="F4F5F4">
                    <a:lumMod val="10000"/>
                  </a:srgbClr>
                </a:solidFill>
                <a:uLnTx/>
                <a:uFillTx/>
                <a:latin typeface="Calibri Light" panose="020F0302020204030204" pitchFamily="34" charset="0"/>
                <a:ea typeface="+mn-ea"/>
                <a:cs typeface="Calibri Light" panose="020F0302020204030204" pitchFamily="34" charset="0"/>
              </a:rPr>
              <a:t>for retail and industry. </a:t>
            </a:r>
          </a:p>
        </p:txBody>
      </p:sp>
      <p:cxnSp>
        <p:nvCxnSpPr>
          <p:cNvPr id="13" name="Straight Connector 12">
            <a:extLst>
              <a:ext uri="{FF2B5EF4-FFF2-40B4-BE49-F238E27FC236}">
                <a16:creationId xmlns:a16="http://schemas.microsoft.com/office/drawing/2014/main" id="{891EE7B7-FFB0-2A43-A220-2384D30B9964}"/>
              </a:ext>
            </a:extLst>
          </p:cNvPr>
          <p:cNvCxnSpPr>
            <a:cxnSpLocks/>
          </p:cNvCxnSpPr>
          <p:nvPr/>
        </p:nvCxnSpPr>
        <p:spPr>
          <a:xfrm>
            <a:off x="3213063" y="2964375"/>
            <a:ext cx="5176648" cy="0"/>
          </a:xfrm>
          <a:prstGeom prst="line">
            <a:avLst/>
          </a:prstGeom>
          <a:ln w="6350">
            <a:solidFill>
              <a:schemeClr val="bg2">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F1AFE0B-0CA0-0B4D-B51D-B7EBD0314990}"/>
              </a:ext>
            </a:extLst>
          </p:cNvPr>
          <p:cNvSpPr txBox="1"/>
          <p:nvPr/>
        </p:nvSpPr>
        <p:spPr>
          <a:xfrm>
            <a:off x="3439943" y="5038904"/>
            <a:ext cx="5039039" cy="461484"/>
          </a:xfrm>
          <a:prstGeom prst="rect">
            <a:avLst/>
          </a:prstGeom>
          <a:ln w="6350">
            <a:noFill/>
            <a:headEnd type="oval"/>
            <a:tailEnd type="oval"/>
          </a:ln>
        </p:spPr>
        <p:style>
          <a:lnRef idx="1">
            <a:schemeClr val="accent1"/>
          </a:lnRef>
          <a:fillRef idx="0">
            <a:schemeClr val="accent1"/>
          </a:fillRef>
          <a:effectRef idx="0">
            <a:schemeClr val="accent1"/>
          </a:effectRef>
          <a:fontRef idx="minor">
            <a:schemeClr val="tx1"/>
          </a:fontRef>
        </p:style>
        <p:txBody>
          <a:bodyPr wrap="square" rtlCol="0">
            <a:spAutoFit/>
          </a:bodyPr>
          <a:lstStyle/>
          <a:p>
            <a:pPr marL="0" marR="0" lvl="0" indent="0" algn="l" defTabSz="913899" rtl="0" eaLnBrk="1" fontAlgn="auto" latinLnBrk="0" hangingPunct="1">
              <a:lnSpc>
                <a:spcPct val="100000"/>
              </a:lnSpc>
              <a:spcBef>
                <a:spcPts val="0"/>
              </a:spcBef>
              <a:spcAft>
                <a:spcPts val="0"/>
              </a:spcAft>
              <a:buClrTx/>
              <a:buSzTx/>
              <a:buFontTx/>
              <a:buNone/>
              <a:tabLst/>
              <a:defRPr/>
            </a:pPr>
            <a:r>
              <a:rPr kumimoji="0" lang="en-US" sz="2399" b="1" i="0" u="none" strike="noStrike" cap="none" normalizeH="0" baseline="0" noProof="0">
                <a:ln>
                  <a:noFill/>
                </a:ln>
                <a:solidFill>
                  <a:srgbClr val="8FCB18"/>
                </a:solidFill>
                <a:uLnTx/>
                <a:uFillTx/>
                <a:latin typeface="Calibri Light" panose="020F0302020204030204" pitchFamily="34" charset="0"/>
                <a:ea typeface="+mn-ea"/>
                <a:cs typeface="Calibri Light" panose="020F0302020204030204" pitchFamily="34" charset="0"/>
              </a:rPr>
              <a:t>Energy and environmental innovation</a:t>
            </a:r>
          </a:p>
        </p:txBody>
      </p:sp>
      <p:sp>
        <p:nvSpPr>
          <p:cNvPr id="18" name="TextBox 17">
            <a:extLst>
              <a:ext uri="{FF2B5EF4-FFF2-40B4-BE49-F238E27FC236}">
                <a16:creationId xmlns:a16="http://schemas.microsoft.com/office/drawing/2014/main" id="{F902C2A8-5763-F949-A1DA-0AE4EAD715E8}"/>
              </a:ext>
            </a:extLst>
          </p:cNvPr>
          <p:cNvSpPr txBox="1"/>
          <p:nvPr/>
        </p:nvSpPr>
        <p:spPr>
          <a:xfrm>
            <a:off x="3439943" y="5530017"/>
            <a:ext cx="4748093" cy="646074"/>
          </a:xfrm>
          <a:prstGeom prst="rect">
            <a:avLst/>
          </a:prstGeom>
          <a:ln w="6350">
            <a:noFill/>
            <a:headEnd type="oval"/>
            <a:tailEnd type="oval"/>
          </a:ln>
        </p:spPr>
        <p:style>
          <a:lnRef idx="1">
            <a:schemeClr val="accent1"/>
          </a:lnRef>
          <a:fillRef idx="0">
            <a:schemeClr val="accent1"/>
          </a:fillRef>
          <a:effectRef idx="0">
            <a:schemeClr val="accent1"/>
          </a:effectRef>
          <a:fontRef idx="minor">
            <a:schemeClr val="tx1"/>
          </a:fontRef>
        </p:style>
        <p:txBody>
          <a:bodyPr wrap="square" rtlCol="0">
            <a:spAutoFit/>
          </a:bodyPr>
          <a:lstStyle/>
          <a:p>
            <a:pPr marL="0" marR="0" lvl="0" indent="0" algn="l" defTabSz="913899" rtl="0" eaLnBrk="1" fontAlgn="auto" latinLnBrk="0" hangingPunct="1">
              <a:lnSpc>
                <a:spcPct val="100000"/>
              </a:lnSpc>
              <a:spcBef>
                <a:spcPts val="0"/>
              </a:spcBef>
              <a:spcAft>
                <a:spcPts val="0"/>
              </a:spcAft>
              <a:buClrTx/>
              <a:buSzTx/>
              <a:buFontTx/>
              <a:buNone/>
              <a:tabLst/>
              <a:defRPr/>
            </a:pPr>
            <a:r>
              <a:rPr kumimoji="0" lang="en-US" sz="1799" b="1" i="0" u="none" strike="noStrike" cap="none" normalizeH="0" baseline="0" noProof="0">
                <a:ln>
                  <a:noFill/>
                </a:ln>
                <a:solidFill>
                  <a:srgbClr val="F4F5F4">
                    <a:lumMod val="10000"/>
                  </a:srgbClr>
                </a:solidFill>
                <a:uLnTx/>
                <a:uFillTx/>
                <a:latin typeface="Calibri Light" panose="020F0302020204030204" pitchFamily="34" charset="0"/>
                <a:ea typeface="+mn-ea"/>
                <a:cs typeface="Calibri Light" panose="020F0302020204030204" pitchFamily="34" charset="0"/>
              </a:rPr>
              <a:t>Internal </a:t>
            </a:r>
            <a:r>
              <a:rPr kumimoji="0" lang="en-US" sz="1799" b="0" i="0" u="none" strike="noStrike" cap="none" normalizeH="0" baseline="0" noProof="0">
                <a:ln>
                  <a:noFill/>
                </a:ln>
                <a:solidFill>
                  <a:srgbClr val="F4F5F4">
                    <a:lumMod val="10000"/>
                  </a:srgbClr>
                </a:solidFill>
                <a:uLnTx/>
                <a:uFillTx/>
                <a:latin typeface="Calibri Light" panose="020F0302020204030204" pitchFamily="34" charset="0"/>
                <a:ea typeface="+mn-ea"/>
                <a:cs typeface="Calibri Light" panose="020F0302020204030204" pitchFamily="34" charset="0"/>
              </a:rPr>
              <a:t>service provider and </a:t>
            </a:r>
            <a:r>
              <a:rPr kumimoji="0" lang="en-US" sz="1799" b="1" i="0" u="none" strike="noStrike" cap="none" normalizeH="0" baseline="0" noProof="0">
                <a:ln>
                  <a:noFill/>
                </a:ln>
                <a:solidFill>
                  <a:srgbClr val="F4F5F4">
                    <a:lumMod val="10000"/>
                  </a:srgbClr>
                </a:solidFill>
                <a:uLnTx/>
                <a:uFillTx/>
                <a:latin typeface="Calibri Light" panose="020F0302020204030204" pitchFamily="34" charset="0"/>
                <a:ea typeface="+mn-ea"/>
                <a:cs typeface="Calibri Light" panose="020F0302020204030204" pitchFamily="34" charset="0"/>
              </a:rPr>
              <a:t>energy management consultant</a:t>
            </a:r>
            <a:r>
              <a:rPr kumimoji="0" lang="en-US" sz="1799" b="0" i="0" u="none" strike="noStrike" cap="none" normalizeH="0" baseline="0" noProof="0">
                <a:ln>
                  <a:noFill/>
                </a:ln>
                <a:solidFill>
                  <a:srgbClr val="F4F5F4">
                    <a:lumMod val="10000"/>
                  </a:srgbClr>
                </a:solidFill>
                <a:uLnTx/>
                <a:uFillTx/>
                <a:latin typeface="Calibri Light" panose="020F0302020204030204" pitchFamily="34" charset="0"/>
                <a:ea typeface="+mn-ea"/>
                <a:cs typeface="Calibri Light" panose="020F0302020204030204" pitchFamily="34" charset="0"/>
              </a:rPr>
              <a:t> in the Schwarz Group.</a:t>
            </a:r>
          </a:p>
        </p:txBody>
      </p:sp>
      <p:sp>
        <p:nvSpPr>
          <p:cNvPr id="28" name="Rechteck 27" hidden="1">
            <a:extLst>
              <a:ext uri="{FF2B5EF4-FFF2-40B4-BE49-F238E27FC236}">
                <a16:creationId xmlns:a16="http://schemas.microsoft.com/office/drawing/2014/main" id="{24654E29-65DA-4233-A742-ABB3C1B96F0B}"/>
              </a:ext>
            </a:extLst>
          </p:cNvPr>
          <p:cNvSpPr/>
          <p:nvPr>
            <p:custDataLst>
              <p:tags r:id="rId4"/>
            </p:custDataLst>
          </p:nvPr>
        </p:nvSpPr>
        <p:spPr>
          <a:xfrm>
            <a:off x="795" y="2135"/>
            <a:ext cx="158688" cy="158688"/>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899" rtl="0" eaLnBrk="1" fontAlgn="auto" latinLnBrk="0" hangingPunct="1">
              <a:lnSpc>
                <a:spcPct val="100000"/>
              </a:lnSpc>
              <a:spcBef>
                <a:spcPts val="0"/>
              </a:spcBef>
              <a:spcAft>
                <a:spcPts val="0"/>
              </a:spcAft>
              <a:buClrTx/>
              <a:buSzTx/>
              <a:buFontTx/>
              <a:buNone/>
              <a:tabLst/>
              <a:defRPr/>
            </a:pPr>
            <a:endParaRPr kumimoji="0" lang="de-DE" sz="2999" b="0" i="0" u="none" strike="noStrike" kern="1200" cap="none" spc="0" normalizeH="0" baseline="0" noProof="0">
              <a:ln>
                <a:noFill/>
              </a:ln>
              <a:solidFill>
                <a:srgbClr val="0A091B"/>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35" name="Straight Connector 5">
            <a:extLst>
              <a:ext uri="{FF2B5EF4-FFF2-40B4-BE49-F238E27FC236}">
                <a16:creationId xmlns:a16="http://schemas.microsoft.com/office/drawing/2014/main" id="{F5976F68-126B-46FA-9C59-82C1C891B27E}"/>
              </a:ext>
            </a:extLst>
          </p:cNvPr>
          <p:cNvCxnSpPr/>
          <p:nvPr/>
        </p:nvCxnSpPr>
        <p:spPr>
          <a:xfrm>
            <a:off x="470571" y="459156"/>
            <a:ext cx="0" cy="685532"/>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5BDEBA73-D0A2-43EA-AAE2-6473F8EA874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5918" y="2801839"/>
            <a:ext cx="2328131" cy="2328131"/>
          </a:xfrm>
          <a:prstGeom prst="rect">
            <a:avLst/>
          </a:prstGeom>
        </p:spPr>
      </p:pic>
      <p:pic>
        <p:nvPicPr>
          <p:cNvPr id="20" name="Picture 50" descr="Prezero – Wikipedia">
            <a:extLst>
              <a:ext uri="{FF2B5EF4-FFF2-40B4-BE49-F238E27FC236}">
                <a16:creationId xmlns:a16="http://schemas.microsoft.com/office/drawing/2014/main" id="{EAA1CB7B-76CF-4C02-B924-3C62576224A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32537" y="3367255"/>
            <a:ext cx="2547463" cy="104021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126BAB3-80EF-4550-BAF1-073D14E85781}"/>
              </a:ext>
            </a:extLst>
          </p:cNvPr>
          <p:cNvSpPr/>
          <p:nvPr/>
        </p:nvSpPr>
        <p:spPr>
          <a:xfrm>
            <a:off x="11289472" y="6296145"/>
            <a:ext cx="534975" cy="307777"/>
          </a:xfrm>
          <a:prstGeom prst="rect">
            <a:avLst/>
          </a:prstGeom>
        </p:spPr>
        <p:txBody>
          <a:bodyPr wrap="square">
            <a:spAutoFit/>
          </a:bodyPr>
          <a:lstStyle/>
          <a:p>
            <a:r>
              <a:rPr lang="en-US" sz="1400" b="1" dirty="0">
                <a:solidFill>
                  <a:schemeClr val="accent1"/>
                </a:solidFill>
              </a:rPr>
              <a:t>22</a:t>
            </a:r>
            <a:endParaRPr lang="bg-BG" sz="1400" b="1" dirty="0">
              <a:solidFill>
                <a:schemeClr val="accent1"/>
              </a:solidFill>
            </a:endParaRPr>
          </a:p>
        </p:txBody>
      </p:sp>
    </p:spTree>
    <p:extLst>
      <p:ext uri="{BB962C8B-B14F-4D97-AF65-F5344CB8AC3E}">
        <p14:creationId xmlns:p14="http://schemas.microsoft.com/office/powerpoint/2010/main" val="306988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E5A1ACD-BDBD-449A-8293-400B1A6540D1}"/>
              </a:ext>
            </a:extLst>
          </p:cNvPr>
          <p:cNvGraphicFramePr>
            <a:graphicFrameLocks noChangeAspect="1"/>
          </p:cNvGraphicFramePr>
          <p:nvPr>
            <p:custDataLst>
              <p:tags r:id="rId3"/>
            </p:custDataLst>
          </p:nvPr>
        </p:nvGraphicFramePr>
        <p:xfrm>
          <a:off x="1587" y="3274"/>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7" imgW="347" imgH="348" progId="TCLayout.ActiveDocument.1">
                  <p:embed/>
                </p:oleObj>
              </mc:Choice>
              <mc:Fallback>
                <p:oleObj name="think-cell Folie" r:id="rId7" imgW="347" imgH="348" progId="TCLayout.ActiveDocument.1">
                  <p:embed/>
                  <p:pic>
                    <p:nvPicPr>
                      <p:cNvPr id="4" name="Objekt 3" hidden="1">
                        <a:extLst>
                          <a:ext uri="{FF2B5EF4-FFF2-40B4-BE49-F238E27FC236}">
                            <a16:creationId xmlns:a16="http://schemas.microsoft.com/office/drawing/2014/main" id="{3E5A1ACD-BDBD-449A-8293-400B1A6540D1}"/>
                          </a:ext>
                        </a:extLst>
                      </p:cNvPr>
                      <p:cNvPicPr/>
                      <p:nvPr/>
                    </p:nvPicPr>
                    <p:blipFill>
                      <a:blip r:embed="rId8"/>
                      <a:stretch>
                        <a:fillRect/>
                      </a:stretch>
                    </p:blipFill>
                    <p:spPr>
                      <a:xfrm>
                        <a:off x="1587" y="3274"/>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49E41F7-6E6F-4883-A3BC-A87A4CA419F4}"/>
              </a:ext>
            </a:extLst>
          </p:cNvPr>
          <p:cNvSpPr/>
          <p:nvPr>
            <p:custDataLst>
              <p:tags r:id="rId4"/>
            </p:custDataLst>
          </p:nvPr>
        </p:nvSpPr>
        <p:spPr>
          <a:xfrm>
            <a:off x="-1" y="1687"/>
            <a:ext cx="158709" cy="158709"/>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90" rtl="0" eaLnBrk="1" fontAlgn="auto" latinLnBrk="0" hangingPunct="1">
              <a:lnSpc>
                <a:spcPct val="100000"/>
              </a:lnSpc>
              <a:spcBef>
                <a:spcPts val="0"/>
              </a:spcBef>
              <a:spcAft>
                <a:spcPts val="0"/>
              </a:spcAft>
              <a:buClrTx/>
              <a:buSzTx/>
              <a:buFontTx/>
              <a:buNone/>
              <a:tabLst/>
              <a:defRPr/>
            </a:pPr>
            <a:endParaRPr kumimoji="0" lang="de-DE" sz="2799" b="0" i="0" u="none" strike="noStrike" kern="1200" cap="none" spc="0" normalizeH="0" baseline="0" noProof="0">
              <a:ln>
                <a:noFill/>
              </a:ln>
              <a:solidFill>
                <a:srgbClr val="0A091B"/>
              </a:solidFill>
              <a:effectLst/>
              <a:uLnTx/>
              <a:uFillTx/>
              <a:latin typeface="Calibri Light" panose="020F0302020204030204" pitchFamily="34" charset="0"/>
              <a:ea typeface="Motiva Sans Light" panose="00000400000000000000" pitchFamily="50" charset="0"/>
              <a:cs typeface="+mn-cs"/>
              <a:sym typeface="Calibri Light" panose="020F0302020204030204" pitchFamily="34" charset="0"/>
            </a:endParaRPr>
          </a:p>
        </p:txBody>
      </p:sp>
      <p:pic>
        <p:nvPicPr>
          <p:cNvPr id="38" name="Grafik 37">
            <a:extLst>
              <a:ext uri="{FF2B5EF4-FFF2-40B4-BE49-F238E27FC236}">
                <a16:creationId xmlns:a16="http://schemas.microsoft.com/office/drawing/2014/main" id="{E9D5D70A-DA76-45AE-92CD-C23072ADB89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9095" t="20237" r="40491" b="52844"/>
          <a:stretch/>
        </p:blipFill>
        <p:spPr>
          <a:xfrm>
            <a:off x="4343063" y="1688"/>
            <a:ext cx="7861663" cy="6260945"/>
          </a:xfrm>
          <a:prstGeom prst="rect">
            <a:avLst/>
          </a:prstGeom>
        </p:spPr>
      </p:pic>
      <p:sp>
        <p:nvSpPr>
          <p:cNvPr id="10" name="Titel 9"/>
          <p:cNvSpPr>
            <a:spLocks noGrp="1"/>
          </p:cNvSpPr>
          <p:nvPr>
            <p:ph type="title"/>
          </p:nvPr>
        </p:nvSpPr>
        <p:spPr/>
        <p:txBody>
          <a:bodyPr/>
          <a:lstStyle/>
          <a:p>
            <a:r>
              <a:rPr lang="en-US"/>
              <a:t>GreenCycle – figures</a:t>
            </a:r>
          </a:p>
        </p:txBody>
      </p:sp>
      <p:sp>
        <p:nvSpPr>
          <p:cNvPr id="7" name="Textplatzhalter 6"/>
          <p:cNvSpPr>
            <a:spLocks noGrp="1"/>
          </p:cNvSpPr>
          <p:nvPr>
            <p:ph type="body" sz="quarter" idx="14"/>
          </p:nvPr>
        </p:nvSpPr>
        <p:spPr/>
        <p:txBody>
          <a:bodyPr/>
          <a:lstStyle/>
          <a:p>
            <a:r>
              <a:rPr lang="en-US" b="0"/>
              <a:t>In Europe and around the world</a:t>
            </a:r>
          </a:p>
        </p:txBody>
      </p:sp>
      <p:sp>
        <p:nvSpPr>
          <p:cNvPr id="9" name="Rechteck 8">
            <a:extLst>
              <a:ext uri="{FF2B5EF4-FFF2-40B4-BE49-F238E27FC236}">
                <a16:creationId xmlns:a16="http://schemas.microsoft.com/office/drawing/2014/main" id="{B6BA0C44-18AA-4122-8238-22EF72C5BAB5}"/>
              </a:ext>
            </a:extLst>
          </p:cNvPr>
          <p:cNvSpPr/>
          <p:nvPr/>
        </p:nvSpPr>
        <p:spPr>
          <a:xfrm>
            <a:off x="9663542" y="265149"/>
            <a:ext cx="2541184" cy="837060"/>
          </a:xfrm>
          <a:prstGeom prst="rect">
            <a:avLst/>
          </a:prstGeom>
          <a:solidFill>
            <a:schemeClr val="bg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3990" rtl="0" eaLnBrk="1" fontAlgn="auto" latinLnBrk="0" hangingPunct="1">
              <a:lnSpc>
                <a:spcPct val="100000"/>
              </a:lnSpc>
              <a:spcBef>
                <a:spcPts val="0"/>
              </a:spcBef>
              <a:spcAft>
                <a:spcPts val="0"/>
              </a:spcAft>
              <a:buClrTx/>
              <a:buSzTx/>
              <a:buFontTx/>
              <a:buNone/>
              <a:tabLst/>
              <a:defRPr/>
            </a:pPr>
            <a:endParaRPr kumimoji="0" lang="de-DE" sz="2799" b="0" i="0" u="none" strike="noStrike" kern="1200" cap="none" spc="0" normalizeH="0" baseline="0" noProof="0">
              <a:ln>
                <a:noFill/>
              </a:ln>
              <a:solidFill>
                <a:srgbClr val="0A091B"/>
              </a:solidFill>
              <a:effectLst/>
              <a:uLnTx/>
              <a:uFillTx/>
              <a:latin typeface="Calibri" panose="020F0502020204030204"/>
              <a:ea typeface="+mn-ea"/>
              <a:cs typeface="+mn-cs"/>
            </a:endParaRPr>
          </a:p>
        </p:txBody>
      </p:sp>
      <p:sp>
        <p:nvSpPr>
          <p:cNvPr id="156" name="Lila Box">
            <a:extLst>
              <a:ext uri="{FF2B5EF4-FFF2-40B4-BE49-F238E27FC236}">
                <a16:creationId xmlns:a16="http://schemas.microsoft.com/office/drawing/2014/main" id="{530D287A-A4A0-4019-A5BC-FCC47C945D11}"/>
              </a:ext>
            </a:extLst>
          </p:cNvPr>
          <p:cNvSpPr/>
          <p:nvPr/>
        </p:nvSpPr>
        <p:spPr bwMode="gray">
          <a:xfrm>
            <a:off x="9994708" y="652925"/>
            <a:ext cx="1251543" cy="373487"/>
          </a:xfrm>
          <a:prstGeom prst="rect">
            <a:avLst/>
          </a:prstGeom>
          <a:noFill/>
          <a:ln w="12700" cap="flat" cmpd="sng" algn="ctr">
            <a:noFill/>
            <a:prstDash val="solid"/>
            <a:miter lim="800000"/>
          </a:ln>
          <a:effectLst/>
        </p:spPr>
        <p:txBody>
          <a:bodyPr lIns="68505" tIns="34253" rIns="68505" bIns="34253" rtlCol="0" anchor="ctr"/>
          <a:lstStyle/>
          <a:p>
            <a:pPr marL="0" marR="0" lvl="0" indent="0" algn="l" defTabSz="685141" rtl="0" eaLnBrk="1" fontAlgn="auto" latinLnBrk="0" hangingPunct="1">
              <a:lnSpc>
                <a:spcPct val="100000"/>
              </a:lnSpc>
              <a:spcBef>
                <a:spcPts val="0"/>
              </a:spcBef>
              <a:spcAft>
                <a:spcPts val="0"/>
              </a:spcAft>
              <a:buClrTx/>
              <a:buSzTx/>
              <a:buFontTx/>
              <a:buNone/>
              <a:tabLst/>
              <a:defRPr/>
            </a:pPr>
            <a:r>
              <a:rPr kumimoji="0" lang="en-US" sz="1799" b="0" i="0" u="none" strike="noStrike" cap="none" normalizeH="0" baseline="0" noProof="0">
                <a:ln>
                  <a:noFill/>
                </a:ln>
                <a:solidFill>
                  <a:srgbClr val="54494B"/>
                </a:solidFill>
                <a:uLnTx/>
                <a:uFillTx/>
                <a:latin typeface="Calibri Light" panose="020F0302020204030204"/>
                <a:ea typeface="Tahoma" panose="020B0604030504040204" pitchFamily="34" charset="0"/>
                <a:cs typeface="Tahoma" panose="020B0604030504040204" pitchFamily="34" charset="0"/>
              </a:rPr>
              <a:t>operating</a:t>
            </a:r>
          </a:p>
        </p:txBody>
      </p:sp>
      <p:sp>
        <p:nvSpPr>
          <p:cNvPr id="158" name="Lila Box">
            <a:extLst>
              <a:ext uri="{FF2B5EF4-FFF2-40B4-BE49-F238E27FC236}">
                <a16:creationId xmlns:a16="http://schemas.microsoft.com/office/drawing/2014/main" id="{530D287A-A4A0-4019-A5BC-FCC47C945D11}"/>
              </a:ext>
            </a:extLst>
          </p:cNvPr>
          <p:cNvSpPr/>
          <p:nvPr/>
        </p:nvSpPr>
        <p:spPr bwMode="gray">
          <a:xfrm>
            <a:off x="9993628" y="426273"/>
            <a:ext cx="1381398" cy="246191"/>
          </a:xfrm>
          <a:prstGeom prst="rect">
            <a:avLst/>
          </a:prstGeom>
          <a:noFill/>
          <a:ln w="12700" cap="flat" cmpd="sng" algn="ctr">
            <a:noFill/>
            <a:prstDash val="solid"/>
            <a:miter lim="800000"/>
          </a:ln>
          <a:effectLst/>
        </p:spPr>
        <p:txBody>
          <a:bodyPr lIns="68505" tIns="34253" rIns="68505" bIns="34253" rtlCol="0" anchor="ctr"/>
          <a:lstStyle/>
          <a:p>
            <a:pPr marL="0" marR="0" lvl="0" indent="0" algn="l" defTabSz="685141" rtl="0" eaLnBrk="1" fontAlgn="auto" latinLnBrk="0" hangingPunct="1">
              <a:lnSpc>
                <a:spcPct val="100000"/>
              </a:lnSpc>
              <a:spcBef>
                <a:spcPts val="0"/>
              </a:spcBef>
              <a:spcAft>
                <a:spcPts val="0"/>
              </a:spcAft>
              <a:buClrTx/>
              <a:buSzTx/>
              <a:buFontTx/>
              <a:buNone/>
              <a:tabLst/>
              <a:defRPr/>
            </a:pPr>
            <a:r>
              <a:rPr kumimoji="0" lang="en-US" sz="1799" b="0" i="0" u="none" strike="noStrike" cap="none" normalizeH="0" baseline="0" noProof="0">
                <a:ln>
                  <a:noFill/>
                </a:ln>
                <a:solidFill>
                  <a:srgbClr val="54494B"/>
                </a:solidFill>
                <a:uLnTx/>
                <a:uFillTx/>
                <a:latin typeface="Calibri Light" panose="020F0302020204030204"/>
                <a:ea typeface="Tahoma" panose="020B0604030504040204" pitchFamily="34" charset="0"/>
                <a:cs typeface="Tahoma" panose="020B0604030504040204" pitchFamily="34" charset="0"/>
              </a:rPr>
              <a:t>strategic</a:t>
            </a:r>
          </a:p>
        </p:txBody>
      </p:sp>
      <p:sp>
        <p:nvSpPr>
          <p:cNvPr id="19" name="Inhaltsplatzhalter 21">
            <a:extLst>
              <a:ext uri="{FF2B5EF4-FFF2-40B4-BE49-F238E27FC236}">
                <a16:creationId xmlns:a16="http://schemas.microsoft.com/office/drawing/2014/main" id="{7F7F8322-FD4C-4EF5-860D-3E648B9A2697}"/>
              </a:ext>
            </a:extLst>
          </p:cNvPr>
          <p:cNvSpPr txBox="1">
            <a:spLocks/>
          </p:cNvSpPr>
          <p:nvPr/>
        </p:nvSpPr>
        <p:spPr>
          <a:xfrm>
            <a:off x="1466202" y="1906191"/>
            <a:ext cx="5314626" cy="4439579"/>
          </a:xfrm>
          <a:prstGeom prst="rect">
            <a:avLst/>
          </a:prstGeom>
        </p:spPr>
        <p:txBody>
          <a:bodyPr>
            <a:normAutofit/>
          </a:bodyPr>
          <a:lstStyle>
            <a:lvl1pPr marL="228612" indent="-228612" algn="l" defTabSz="914447" rtl="0" eaLnBrk="1" latinLnBrk="0" hangingPunct="1">
              <a:lnSpc>
                <a:spcPct val="90000"/>
              </a:lnSpc>
              <a:spcBef>
                <a:spcPts val="1000"/>
              </a:spcBef>
              <a:buClr>
                <a:schemeClr val="accent1"/>
              </a:buClr>
              <a:buFont typeface="Arial" panose="020B0604020202020204" pitchFamily="34" charset="0"/>
              <a:buChar char="•"/>
              <a:defRPr sz="2400" kern="1200">
                <a:solidFill>
                  <a:schemeClr val="tx1"/>
                </a:solidFill>
                <a:latin typeface="+mj-lt"/>
                <a:ea typeface="+mn-ea"/>
                <a:cs typeface="+mn-cs"/>
              </a:defRPr>
            </a:lvl1pPr>
            <a:lvl2pPr marL="685833" indent="-228612" algn="l" defTabSz="914447"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1143058" indent="-228612" algn="l" defTabSz="914447"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3pPr>
            <a:lvl4pPr marL="1600280" indent="-228612" algn="l" defTabSz="914447"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4pPr>
            <a:lvl5pPr marL="2057504" indent="-228612" algn="l" defTabSz="914447"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5pPr>
            <a:lvl6pPr marL="2514727" indent="-228612" algn="l" defTabSz="91444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50" indent="-228612" algn="l" defTabSz="91444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2" indent="-228612" algn="l" defTabSz="91444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3" indent="-228612" algn="l" defTabSz="91444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73" rtl="0" eaLnBrk="1" fontAlgn="auto" latinLnBrk="0" hangingPunct="1">
              <a:lnSpc>
                <a:spcPct val="90000"/>
              </a:lnSpc>
              <a:spcBef>
                <a:spcPts val="1000"/>
              </a:spcBef>
              <a:spcAft>
                <a:spcPts val="0"/>
              </a:spcAft>
              <a:buClr>
                <a:srgbClr val="8FCB18"/>
              </a:buClr>
              <a:buSzTx/>
              <a:buFont typeface="Arial" panose="020B0604020202020204" pitchFamily="34" charset="0"/>
              <a:buNone/>
              <a:tabLst/>
              <a:defRPr/>
            </a:pPr>
            <a:r>
              <a:rPr kumimoji="0" lang="en-US" sz="1999" b="1" i="0" u="none" strike="noStrike" cap="none" normalizeH="0" baseline="0" noProof="0">
                <a:ln>
                  <a:noFill/>
                </a:ln>
                <a:solidFill>
                  <a:srgbClr val="0A091B"/>
                </a:solidFill>
                <a:uLnTx/>
                <a:uFillTx/>
                <a:latin typeface="Calibri Light" panose="020F0302020204030204"/>
                <a:ea typeface="+mn-ea"/>
                <a:cs typeface="+mn-cs"/>
              </a:rPr>
              <a:t>approx. 500 M. EUR </a:t>
            </a:r>
            <a:r>
              <a:rPr kumimoji="0" lang="en-US" sz="1999" b="0" i="0" u="none" strike="noStrike" cap="none" normalizeH="0" baseline="0" noProof="0">
                <a:ln>
                  <a:noFill/>
                </a:ln>
                <a:solidFill>
                  <a:srgbClr val="0A091B"/>
                </a:solidFill>
                <a:uLnTx/>
                <a:uFillTx/>
                <a:latin typeface="Calibri Light" panose="020F0302020204030204"/>
                <a:ea typeface="+mn-ea"/>
                <a:cs typeface="+mn-cs"/>
              </a:rPr>
              <a:t>revenue</a:t>
            </a:r>
            <a:br>
              <a:rPr kumimoji="0" lang="en-US" sz="1999" b="0" i="0" u="none" strike="noStrike" cap="none" normalizeH="0" baseline="0" noProof="0">
                <a:ln>
                  <a:noFill/>
                </a:ln>
                <a:solidFill>
                  <a:srgbClr val="0A091B"/>
                </a:solidFill>
                <a:uLnTx/>
                <a:uFillTx/>
                <a:latin typeface="Calibri Light" panose="020F0302020204030204"/>
                <a:ea typeface="+mn-ea"/>
                <a:cs typeface="+mn-cs"/>
              </a:rPr>
            </a:br>
            <a:r>
              <a:rPr kumimoji="0" lang="en-US" sz="1999" b="0" i="0" u="none" strike="noStrike" cap="none" normalizeH="0" baseline="0" noProof="0">
                <a:ln>
                  <a:noFill/>
                </a:ln>
                <a:solidFill>
                  <a:srgbClr val="0A091B"/>
                </a:solidFill>
                <a:uLnTx/>
                <a:uFillTx/>
                <a:latin typeface="Calibri Light" panose="020F0302020204030204"/>
                <a:ea typeface="+mn-ea"/>
                <a:cs typeface="+mn-cs"/>
              </a:rPr>
              <a:t>in 2019</a:t>
            </a:r>
          </a:p>
          <a:p>
            <a:pPr marL="0" marR="0" lvl="0" indent="0" algn="l" defTabSz="914173" rtl="0" eaLnBrk="1" fontAlgn="auto" latinLnBrk="0" hangingPunct="1">
              <a:lnSpc>
                <a:spcPct val="90000"/>
              </a:lnSpc>
              <a:spcBef>
                <a:spcPts val="1000"/>
              </a:spcBef>
              <a:spcAft>
                <a:spcPts val="0"/>
              </a:spcAft>
              <a:buClr>
                <a:srgbClr val="8FCB18"/>
              </a:buClr>
              <a:buSzTx/>
              <a:buFont typeface="Arial" panose="020B0604020202020204" pitchFamily="34" charset="0"/>
              <a:buNone/>
              <a:tabLst/>
              <a:defRPr/>
            </a:pPr>
            <a:r>
              <a:rPr kumimoji="0" lang="en-US" sz="1999" b="1" i="0" u="none" strike="noStrike" cap="none" normalizeH="0" baseline="0" noProof="0">
                <a:ln>
                  <a:noFill/>
                </a:ln>
                <a:solidFill>
                  <a:srgbClr val="0A091B"/>
                </a:solidFill>
                <a:uLnTx/>
                <a:uFillTx/>
                <a:latin typeface="Calibri Light" panose="020F0302020204030204"/>
                <a:ea typeface="+mn-ea"/>
                <a:cs typeface="+mn-cs"/>
              </a:rPr>
              <a:t>54</a:t>
            </a:r>
            <a:r>
              <a:rPr kumimoji="0" lang="en-US" sz="1999" b="0" i="0" u="none" strike="noStrike" cap="none" normalizeH="0" baseline="0" noProof="0">
                <a:ln>
                  <a:noFill/>
                </a:ln>
                <a:solidFill>
                  <a:srgbClr val="0A091B"/>
                </a:solidFill>
                <a:uLnTx/>
                <a:uFillTx/>
                <a:latin typeface="Calibri Light" panose="020F0302020204030204"/>
                <a:ea typeface="+mn-ea"/>
                <a:cs typeface="+mn-cs"/>
              </a:rPr>
              <a:t> locations in DE</a:t>
            </a:r>
            <a:br>
              <a:rPr kumimoji="0" lang="en-US" sz="1999" b="0" i="0" u="none" strike="noStrike" cap="none" normalizeH="0" baseline="0" noProof="0">
                <a:ln>
                  <a:noFill/>
                </a:ln>
                <a:solidFill>
                  <a:srgbClr val="0A091B"/>
                </a:solidFill>
                <a:uLnTx/>
                <a:uFillTx/>
                <a:latin typeface="Calibri Light" panose="020F0302020204030204"/>
                <a:ea typeface="+mn-ea"/>
                <a:cs typeface="+mn-cs"/>
              </a:rPr>
            </a:br>
            <a:r>
              <a:rPr kumimoji="0" lang="en-US" sz="1999" b="1" i="0" u="none" strike="noStrike" cap="none" normalizeH="0" baseline="0" noProof="0">
                <a:ln>
                  <a:noFill/>
                </a:ln>
                <a:solidFill>
                  <a:srgbClr val="0A091B"/>
                </a:solidFill>
                <a:uLnTx/>
                <a:uFillTx/>
                <a:latin typeface="Calibri Light" panose="020F0302020204030204"/>
                <a:ea typeface="+mn-ea"/>
                <a:cs typeface="+mn-cs"/>
              </a:rPr>
              <a:t>30</a:t>
            </a:r>
            <a:r>
              <a:rPr kumimoji="0" lang="en-US" sz="1999" b="0" i="0" u="none" strike="noStrike" cap="none" normalizeH="0" baseline="0" noProof="0">
                <a:ln>
                  <a:noFill/>
                </a:ln>
                <a:solidFill>
                  <a:srgbClr val="0A091B"/>
                </a:solidFill>
                <a:uLnTx/>
                <a:uFillTx/>
                <a:latin typeface="Calibri Light" panose="020F0302020204030204"/>
                <a:ea typeface="+mn-ea"/>
                <a:cs typeface="+mn-cs"/>
              </a:rPr>
              <a:t> locations in PL</a:t>
            </a:r>
            <a:br>
              <a:rPr kumimoji="0" lang="en-US" sz="1999" b="0" i="0" u="none" strike="noStrike" cap="none" normalizeH="0" baseline="0" noProof="0">
                <a:ln>
                  <a:noFill/>
                </a:ln>
                <a:solidFill>
                  <a:srgbClr val="0A091B"/>
                </a:solidFill>
                <a:uLnTx/>
                <a:uFillTx/>
                <a:latin typeface="Calibri Light" panose="020F0302020204030204"/>
                <a:ea typeface="+mn-ea"/>
                <a:cs typeface="+mn-cs"/>
              </a:rPr>
            </a:br>
            <a:r>
              <a:rPr kumimoji="0" lang="en-US" sz="1999" b="1" i="0" u="none" strike="noStrike" cap="none" normalizeH="0" baseline="0" noProof="0">
                <a:ln>
                  <a:noFill/>
                </a:ln>
                <a:solidFill>
                  <a:srgbClr val="0A091B"/>
                </a:solidFill>
                <a:uLnTx/>
                <a:uFillTx/>
                <a:latin typeface="Calibri Light" panose="020F0302020204030204"/>
                <a:ea typeface="+mn-ea"/>
                <a:cs typeface="+mn-cs"/>
              </a:rPr>
              <a:t>1</a:t>
            </a:r>
            <a:r>
              <a:rPr kumimoji="0" lang="en-US" sz="1999" b="0" i="0" u="none" strike="noStrike" cap="none" normalizeH="0" baseline="0" noProof="0">
                <a:ln>
                  <a:noFill/>
                </a:ln>
                <a:solidFill>
                  <a:srgbClr val="0A091B"/>
                </a:solidFill>
                <a:uLnTx/>
                <a:uFillTx/>
                <a:latin typeface="Calibri Light" panose="020F0302020204030204"/>
                <a:ea typeface="+mn-ea"/>
                <a:cs typeface="+mn-cs"/>
              </a:rPr>
              <a:t> location each in NL, BE, IT, AT, HK</a:t>
            </a:r>
            <a:br>
              <a:rPr kumimoji="0" lang="en-US" sz="1999" b="0" i="0" u="none" strike="noStrike" cap="none" normalizeH="0" baseline="0" noProof="0">
                <a:ln>
                  <a:noFill/>
                </a:ln>
                <a:solidFill>
                  <a:srgbClr val="0A091B"/>
                </a:solidFill>
                <a:uLnTx/>
                <a:uFillTx/>
                <a:latin typeface="Calibri Light" panose="020F0302020204030204"/>
                <a:ea typeface="+mn-ea"/>
                <a:cs typeface="+mn-cs"/>
              </a:rPr>
            </a:br>
            <a:r>
              <a:rPr kumimoji="0" lang="en-US" sz="1999" b="1" i="0" u="none" strike="noStrike" cap="none" normalizeH="0" baseline="0" noProof="0">
                <a:ln>
                  <a:noFill/>
                </a:ln>
                <a:solidFill>
                  <a:srgbClr val="0A091B"/>
                </a:solidFill>
                <a:uLnTx/>
                <a:uFillTx/>
                <a:latin typeface="Calibri Light" panose="020F0302020204030204"/>
                <a:ea typeface="+mn-ea"/>
                <a:cs typeface="+mn-cs"/>
              </a:rPr>
              <a:t>2</a:t>
            </a:r>
            <a:r>
              <a:rPr kumimoji="0" lang="en-US" sz="1999" b="0" i="0" u="none" strike="noStrike" cap="none" normalizeH="0" baseline="0" noProof="0">
                <a:ln>
                  <a:noFill/>
                </a:ln>
                <a:solidFill>
                  <a:srgbClr val="0A091B"/>
                </a:solidFill>
                <a:uLnTx/>
                <a:uFillTx/>
                <a:latin typeface="Calibri Light" panose="020F0302020204030204"/>
                <a:ea typeface="+mn-ea"/>
                <a:cs typeface="+mn-cs"/>
              </a:rPr>
              <a:t> locations in the USA</a:t>
            </a:r>
          </a:p>
          <a:p>
            <a:pPr marL="0" marR="0" lvl="0" indent="0" algn="l" defTabSz="914173" rtl="0" eaLnBrk="1" fontAlgn="auto" latinLnBrk="0" hangingPunct="1">
              <a:lnSpc>
                <a:spcPct val="90000"/>
              </a:lnSpc>
              <a:spcBef>
                <a:spcPts val="1000"/>
              </a:spcBef>
              <a:spcAft>
                <a:spcPts val="0"/>
              </a:spcAft>
              <a:buClr>
                <a:srgbClr val="8FCB18"/>
              </a:buClr>
              <a:buSzTx/>
              <a:buFont typeface="Arial" panose="020B0604020202020204" pitchFamily="34" charset="0"/>
              <a:buNone/>
              <a:tabLst/>
              <a:defRPr/>
            </a:pPr>
            <a:endParaRPr kumimoji="0" lang="de-DE" sz="1999" b="0" i="0" u="none" strike="noStrike" kern="1200" cap="none" spc="0" normalizeH="0" baseline="0" noProof="0">
              <a:ln>
                <a:noFill/>
              </a:ln>
              <a:solidFill>
                <a:srgbClr val="0A091B"/>
              </a:solidFill>
              <a:effectLst/>
              <a:uLnTx/>
              <a:uFillTx/>
              <a:latin typeface="Calibri Light" panose="020F0302020204030204"/>
              <a:ea typeface="+mn-ea"/>
              <a:cs typeface="+mn-cs"/>
            </a:endParaRPr>
          </a:p>
          <a:p>
            <a:pPr marL="0" marR="0" lvl="0" indent="0" algn="l" defTabSz="914173" rtl="0" eaLnBrk="1" fontAlgn="auto" latinLnBrk="0" hangingPunct="1">
              <a:lnSpc>
                <a:spcPct val="90000"/>
              </a:lnSpc>
              <a:spcBef>
                <a:spcPts val="1000"/>
              </a:spcBef>
              <a:spcAft>
                <a:spcPts val="0"/>
              </a:spcAft>
              <a:buClr>
                <a:srgbClr val="8FCB18"/>
              </a:buClr>
              <a:buSzTx/>
              <a:buFont typeface="Arial" panose="020B0604020202020204" pitchFamily="34" charset="0"/>
              <a:buNone/>
              <a:tabLst/>
              <a:defRPr/>
            </a:pPr>
            <a:r>
              <a:rPr kumimoji="0" lang="en-US" sz="1999" b="1" i="0" u="none" strike="noStrike" cap="none" normalizeH="0" baseline="0" noProof="0">
                <a:ln>
                  <a:noFill/>
                </a:ln>
                <a:solidFill>
                  <a:srgbClr val="0A091B"/>
                </a:solidFill>
                <a:uLnTx/>
                <a:uFillTx/>
                <a:latin typeface="Calibri Light" panose="020F0302020204030204"/>
                <a:ea typeface="+mn-ea"/>
                <a:cs typeface="+mn-cs"/>
              </a:rPr>
              <a:t>approx. 3,600</a:t>
            </a:r>
            <a:r>
              <a:rPr kumimoji="0" lang="en-US" sz="1999" b="0" i="0" u="none" strike="noStrike" cap="none" normalizeH="0" baseline="0" noProof="0">
                <a:ln>
                  <a:noFill/>
                </a:ln>
                <a:solidFill>
                  <a:srgbClr val="0A091B"/>
                </a:solidFill>
                <a:uLnTx/>
                <a:uFillTx/>
                <a:latin typeface="Calibri Light" panose="020F0302020204030204"/>
                <a:ea typeface="+mn-ea"/>
                <a:cs typeface="+mn-cs"/>
              </a:rPr>
              <a:t> employees</a:t>
            </a:r>
          </a:p>
          <a:p>
            <a:pPr marL="0" marR="0" lvl="0" indent="0" algn="l" defTabSz="914173" rtl="0" eaLnBrk="1" fontAlgn="auto" latinLnBrk="0" hangingPunct="1">
              <a:lnSpc>
                <a:spcPct val="90000"/>
              </a:lnSpc>
              <a:spcBef>
                <a:spcPts val="1000"/>
              </a:spcBef>
              <a:spcAft>
                <a:spcPts val="0"/>
              </a:spcAft>
              <a:buClr>
                <a:srgbClr val="8FCB18"/>
              </a:buClr>
              <a:buSzTx/>
              <a:buFont typeface="Arial" panose="020B0604020202020204" pitchFamily="34" charset="0"/>
              <a:buNone/>
              <a:tabLst/>
              <a:defRPr/>
            </a:pPr>
            <a:endParaRPr kumimoji="0" lang="de-DE" sz="1999" b="0" i="0" u="none" strike="noStrike" kern="1200" cap="none" spc="0" normalizeH="0" baseline="0" noProof="0">
              <a:ln>
                <a:noFill/>
              </a:ln>
              <a:solidFill>
                <a:srgbClr val="0A091B"/>
              </a:solidFill>
              <a:effectLst/>
              <a:uLnTx/>
              <a:uFillTx/>
              <a:latin typeface="Calibri Light" panose="020F0302020204030204"/>
              <a:ea typeface="+mn-ea"/>
              <a:cs typeface="+mn-cs"/>
            </a:endParaRPr>
          </a:p>
          <a:p>
            <a:pPr marL="0" marR="0" lvl="0" indent="0" algn="l" defTabSz="914173" rtl="0" eaLnBrk="1" fontAlgn="auto" latinLnBrk="0" hangingPunct="1">
              <a:lnSpc>
                <a:spcPct val="90000"/>
              </a:lnSpc>
              <a:spcBef>
                <a:spcPts val="1000"/>
              </a:spcBef>
              <a:spcAft>
                <a:spcPts val="0"/>
              </a:spcAft>
              <a:buClr>
                <a:srgbClr val="8FCB18"/>
              </a:buClr>
              <a:buSzTx/>
              <a:buFont typeface="Arial" panose="020B0604020202020204" pitchFamily="34" charset="0"/>
              <a:buNone/>
              <a:tabLst/>
              <a:defRPr/>
            </a:pPr>
            <a:r>
              <a:rPr kumimoji="0" lang="en-US" sz="1999" b="1" i="0" u="none" strike="noStrike" cap="none" normalizeH="0" baseline="0" noProof="0">
                <a:ln>
                  <a:noFill/>
                </a:ln>
                <a:solidFill>
                  <a:srgbClr val="0A091B"/>
                </a:solidFill>
                <a:uLnTx/>
                <a:uFillTx/>
                <a:latin typeface="Calibri Light" panose="020F0302020204030204"/>
                <a:ea typeface="+mn-ea"/>
                <a:cs typeface="+mn-cs"/>
              </a:rPr>
              <a:t>1,100</a:t>
            </a:r>
            <a:r>
              <a:rPr kumimoji="0" lang="en-US" sz="1999" b="0" i="0" u="none" strike="noStrike" cap="none" normalizeH="0" baseline="0" noProof="0">
                <a:ln>
                  <a:noFill/>
                </a:ln>
                <a:solidFill>
                  <a:srgbClr val="0A091B"/>
                </a:solidFill>
                <a:uLnTx/>
                <a:uFillTx/>
                <a:latin typeface="Calibri Light" panose="020F0302020204030204"/>
                <a:ea typeface="+mn-ea"/>
                <a:cs typeface="+mn-cs"/>
              </a:rPr>
              <a:t> trucks</a:t>
            </a:r>
          </a:p>
        </p:txBody>
      </p:sp>
      <p:grpSp>
        <p:nvGrpSpPr>
          <p:cNvPr id="23" name="Gruppieren 22">
            <a:extLst>
              <a:ext uri="{FF2B5EF4-FFF2-40B4-BE49-F238E27FC236}">
                <a16:creationId xmlns:a16="http://schemas.microsoft.com/office/drawing/2014/main" id="{C01709A3-2C31-4342-B7E9-D0A40A0465E4}"/>
              </a:ext>
            </a:extLst>
          </p:cNvPr>
          <p:cNvGrpSpPr/>
          <p:nvPr/>
        </p:nvGrpSpPr>
        <p:grpSpPr>
          <a:xfrm>
            <a:off x="665865" y="4066186"/>
            <a:ext cx="738909" cy="454184"/>
            <a:chOff x="557806" y="4591385"/>
            <a:chExt cx="445871" cy="274063"/>
          </a:xfrm>
        </p:grpSpPr>
        <p:sp>
          <p:nvSpPr>
            <p:cNvPr id="24" name="Freeform 5">
              <a:extLst>
                <a:ext uri="{FF2B5EF4-FFF2-40B4-BE49-F238E27FC236}">
                  <a16:creationId xmlns:a16="http://schemas.microsoft.com/office/drawing/2014/main" id="{58C32168-021F-495E-9CAA-F351892A775D}"/>
                </a:ext>
              </a:extLst>
            </p:cNvPr>
            <p:cNvSpPr>
              <a:spLocks/>
            </p:cNvSpPr>
            <p:nvPr/>
          </p:nvSpPr>
          <p:spPr bwMode="auto">
            <a:xfrm>
              <a:off x="664042" y="4591385"/>
              <a:ext cx="238481" cy="274063"/>
            </a:xfrm>
            <a:custGeom>
              <a:avLst/>
              <a:gdLst>
                <a:gd name="T0" fmla="*/ 175 w 237"/>
                <a:gd name="T1" fmla="*/ 191 h 271"/>
                <a:gd name="T2" fmla="*/ 130 w 237"/>
                <a:gd name="T3" fmla="*/ 145 h 271"/>
                <a:gd name="T4" fmla="*/ 145 w 237"/>
                <a:gd name="T5" fmla="*/ 110 h 271"/>
                <a:gd name="T6" fmla="*/ 157 w 237"/>
                <a:gd name="T7" fmla="*/ 86 h 271"/>
                <a:gd name="T8" fmla="*/ 153 w 237"/>
                <a:gd name="T9" fmla="*/ 73 h 271"/>
                <a:gd name="T10" fmla="*/ 156 w 237"/>
                <a:gd name="T11" fmla="*/ 49 h 271"/>
                <a:gd name="T12" fmla="*/ 101 w 237"/>
                <a:gd name="T13" fmla="*/ 0 h 271"/>
                <a:gd name="T14" fmla="*/ 46 w 237"/>
                <a:gd name="T15" fmla="*/ 49 h 271"/>
                <a:gd name="T16" fmla="*/ 50 w 237"/>
                <a:gd name="T17" fmla="*/ 73 h 271"/>
                <a:gd name="T18" fmla="*/ 46 w 237"/>
                <a:gd name="T19" fmla="*/ 86 h 271"/>
                <a:gd name="T20" fmla="*/ 58 w 237"/>
                <a:gd name="T21" fmla="*/ 110 h 271"/>
                <a:gd name="T22" fmla="*/ 73 w 237"/>
                <a:gd name="T23" fmla="*/ 145 h 271"/>
                <a:gd name="T24" fmla="*/ 28 w 237"/>
                <a:gd name="T25" fmla="*/ 191 h 271"/>
                <a:gd name="T26" fmla="*/ 0 w 237"/>
                <a:gd name="T27" fmla="*/ 215 h 271"/>
                <a:gd name="T28" fmla="*/ 0 w 237"/>
                <a:gd name="T29" fmla="*/ 271 h 271"/>
                <a:gd name="T30" fmla="*/ 237 w 237"/>
                <a:gd name="T31" fmla="*/ 271 h 271"/>
                <a:gd name="T32" fmla="*/ 237 w 237"/>
                <a:gd name="T33" fmla="*/ 229 h 271"/>
                <a:gd name="T34" fmla="*/ 175 w 237"/>
                <a:gd name="T35" fmla="*/ 19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71">
                  <a:moveTo>
                    <a:pt x="175" y="191"/>
                  </a:moveTo>
                  <a:cubicBezTo>
                    <a:pt x="141" y="178"/>
                    <a:pt x="130" y="167"/>
                    <a:pt x="130" y="145"/>
                  </a:cubicBezTo>
                  <a:cubicBezTo>
                    <a:pt x="130" y="130"/>
                    <a:pt x="140" y="135"/>
                    <a:pt x="145" y="110"/>
                  </a:cubicBezTo>
                  <a:cubicBezTo>
                    <a:pt x="146" y="99"/>
                    <a:pt x="156" y="110"/>
                    <a:pt x="157" y="86"/>
                  </a:cubicBezTo>
                  <a:cubicBezTo>
                    <a:pt x="157" y="76"/>
                    <a:pt x="153" y="73"/>
                    <a:pt x="153" y="73"/>
                  </a:cubicBezTo>
                  <a:cubicBezTo>
                    <a:pt x="153" y="73"/>
                    <a:pt x="155" y="60"/>
                    <a:pt x="156" y="49"/>
                  </a:cubicBezTo>
                  <a:cubicBezTo>
                    <a:pt x="157" y="35"/>
                    <a:pt x="149" y="0"/>
                    <a:pt x="101" y="0"/>
                  </a:cubicBezTo>
                  <a:cubicBezTo>
                    <a:pt x="54" y="0"/>
                    <a:pt x="46" y="35"/>
                    <a:pt x="46" y="49"/>
                  </a:cubicBezTo>
                  <a:cubicBezTo>
                    <a:pt x="48" y="60"/>
                    <a:pt x="50" y="73"/>
                    <a:pt x="50" y="73"/>
                  </a:cubicBezTo>
                  <a:cubicBezTo>
                    <a:pt x="50" y="73"/>
                    <a:pt x="46" y="76"/>
                    <a:pt x="46" y="86"/>
                  </a:cubicBezTo>
                  <a:cubicBezTo>
                    <a:pt x="47" y="110"/>
                    <a:pt x="56" y="99"/>
                    <a:pt x="58" y="110"/>
                  </a:cubicBezTo>
                  <a:cubicBezTo>
                    <a:pt x="62" y="135"/>
                    <a:pt x="73" y="130"/>
                    <a:pt x="73" y="145"/>
                  </a:cubicBezTo>
                  <a:cubicBezTo>
                    <a:pt x="73" y="167"/>
                    <a:pt x="62" y="178"/>
                    <a:pt x="28" y="191"/>
                  </a:cubicBezTo>
                  <a:cubicBezTo>
                    <a:pt x="18" y="194"/>
                    <a:pt x="0" y="201"/>
                    <a:pt x="0" y="215"/>
                  </a:cubicBezTo>
                  <a:cubicBezTo>
                    <a:pt x="0" y="271"/>
                    <a:pt x="0" y="271"/>
                    <a:pt x="0" y="271"/>
                  </a:cubicBezTo>
                  <a:cubicBezTo>
                    <a:pt x="237" y="271"/>
                    <a:pt x="237" y="271"/>
                    <a:pt x="237" y="271"/>
                  </a:cubicBezTo>
                  <a:cubicBezTo>
                    <a:pt x="237" y="271"/>
                    <a:pt x="237" y="238"/>
                    <a:pt x="237" y="229"/>
                  </a:cubicBezTo>
                  <a:cubicBezTo>
                    <a:pt x="237" y="216"/>
                    <a:pt x="209" y="204"/>
                    <a:pt x="175" y="191"/>
                  </a:cubicBezTo>
                  <a:close/>
                </a:path>
              </a:pathLst>
            </a:custGeom>
            <a:solidFill>
              <a:schemeClr val="accent1"/>
            </a:solidFill>
            <a:ln>
              <a:noFill/>
            </a:ln>
          </p:spPr>
          <p:txBody>
            <a:bodyPr vert="horz" wrap="square" lIns="68578" tIns="34289" rIns="68578" bIns="34289"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6507F"/>
                </a:solidFill>
                <a:effectLst/>
                <a:uLnTx/>
                <a:uFillTx/>
                <a:latin typeface="Calibri" panose="020F0502020204030204"/>
                <a:ea typeface="+mn-ea"/>
                <a:cs typeface="+mn-cs"/>
              </a:endParaRPr>
            </a:p>
          </p:txBody>
        </p:sp>
        <p:sp>
          <p:nvSpPr>
            <p:cNvPr id="25" name="Freeform 6">
              <a:extLst>
                <a:ext uri="{FF2B5EF4-FFF2-40B4-BE49-F238E27FC236}">
                  <a16:creationId xmlns:a16="http://schemas.microsoft.com/office/drawing/2014/main" id="{DBAC6168-6AC5-4874-B0CF-06799DF4CF82}"/>
                </a:ext>
              </a:extLst>
            </p:cNvPr>
            <p:cNvSpPr>
              <a:spLocks/>
            </p:cNvSpPr>
            <p:nvPr/>
          </p:nvSpPr>
          <p:spPr bwMode="auto">
            <a:xfrm>
              <a:off x="855420" y="4630779"/>
              <a:ext cx="148257" cy="234669"/>
            </a:xfrm>
            <a:custGeom>
              <a:avLst/>
              <a:gdLst>
                <a:gd name="T0" fmla="*/ 97 w 147"/>
                <a:gd name="T1" fmla="*/ 143 h 232"/>
                <a:gd name="T2" fmla="*/ 64 w 147"/>
                <a:gd name="T3" fmla="*/ 109 h 232"/>
                <a:gd name="T4" fmla="*/ 75 w 147"/>
                <a:gd name="T5" fmla="*/ 82 h 232"/>
                <a:gd name="T6" fmla="*/ 84 w 147"/>
                <a:gd name="T7" fmla="*/ 64 h 232"/>
                <a:gd name="T8" fmla="*/ 81 w 147"/>
                <a:gd name="T9" fmla="*/ 55 h 232"/>
                <a:gd name="T10" fmla="*/ 84 w 147"/>
                <a:gd name="T11" fmla="*/ 37 h 232"/>
                <a:gd name="T12" fmla="*/ 42 w 147"/>
                <a:gd name="T13" fmla="*/ 0 h 232"/>
                <a:gd name="T14" fmla="*/ 1 w 147"/>
                <a:gd name="T15" fmla="*/ 37 h 232"/>
                <a:gd name="T16" fmla="*/ 4 w 147"/>
                <a:gd name="T17" fmla="*/ 55 h 232"/>
                <a:gd name="T18" fmla="*/ 0 w 147"/>
                <a:gd name="T19" fmla="*/ 64 h 232"/>
                <a:gd name="T20" fmla="*/ 10 w 147"/>
                <a:gd name="T21" fmla="*/ 82 h 232"/>
                <a:gd name="T22" fmla="*/ 21 w 147"/>
                <a:gd name="T23" fmla="*/ 109 h 232"/>
                <a:gd name="T24" fmla="*/ 7 w 147"/>
                <a:gd name="T25" fmla="*/ 134 h 232"/>
                <a:gd name="T26" fmla="*/ 70 w 147"/>
                <a:gd name="T27" fmla="*/ 187 h 232"/>
                <a:gd name="T28" fmla="*/ 70 w 147"/>
                <a:gd name="T29" fmla="*/ 232 h 232"/>
                <a:gd name="T30" fmla="*/ 147 w 147"/>
                <a:gd name="T31" fmla="*/ 232 h 232"/>
                <a:gd name="T32" fmla="*/ 142 w 147"/>
                <a:gd name="T33" fmla="*/ 168 h 232"/>
                <a:gd name="T34" fmla="*/ 97 w 147"/>
                <a:gd name="T35" fmla="*/ 14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232">
                  <a:moveTo>
                    <a:pt x="97" y="143"/>
                  </a:moveTo>
                  <a:cubicBezTo>
                    <a:pt x="72" y="133"/>
                    <a:pt x="64" y="126"/>
                    <a:pt x="64" y="109"/>
                  </a:cubicBezTo>
                  <a:cubicBezTo>
                    <a:pt x="64" y="98"/>
                    <a:pt x="72" y="101"/>
                    <a:pt x="75" y="82"/>
                  </a:cubicBezTo>
                  <a:cubicBezTo>
                    <a:pt x="76" y="74"/>
                    <a:pt x="84" y="82"/>
                    <a:pt x="84" y="64"/>
                  </a:cubicBezTo>
                  <a:cubicBezTo>
                    <a:pt x="84" y="57"/>
                    <a:pt x="81" y="55"/>
                    <a:pt x="81" y="55"/>
                  </a:cubicBezTo>
                  <a:cubicBezTo>
                    <a:pt x="81" y="55"/>
                    <a:pt x="83" y="44"/>
                    <a:pt x="84" y="37"/>
                  </a:cubicBezTo>
                  <a:cubicBezTo>
                    <a:pt x="84" y="27"/>
                    <a:pt x="78" y="0"/>
                    <a:pt x="42" y="0"/>
                  </a:cubicBezTo>
                  <a:cubicBezTo>
                    <a:pt x="8" y="0"/>
                    <a:pt x="0" y="27"/>
                    <a:pt x="1" y="37"/>
                  </a:cubicBezTo>
                  <a:cubicBezTo>
                    <a:pt x="2" y="44"/>
                    <a:pt x="4" y="55"/>
                    <a:pt x="4" y="55"/>
                  </a:cubicBezTo>
                  <a:cubicBezTo>
                    <a:pt x="4" y="55"/>
                    <a:pt x="0" y="57"/>
                    <a:pt x="0" y="64"/>
                  </a:cubicBezTo>
                  <a:cubicBezTo>
                    <a:pt x="2" y="82"/>
                    <a:pt x="8" y="74"/>
                    <a:pt x="10" y="82"/>
                  </a:cubicBezTo>
                  <a:cubicBezTo>
                    <a:pt x="13" y="101"/>
                    <a:pt x="21" y="98"/>
                    <a:pt x="21" y="109"/>
                  </a:cubicBezTo>
                  <a:cubicBezTo>
                    <a:pt x="21" y="120"/>
                    <a:pt x="17" y="128"/>
                    <a:pt x="7" y="134"/>
                  </a:cubicBezTo>
                  <a:cubicBezTo>
                    <a:pt x="62" y="159"/>
                    <a:pt x="70" y="164"/>
                    <a:pt x="70" y="187"/>
                  </a:cubicBezTo>
                  <a:cubicBezTo>
                    <a:pt x="70" y="232"/>
                    <a:pt x="70" y="232"/>
                    <a:pt x="70" y="232"/>
                  </a:cubicBezTo>
                  <a:cubicBezTo>
                    <a:pt x="147" y="232"/>
                    <a:pt x="147" y="232"/>
                    <a:pt x="147" y="232"/>
                  </a:cubicBezTo>
                  <a:cubicBezTo>
                    <a:pt x="147" y="232"/>
                    <a:pt x="146" y="174"/>
                    <a:pt x="142" y="168"/>
                  </a:cubicBezTo>
                  <a:cubicBezTo>
                    <a:pt x="137" y="159"/>
                    <a:pt x="123" y="153"/>
                    <a:pt x="97" y="143"/>
                  </a:cubicBezTo>
                  <a:close/>
                </a:path>
              </a:pathLst>
            </a:custGeom>
            <a:solidFill>
              <a:schemeClr val="accent1"/>
            </a:solidFill>
            <a:ln>
              <a:noFill/>
            </a:ln>
          </p:spPr>
          <p:txBody>
            <a:bodyPr vert="horz" wrap="square" lIns="68578" tIns="34289" rIns="68578" bIns="34289"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6507F"/>
                </a:solidFill>
                <a:effectLst/>
                <a:uLnTx/>
                <a:uFillTx/>
                <a:latin typeface="Calibri" panose="020F0502020204030204"/>
                <a:ea typeface="+mn-ea"/>
                <a:cs typeface="+mn-cs"/>
              </a:endParaRPr>
            </a:p>
          </p:txBody>
        </p:sp>
        <p:sp>
          <p:nvSpPr>
            <p:cNvPr id="26" name="Freeform 7">
              <a:extLst>
                <a:ext uri="{FF2B5EF4-FFF2-40B4-BE49-F238E27FC236}">
                  <a16:creationId xmlns:a16="http://schemas.microsoft.com/office/drawing/2014/main" id="{04687D78-6ED8-4FF1-9356-3664DB77FE00}"/>
                </a:ext>
              </a:extLst>
            </p:cNvPr>
            <p:cNvSpPr>
              <a:spLocks/>
            </p:cNvSpPr>
            <p:nvPr/>
          </p:nvSpPr>
          <p:spPr bwMode="auto">
            <a:xfrm>
              <a:off x="557806" y="4630779"/>
              <a:ext cx="146986" cy="234669"/>
            </a:xfrm>
            <a:custGeom>
              <a:avLst/>
              <a:gdLst>
                <a:gd name="T0" fmla="*/ 50 w 146"/>
                <a:gd name="T1" fmla="*/ 143 h 232"/>
                <a:gd name="T2" fmla="*/ 83 w 146"/>
                <a:gd name="T3" fmla="*/ 109 h 232"/>
                <a:gd name="T4" fmla="*/ 72 w 146"/>
                <a:gd name="T5" fmla="*/ 82 h 232"/>
                <a:gd name="T6" fmla="*/ 62 w 146"/>
                <a:gd name="T7" fmla="*/ 64 h 232"/>
                <a:gd name="T8" fmla="*/ 66 w 146"/>
                <a:gd name="T9" fmla="*/ 55 h 232"/>
                <a:gd name="T10" fmla="*/ 63 w 146"/>
                <a:gd name="T11" fmla="*/ 37 h 232"/>
                <a:gd name="T12" fmla="*/ 104 w 146"/>
                <a:gd name="T13" fmla="*/ 0 h 232"/>
                <a:gd name="T14" fmla="*/ 146 w 146"/>
                <a:gd name="T15" fmla="*/ 37 h 232"/>
                <a:gd name="T16" fmla="*/ 142 w 146"/>
                <a:gd name="T17" fmla="*/ 55 h 232"/>
                <a:gd name="T18" fmla="*/ 146 w 146"/>
                <a:gd name="T19" fmla="*/ 64 h 232"/>
                <a:gd name="T20" fmla="*/ 137 w 146"/>
                <a:gd name="T21" fmla="*/ 82 h 232"/>
                <a:gd name="T22" fmla="*/ 126 w 146"/>
                <a:gd name="T23" fmla="*/ 109 h 232"/>
                <a:gd name="T24" fmla="*/ 140 w 146"/>
                <a:gd name="T25" fmla="*/ 134 h 232"/>
                <a:gd name="T26" fmla="*/ 77 w 146"/>
                <a:gd name="T27" fmla="*/ 187 h 232"/>
                <a:gd name="T28" fmla="*/ 77 w 146"/>
                <a:gd name="T29" fmla="*/ 232 h 232"/>
                <a:gd name="T30" fmla="*/ 0 w 146"/>
                <a:gd name="T31" fmla="*/ 232 h 232"/>
                <a:gd name="T32" fmla="*/ 5 w 146"/>
                <a:gd name="T33" fmla="*/ 168 h 232"/>
                <a:gd name="T34" fmla="*/ 50 w 146"/>
                <a:gd name="T35" fmla="*/ 14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6" h="232">
                  <a:moveTo>
                    <a:pt x="50" y="143"/>
                  </a:moveTo>
                  <a:cubicBezTo>
                    <a:pt x="75" y="133"/>
                    <a:pt x="83" y="126"/>
                    <a:pt x="83" y="109"/>
                  </a:cubicBezTo>
                  <a:cubicBezTo>
                    <a:pt x="83" y="98"/>
                    <a:pt x="75" y="101"/>
                    <a:pt x="72" y="82"/>
                  </a:cubicBezTo>
                  <a:cubicBezTo>
                    <a:pt x="70" y="74"/>
                    <a:pt x="63" y="82"/>
                    <a:pt x="62" y="64"/>
                  </a:cubicBezTo>
                  <a:cubicBezTo>
                    <a:pt x="62" y="57"/>
                    <a:pt x="66" y="55"/>
                    <a:pt x="66" y="55"/>
                  </a:cubicBezTo>
                  <a:cubicBezTo>
                    <a:pt x="66" y="55"/>
                    <a:pt x="64" y="44"/>
                    <a:pt x="63" y="37"/>
                  </a:cubicBezTo>
                  <a:cubicBezTo>
                    <a:pt x="62" y="27"/>
                    <a:pt x="69" y="0"/>
                    <a:pt x="104" y="0"/>
                  </a:cubicBezTo>
                  <a:cubicBezTo>
                    <a:pt x="139" y="0"/>
                    <a:pt x="146" y="27"/>
                    <a:pt x="146" y="37"/>
                  </a:cubicBezTo>
                  <a:cubicBezTo>
                    <a:pt x="145" y="44"/>
                    <a:pt x="142" y="55"/>
                    <a:pt x="142" y="55"/>
                  </a:cubicBezTo>
                  <a:cubicBezTo>
                    <a:pt x="142" y="55"/>
                    <a:pt x="146" y="57"/>
                    <a:pt x="146" y="64"/>
                  </a:cubicBezTo>
                  <a:cubicBezTo>
                    <a:pt x="145" y="82"/>
                    <a:pt x="138" y="74"/>
                    <a:pt x="137" y="82"/>
                  </a:cubicBezTo>
                  <a:cubicBezTo>
                    <a:pt x="134" y="101"/>
                    <a:pt x="126" y="98"/>
                    <a:pt x="126" y="109"/>
                  </a:cubicBezTo>
                  <a:cubicBezTo>
                    <a:pt x="126" y="120"/>
                    <a:pt x="130" y="128"/>
                    <a:pt x="140" y="134"/>
                  </a:cubicBezTo>
                  <a:cubicBezTo>
                    <a:pt x="85" y="159"/>
                    <a:pt x="77" y="164"/>
                    <a:pt x="77" y="187"/>
                  </a:cubicBezTo>
                  <a:cubicBezTo>
                    <a:pt x="77" y="232"/>
                    <a:pt x="77" y="232"/>
                    <a:pt x="77" y="232"/>
                  </a:cubicBezTo>
                  <a:cubicBezTo>
                    <a:pt x="0" y="232"/>
                    <a:pt x="0" y="232"/>
                    <a:pt x="0" y="232"/>
                  </a:cubicBezTo>
                  <a:cubicBezTo>
                    <a:pt x="0" y="232"/>
                    <a:pt x="1" y="174"/>
                    <a:pt x="5" y="168"/>
                  </a:cubicBezTo>
                  <a:cubicBezTo>
                    <a:pt x="10" y="159"/>
                    <a:pt x="24" y="153"/>
                    <a:pt x="50" y="143"/>
                  </a:cubicBezTo>
                  <a:close/>
                </a:path>
              </a:pathLst>
            </a:custGeom>
            <a:solidFill>
              <a:schemeClr val="accent1"/>
            </a:solidFill>
            <a:ln>
              <a:noFill/>
            </a:ln>
          </p:spPr>
          <p:txBody>
            <a:bodyPr vert="horz" wrap="square" lIns="68578" tIns="34289" rIns="68578" bIns="34289"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6507F"/>
                </a:solidFill>
                <a:effectLst/>
                <a:uLnTx/>
                <a:uFillTx/>
                <a:latin typeface="Calibri" panose="020F0502020204030204"/>
                <a:ea typeface="+mn-ea"/>
                <a:cs typeface="+mn-cs"/>
              </a:endParaRPr>
            </a:p>
          </p:txBody>
        </p:sp>
      </p:grpSp>
      <p:grpSp>
        <p:nvGrpSpPr>
          <p:cNvPr id="27" name="Gruppieren 26">
            <a:extLst>
              <a:ext uri="{FF2B5EF4-FFF2-40B4-BE49-F238E27FC236}">
                <a16:creationId xmlns:a16="http://schemas.microsoft.com/office/drawing/2014/main" id="{659DF33D-33AC-4CF0-81DF-53B37B535901}"/>
              </a:ext>
            </a:extLst>
          </p:cNvPr>
          <p:cNvGrpSpPr/>
          <p:nvPr/>
        </p:nvGrpSpPr>
        <p:grpSpPr>
          <a:xfrm>
            <a:off x="659095" y="4927331"/>
            <a:ext cx="790708" cy="471749"/>
            <a:chOff x="635169" y="5146694"/>
            <a:chExt cx="368508" cy="300923"/>
          </a:xfrm>
        </p:grpSpPr>
        <p:sp>
          <p:nvSpPr>
            <p:cNvPr id="28" name="Freihandform: Form 27">
              <a:extLst>
                <a:ext uri="{FF2B5EF4-FFF2-40B4-BE49-F238E27FC236}">
                  <a16:creationId xmlns:a16="http://schemas.microsoft.com/office/drawing/2014/main" id="{C6EFFBDA-6F68-49CA-931D-D349FD60DBAF}"/>
                </a:ext>
              </a:extLst>
            </p:cNvPr>
            <p:cNvSpPr/>
            <p:nvPr/>
          </p:nvSpPr>
          <p:spPr>
            <a:xfrm>
              <a:off x="635169" y="5181117"/>
              <a:ext cx="40721" cy="102099"/>
            </a:xfrm>
            <a:custGeom>
              <a:avLst/>
              <a:gdLst>
                <a:gd name="connsiteX0" fmla="*/ 289680 w 310844"/>
                <a:gd name="connsiteY0" fmla="*/ 33305 h 577282"/>
                <a:gd name="connsiteX1" fmla="*/ 155595 w 310844"/>
                <a:gd name="connsiteY1" fmla="*/ 33305 h 577282"/>
                <a:gd name="connsiteX2" fmla="*/ 33305 w 310844"/>
                <a:gd name="connsiteY2" fmla="*/ 383698 h 577282"/>
                <a:gd name="connsiteX3" fmla="*/ 102516 w 310844"/>
                <a:gd name="connsiteY3" fmla="*/ 569476 h 577282"/>
              </a:gdLst>
              <a:ahLst/>
              <a:cxnLst>
                <a:cxn ang="0">
                  <a:pos x="connsiteX0" y="connsiteY0"/>
                </a:cxn>
                <a:cxn ang="0">
                  <a:pos x="connsiteX1" y="connsiteY1"/>
                </a:cxn>
                <a:cxn ang="0">
                  <a:pos x="connsiteX2" y="connsiteY2"/>
                </a:cxn>
                <a:cxn ang="0">
                  <a:pos x="connsiteX3" y="connsiteY3"/>
                </a:cxn>
              </a:cxnLst>
              <a:rect l="l" t="t" r="r" b="b"/>
              <a:pathLst>
                <a:path w="310844" h="577282">
                  <a:moveTo>
                    <a:pt x="289680" y="33305"/>
                  </a:moveTo>
                  <a:lnTo>
                    <a:pt x="155595" y="33305"/>
                  </a:lnTo>
                  <a:lnTo>
                    <a:pt x="33305" y="383698"/>
                  </a:lnTo>
                  <a:cubicBezTo>
                    <a:pt x="59846" y="439725"/>
                    <a:pt x="83089" y="501303"/>
                    <a:pt x="102516" y="569476"/>
                  </a:cubicBezTo>
                  <a:close/>
                </a:path>
              </a:pathLst>
            </a:custGeom>
            <a:solidFill>
              <a:schemeClr val="accent1"/>
            </a:solidFill>
            <a:ln w="9525" cap="flat">
              <a:noFill/>
              <a:prstDash val="solid"/>
              <a:miter/>
            </a:ln>
          </p:spPr>
          <p:txBody>
            <a:bodyPr rtlCol="0" anchor="ctr"/>
            <a:lstStyle/>
            <a:p>
              <a:pPr marL="0" marR="0" lvl="0" indent="0" algn="l" defTabSz="91399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A091B"/>
                </a:solidFill>
                <a:effectLst/>
                <a:uLnTx/>
                <a:uFillTx/>
                <a:latin typeface="Calibri" panose="020F0502020204030204"/>
                <a:ea typeface="+mn-ea"/>
                <a:cs typeface="+mn-cs"/>
              </a:endParaRPr>
            </a:p>
          </p:txBody>
        </p:sp>
        <p:sp>
          <p:nvSpPr>
            <p:cNvPr id="29" name="Freihandform: Form 28">
              <a:extLst>
                <a:ext uri="{FF2B5EF4-FFF2-40B4-BE49-F238E27FC236}">
                  <a16:creationId xmlns:a16="http://schemas.microsoft.com/office/drawing/2014/main" id="{39192C6D-6FF2-40A2-AA1D-5D1665EAB60A}"/>
                </a:ext>
              </a:extLst>
            </p:cNvPr>
            <p:cNvSpPr/>
            <p:nvPr/>
          </p:nvSpPr>
          <p:spPr>
            <a:xfrm>
              <a:off x="646282" y="5146694"/>
              <a:ext cx="331584" cy="243466"/>
            </a:xfrm>
            <a:custGeom>
              <a:avLst/>
              <a:gdLst>
                <a:gd name="connsiteX0" fmla="*/ 1465415 w 2531162"/>
                <a:gd name="connsiteY0" fmla="*/ 33305 h 1376597"/>
                <a:gd name="connsiteX1" fmla="*/ 308762 w 2531162"/>
                <a:gd name="connsiteY1" fmla="*/ 33305 h 1376597"/>
                <a:gd name="connsiteX2" fmla="*/ 33305 w 2531162"/>
                <a:gd name="connsiteY2" fmla="*/ 822539 h 1376597"/>
                <a:gd name="connsiteX3" fmla="*/ 98875 w 2531162"/>
                <a:gd name="connsiteY3" fmla="*/ 1371357 h 1376597"/>
                <a:gd name="connsiteX4" fmla="*/ 371211 w 2531162"/>
                <a:gd name="connsiteY4" fmla="*/ 1371357 h 1376597"/>
                <a:gd name="connsiteX5" fmla="*/ 622382 w 2531162"/>
                <a:gd name="connsiteY5" fmla="*/ 1172395 h 1376597"/>
                <a:gd name="connsiteX6" fmla="*/ 873553 w 2531162"/>
                <a:gd name="connsiteY6" fmla="*/ 1371357 h 1376597"/>
                <a:gd name="connsiteX7" fmla="*/ 1835217 w 2531162"/>
                <a:gd name="connsiteY7" fmla="*/ 1371357 h 1376597"/>
                <a:gd name="connsiteX8" fmla="*/ 2086389 w 2531162"/>
                <a:gd name="connsiteY8" fmla="*/ 1172395 h 1376597"/>
                <a:gd name="connsiteX9" fmla="*/ 2337560 w 2531162"/>
                <a:gd name="connsiteY9" fmla="*/ 1371357 h 1376597"/>
                <a:gd name="connsiteX10" fmla="*/ 2523165 w 2531162"/>
                <a:gd name="connsiteY10" fmla="*/ 1371357 h 1376597"/>
                <a:gd name="connsiteX11" fmla="*/ 2523165 w 2531162"/>
                <a:gd name="connsiteY11" fmla="*/ 1043168 h 1376597"/>
                <a:gd name="connsiteX12" fmla="*/ 2523511 w 2531162"/>
                <a:gd name="connsiteY12" fmla="*/ 704916 h 1376597"/>
                <a:gd name="connsiteX13" fmla="*/ 2326631 w 2531162"/>
                <a:gd name="connsiteY13" fmla="*/ 335788 h 1376597"/>
                <a:gd name="connsiteX14" fmla="*/ 1576075 w 2531162"/>
                <a:gd name="connsiteY14" fmla="*/ 335788 h 1376597"/>
                <a:gd name="connsiteX15" fmla="*/ 1576075 w 2531162"/>
                <a:gd name="connsiteY15" fmla="*/ 1043359 h 1376597"/>
                <a:gd name="connsiteX16" fmla="*/ 1465406 w 2531162"/>
                <a:gd name="connsiteY16" fmla="*/ 1043359 h 1376597"/>
                <a:gd name="connsiteX17" fmla="*/ 2449637 w 2531162"/>
                <a:gd name="connsiteY17" fmla="*/ 723335 h 1376597"/>
                <a:gd name="connsiteX18" fmla="*/ 2000555 w 2531162"/>
                <a:gd name="connsiteY18" fmla="*/ 723335 h 1376597"/>
                <a:gd name="connsiteX19" fmla="*/ 2000555 w 2531162"/>
                <a:gd name="connsiteY19" fmla="*/ 409715 h 1376597"/>
                <a:gd name="connsiteX20" fmla="*/ 2282434 w 2531162"/>
                <a:gd name="connsiteY20" fmla="*/ 409715 h 1376597"/>
                <a:gd name="connsiteX21" fmla="*/ 1649967 w 2531162"/>
                <a:gd name="connsiteY21" fmla="*/ 409715 h 1376597"/>
                <a:gd name="connsiteX22" fmla="*/ 1937045 w 2531162"/>
                <a:gd name="connsiteY22" fmla="*/ 409715 h 1376597"/>
                <a:gd name="connsiteX23" fmla="*/ 1937045 w 2531162"/>
                <a:gd name="connsiteY23" fmla="*/ 723509 h 1376597"/>
                <a:gd name="connsiteX24" fmla="*/ 1649967 w 2531162"/>
                <a:gd name="connsiteY24" fmla="*/ 723509 h 1376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31162" h="1376597">
                  <a:moveTo>
                    <a:pt x="1465415" y="33305"/>
                  </a:moveTo>
                  <a:lnTo>
                    <a:pt x="308762" y="33305"/>
                  </a:lnTo>
                  <a:lnTo>
                    <a:pt x="33305" y="822539"/>
                  </a:lnTo>
                  <a:cubicBezTo>
                    <a:pt x="70948" y="976052"/>
                    <a:pt x="92627" y="1158535"/>
                    <a:pt x="98875" y="1371357"/>
                  </a:cubicBezTo>
                  <a:lnTo>
                    <a:pt x="371211" y="1371357"/>
                  </a:lnTo>
                  <a:cubicBezTo>
                    <a:pt x="398099" y="1257393"/>
                    <a:pt x="500264" y="1172395"/>
                    <a:pt x="622382" y="1172395"/>
                  </a:cubicBezTo>
                  <a:cubicBezTo>
                    <a:pt x="744499" y="1172395"/>
                    <a:pt x="846670" y="1257220"/>
                    <a:pt x="873553" y="1371357"/>
                  </a:cubicBezTo>
                  <a:lnTo>
                    <a:pt x="1835217" y="1371357"/>
                  </a:lnTo>
                  <a:cubicBezTo>
                    <a:pt x="1862105" y="1257393"/>
                    <a:pt x="1964271" y="1172395"/>
                    <a:pt x="2086389" y="1172395"/>
                  </a:cubicBezTo>
                  <a:cubicBezTo>
                    <a:pt x="2208506" y="1172395"/>
                    <a:pt x="2310676" y="1257220"/>
                    <a:pt x="2337560" y="1371357"/>
                  </a:cubicBezTo>
                  <a:lnTo>
                    <a:pt x="2523165" y="1371357"/>
                  </a:lnTo>
                  <a:lnTo>
                    <a:pt x="2523165" y="1043168"/>
                  </a:lnTo>
                  <a:lnTo>
                    <a:pt x="2523511" y="704916"/>
                  </a:lnTo>
                  <a:lnTo>
                    <a:pt x="2326631" y="335788"/>
                  </a:lnTo>
                  <a:lnTo>
                    <a:pt x="1576075" y="335788"/>
                  </a:lnTo>
                  <a:lnTo>
                    <a:pt x="1576075" y="1043359"/>
                  </a:lnTo>
                  <a:lnTo>
                    <a:pt x="1465406" y="1043359"/>
                  </a:lnTo>
                  <a:close/>
                  <a:moveTo>
                    <a:pt x="2449637" y="723335"/>
                  </a:moveTo>
                  <a:lnTo>
                    <a:pt x="2000555" y="723335"/>
                  </a:lnTo>
                  <a:lnTo>
                    <a:pt x="2000555" y="409715"/>
                  </a:lnTo>
                  <a:lnTo>
                    <a:pt x="2282434" y="409715"/>
                  </a:lnTo>
                  <a:close/>
                  <a:moveTo>
                    <a:pt x="1649967" y="409715"/>
                  </a:moveTo>
                  <a:lnTo>
                    <a:pt x="1937045" y="409715"/>
                  </a:lnTo>
                  <a:lnTo>
                    <a:pt x="1937045" y="723509"/>
                  </a:lnTo>
                  <a:lnTo>
                    <a:pt x="1649967" y="723509"/>
                  </a:lnTo>
                  <a:close/>
                </a:path>
              </a:pathLst>
            </a:custGeom>
            <a:solidFill>
              <a:schemeClr val="accent1"/>
            </a:solidFill>
            <a:ln w="9525" cap="flat">
              <a:noFill/>
              <a:prstDash val="solid"/>
              <a:miter/>
            </a:ln>
          </p:spPr>
          <p:txBody>
            <a:bodyPr rtlCol="0" anchor="ctr"/>
            <a:lstStyle/>
            <a:p>
              <a:pPr marL="0" marR="0" lvl="0" indent="0" algn="l" defTabSz="91399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A091B"/>
                </a:solidFill>
                <a:effectLst/>
                <a:uLnTx/>
                <a:uFillTx/>
                <a:latin typeface="Calibri" panose="020F0502020204030204"/>
                <a:ea typeface="+mn-ea"/>
                <a:cs typeface="+mn-cs"/>
              </a:endParaRPr>
            </a:p>
          </p:txBody>
        </p:sp>
        <p:sp>
          <p:nvSpPr>
            <p:cNvPr id="30" name="Freihandform: Form 29">
              <a:extLst>
                <a:ext uri="{FF2B5EF4-FFF2-40B4-BE49-F238E27FC236}">
                  <a16:creationId xmlns:a16="http://schemas.microsoft.com/office/drawing/2014/main" id="{8563BCBE-AA06-4D32-9BA6-41B3B6EB78F4}"/>
                </a:ext>
              </a:extLst>
            </p:cNvPr>
            <p:cNvSpPr/>
            <p:nvPr/>
          </p:nvSpPr>
          <p:spPr>
            <a:xfrm>
              <a:off x="654641" y="5361226"/>
              <a:ext cx="349036" cy="86391"/>
            </a:xfrm>
            <a:custGeom>
              <a:avLst/>
              <a:gdLst>
                <a:gd name="connsiteX0" fmla="*/ 2207489 w 2664381"/>
                <a:gd name="connsiteY0" fmla="*/ 217867 h 488469"/>
                <a:gd name="connsiteX1" fmla="*/ 2022927 w 2664381"/>
                <a:gd name="connsiteY1" fmla="*/ 33305 h 488469"/>
                <a:gd name="connsiteX2" fmla="*/ 1838366 w 2664381"/>
                <a:gd name="connsiteY2" fmla="*/ 217867 h 488469"/>
                <a:gd name="connsiteX3" fmla="*/ 1959098 w 2664381"/>
                <a:gd name="connsiteY3" fmla="*/ 390807 h 488469"/>
                <a:gd name="connsiteX4" fmla="*/ 622733 w 2664381"/>
                <a:gd name="connsiteY4" fmla="*/ 390807 h 488469"/>
                <a:gd name="connsiteX5" fmla="*/ 743465 w 2664381"/>
                <a:gd name="connsiteY5" fmla="*/ 217867 h 488469"/>
                <a:gd name="connsiteX6" fmla="*/ 558903 w 2664381"/>
                <a:gd name="connsiteY6" fmla="*/ 33305 h 488469"/>
                <a:gd name="connsiteX7" fmla="*/ 374341 w 2664381"/>
                <a:gd name="connsiteY7" fmla="*/ 217867 h 488469"/>
                <a:gd name="connsiteX8" fmla="*/ 495073 w 2664381"/>
                <a:gd name="connsiteY8" fmla="*/ 390807 h 488469"/>
                <a:gd name="connsiteX9" fmla="*/ 35734 w 2664381"/>
                <a:gd name="connsiteY9" fmla="*/ 390807 h 488469"/>
                <a:gd name="connsiteX10" fmla="*/ 33305 w 2664381"/>
                <a:gd name="connsiteY10" fmla="*/ 473723 h 488469"/>
                <a:gd name="connsiteX11" fmla="*/ 2674107 w 2664381"/>
                <a:gd name="connsiteY11" fmla="*/ 473723 h 488469"/>
                <a:gd name="connsiteX12" fmla="*/ 2674107 w 2664381"/>
                <a:gd name="connsiteY12" fmla="*/ 390807 h 488469"/>
                <a:gd name="connsiteX13" fmla="*/ 2086744 w 2664381"/>
                <a:gd name="connsiteY13" fmla="*/ 390807 h 488469"/>
                <a:gd name="connsiteX14" fmla="*/ 2207476 w 2664381"/>
                <a:gd name="connsiteY14" fmla="*/ 217867 h 48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64381" h="488469">
                  <a:moveTo>
                    <a:pt x="2207489" y="217867"/>
                  </a:moveTo>
                  <a:cubicBezTo>
                    <a:pt x="2207489" y="116043"/>
                    <a:pt x="2124747" y="33305"/>
                    <a:pt x="2022927" y="33305"/>
                  </a:cubicBezTo>
                  <a:cubicBezTo>
                    <a:pt x="1921104" y="33305"/>
                    <a:pt x="1838366" y="116047"/>
                    <a:pt x="1838366" y="217867"/>
                  </a:cubicBezTo>
                  <a:cubicBezTo>
                    <a:pt x="1838366" y="297141"/>
                    <a:pt x="1888669" y="364789"/>
                    <a:pt x="1959098" y="390807"/>
                  </a:cubicBezTo>
                  <a:lnTo>
                    <a:pt x="622733" y="390807"/>
                  </a:lnTo>
                  <a:cubicBezTo>
                    <a:pt x="692983" y="364789"/>
                    <a:pt x="743465" y="297136"/>
                    <a:pt x="743465" y="217867"/>
                  </a:cubicBezTo>
                  <a:cubicBezTo>
                    <a:pt x="743465" y="116043"/>
                    <a:pt x="660722" y="33305"/>
                    <a:pt x="558903" y="33305"/>
                  </a:cubicBezTo>
                  <a:cubicBezTo>
                    <a:pt x="457079" y="33305"/>
                    <a:pt x="374341" y="116047"/>
                    <a:pt x="374341" y="217867"/>
                  </a:cubicBezTo>
                  <a:cubicBezTo>
                    <a:pt x="374341" y="297141"/>
                    <a:pt x="424645" y="364789"/>
                    <a:pt x="495073" y="390807"/>
                  </a:cubicBezTo>
                  <a:lnTo>
                    <a:pt x="35734" y="390807"/>
                  </a:lnTo>
                  <a:cubicBezTo>
                    <a:pt x="35214" y="418041"/>
                    <a:pt x="34348" y="445622"/>
                    <a:pt x="33305" y="473723"/>
                  </a:cubicBezTo>
                  <a:lnTo>
                    <a:pt x="2674107" y="473723"/>
                  </a:lnTo>
                  <a:lnTo>
                    <a:pt x="2674107" y="390807"/>
                  </a:lnTo>
                  <a:lnTo>
                    <a:pt x="2086744" y="390807"/>
                  </a:lnTo>
                  <a:cubicBezTo>
                    <a:pt x="2156995" y="364789"/>
                    <a:pt x="2207476" y="297136"/>
                    <a:pt x="2207476" y="217867"/>
                  </a:cubicBezTo>
                  <a:close/>
                </a:path>
              </a:pathLst>
            </a:custGeom>
            <a:solidFill>
              <a:schemeClr val="accent1"/>
            </a:solidFill>
            <a:ln w="9525" cap="flat">
              <a:noFill/>
              <a:prstDash val="solid"/>
              <a:miter/>
            </a:ln>
          </p:spPr>
          <p:txBody>
            <a:bodyPr rtlCol="0" anchor="ctr"/>
            <a:lstStyle/>
            <a:p>
              <a:pPr marL="0" marR="0" lvl="0" indent="0" algn="l" defTabSz="913990" rtl="0" eaLnBrk="1" fontAlgn="auto" latinLnBrk="0" hangingPunct="1">
                <a:lnSpc>
                  <a:spcPct val="100000"/>
                </a:lnSpc>
                <a:spcBef>
                  <a:spcPts val="0"/>
                </a:spcBef>
                <a:spcAft>
                  <a:spcPts val="0"/>
                </a:spcAft>
                <a:buClrTx/>
                <a:buSzTx/>
                <a:buFontTx/>
                <a:buNone/>
                <a:tabLst/>
                <a:defRPr/>
              </a:pPr>
              <a:endParaRPr kumimoji="0" lang="de-DE" sz="1799" b="0" i="0" u="none" strike="noStrike" kern="1200" cap="none" spc="0" normalizeH="0" baseline="0" noProof="0">
                <a:ln>
                  <a:noFill/>
                </a:ln>
                <a:solidFill>
                  <a:srgbClr val="0A091B"/>
                </a:solidFill>
                <a:effectLst/>
                <a:uLnTx/>
                <a:uFillTx/>
                <a:latin typeface="Calibri" panose="020F0502020204030204"/>
                <a:ea typeface="+mn-ea"/>
                <a:cs typeface="+mn-cs"/>
              </a:endParaRPr>
            </a:p>
          </p:txBody>
        </p:sp>
      </p:grpSp>
      <p:sp>
        <p:nvSpPr>
          <p:cNvPr id="31" name="Freeform 25">
            <a:extLst>
              <a:ext uri="{FF2B5EF4-FFF2-40B4-BE49-F238E27FC236}">
                <a16:creationId xmlns:a16="http://schemas.microsoft.com/office/drawing/2014/main" id="{E0CD8428-5469-457D-8F7C-D2211C0C46B8}"/>
              </a:ext>
            </a:extLst>
          </p:cNvPr>
          <p:cNvSpPr>
            <a:spLocks noChangeAspect="1" noEditPoints="1"/>
          </p:cNvSpPr>
          <p:nvPr/>
        </p:nvSpPr>
        <p:spPr bwMode="auto">
          <a:xfrm>
            <a:off x="885272" y="2943868"/>
            <a:ext cx="263979" cy="424410"/>
          </a:xfrm>
          <a:custGeom>
            <a:avLst/>
            <a:gdLst>
              <a:gd name="T0" fmla="*/ 127 w 254"/>
              <a:gd name="T1" fmla="*/ 0 h 407"/>
              <a:gd name="T2" fmla="*/ 0 w 254"/>
              <a:gd name="T3" fmla="*/ 127 h 407"/>
              <a:gd name="T4" fmla="*/ 127 w 254"/>
              <a:gd name="T5" fmla="*/ 407 h 407"/>
              <a:gd name="T6" fmla="*/ 254 w 254"/>
              <a:gd name="T7" fmla="*/ 127 h 407"/>
              <a:gd name="T8" fmla="*/ 127 w 254"/>
              <a:gd name="T9" fmla="*/ 0 h 407"/>
              <a:gd name="T10" fmla="*/ 127 w 254"/>
              <a:gd name="T11" fmla="*/ 197 h 407"/>
              <a:gd name="T12" fmla="*/ 58 w 254"/>
              <a:gd name="T13" fmla="*/ 129 h 407"/>
              <a:gd name="T14" fmla="*/ 127 w 254"/>
              <a:gd name="T15" fmla="*/ 60 h 407"/>
              <a:gd name="T16" fmla="*/ 196 w 254"/>
              <a:gd name="T17" fmla="*/ 129 h 407"/>
              <a:gd name="T18" fmla="*/ 127 w 254"/>
              <a:gd name="T19" fmla="*/ 19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407">
                <a:moveTo>
                  <a:pt x="127" y="0"/>
                </a:moveTo>
                <a:cubicBezTo>
                  <a:pt x="57" y="0"/>
                  <a:pt x="0" y="57"/>
                  <a:pt x="0" y="127"/>
                </a:cubicBezTo>
                <a:cubicBezTo>
                  <a:pt x="0" y="249"/>
                  <a:pt x="127" y="407"/>
                  <a:pt x="127" y="407"/>
                </a:cubicBezTo>
                <a:cubicBezTo>
                  <a:pt x="127" y="407"/>
                  <a:pt x="254" y="249"/>
                  <a:pt x="254" y="127"/>
                </a:cubicBezTo>
                <a:cubicBezTo>
                  <a:pt x="254" y="57"/>
                  <a:pt x="197" y="0"/>
                  <a:pt x="127" y="0"/>
                </a:cubicBezTo>
                <a:close/>
                <a:moveTo>
                  <a:pt x="127" y="197"/>
                </a:moveTo>
                <a:cubicBezTo>
                  <a:pt x="89" y="197"/>
                  <a:pt x="58" y="167"/>
                  <a:pt x="58" y="129"/>
                </a:cubicBezTo>
                <a:cubicBezTo>
                  <a:pt x="58" y="91"/>
                  <a:pt x="89" y="60"/>
                  <a:pt x="127" y="60"/>
                </a:cubicBezTo>
                <a:cubicBezTo>
                  <a:pt x="165" y="60"/>
                  <a:pt x="196" y="91"/>
                  <a:pt x="196" y="129"/>
                </a:cubicBezTo>
                <a:cubicBezTo>
                  <a:pt x="196" y="167"/>
                  <a:pt x="165" y="197"/>
                  <a:pt x="127" y="197"/>
                </a:cubicBezTo>
                <a:close/>
              </a:path>
            </a:pathLst>
          </a:custGeom>
          <a:solidFill>
            <a:schemeClr val="accent1"/>
          </a:solidFill>
          <a:ln>
            <a:noFill/>
          </a:ln>
        </p:spPr>
        <p:txBody>
          <a:bodyPr vert="horz" wrap="square" lIns="68578" tIns="34289" rIns="68578" bIns="34289"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6507F"/>
              </a:solidFill>
              <a:effectLst/>
              <a:uLnTx/>
              <a:uFillTx/>
              <a:latin typeface="Calibri" panose="020F0502020204030204"/>
              <a:ea typeface="+mn-ea"/>
              <a:cs typeface="+mn-cs"/>
            </a:endParaRPr>
          </a:p>
        </p:txBody>
      </p:sp>
      <p:grpSp>
        <p:nvGrpSpPr>
          <p:cNvPr id="5" name="Gruppieren 4">
            <a:extLst>
              <a:ext uri="{FF2B5EF4-FFF2-40B4-BE49-F238E27FC236}">
                <a16:creationId xmlns:a16="http://schemas.microsoft.com/office/drawing/2014/main" id="{58D5FC21-ECB9-4FA9-9333-928E6F18FA3B}"/>
              </a:ext>
            </a:extLst>
          </p:cNvPr>
          <p:cNvGrpSpPr/>
          <p:nvPr/>
        </p:nvGrpSpPr>
        <p:grpSpPr>
          <a:xfrm>
            <a:off x="603991" y="1975682"/>
            <a:ext cx="780084" cy="461546"/>
            <a:chOff x="557806" y="1905000"/>
            <a:chExt cx="905753" cy="535899"/>
          </a:xfrm>
        </p:grpSpPr>
        <p:sp>
          <p:nvSpPr>
            <p:cNvPr id="32" name="Freeform 1274">
              <a:extLst>
                <a:ext uri="{FF2B5EF4-FFF2-40B4-BE49-F238E27FC236}">
                  <a16:creationId xmlns:a16="http://schemas.microsoft.com/office/drawing/2014/main" id="{36CE7DD8-1B5A-44B0-9BB4-76380CC041C4}"/>
                </a:ext>
              </a:extLst>
            </p:cNvPr>
            <p:cNvSpPr>
              <a:spLocks noEditPoints="1"/>
            </p:cNvSpPr>
            <p:nvPr/>
          </p:nvSpPr>
          <p:spPr bwMode="auto">
            <a:xfrm>
              <a:off x="689895" y="2037087"/>
              <a:ext cx="773664" cy="403812"/>
            </a:xfrm>
            <a:custGeom>
              <a:avLst/>
              <a:gdLst>
                <a:gd name="T0" fmla="*/ 0 w 288"/>
                <a:gd name="T1" fmla="*/ 151 h 151"/>
                <a:gd name="T2" fmla="*/ 0 w 288"/>
                <a:gd name="T3" fmla="*/ 0 h 151"/>
                <a:gd name="T4" fmla="*/ 288 w 288"/>
                <a:gd name="T5" fmla="*/ 0 h 151"/>
                <a:gd name="T6" fmla="*/ 288 w 288"/>
                <a:gd name="T7" fmla="*/ 151 h 151"/>
                <a:gd name="T8" fmla="*/ 0 w 288"/>
                <a:gd name="T9" fmla="*/ 151 h 151"/>
                <a:gd name="T10" fmla="*/ 144 w 288"/>
                <a:gd name="T11" fmla="*/ 20 h 151"/>
                <a:gd name="T12" fmla="*/ 89 w 288"/>
                <a:gd name="T13" fmla="*/ 75 h 151"/>
                <a:gd name="T14" fmla="*/ 144 w 288"/>
                <a:gd name="T15" fmla="*/ 131 h 151"/>
                <a:gd name="T16" fmla="*/ 200 w 288"/>
                <a:gd name="T17" fmla="*/ 76 h 151"/>
                <a:gd name="T18" fmla="*/ 144 w 288"/>
                <a:gd name="T19" fmla="*/ 2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151">
                  <a:moveTo>
                    <a:pt x="0" y="151"/>
                  </a:moveTo>
                  <a:cubicBezTo>
                    <a:pt x="0" y="100"/>
                    <a:pt x="0" y="50"/>
                    <a:pt x="0" y="0"/>
                  </a:cubicBezTo>
                  <a:cubicBezTo>
                    <a:pt x="96" y="0"/>
                    <a:pt x="192" y="0"/>
                    <a:pt x="288" y="0"/>
                  </a:cubicBezTo>
                  <a:cubicBezTo>
                    <a:pt x="288" y="50"/>
                    <a:pt x="288" y="100"/>
                    <a:pt x="288" y="151"/>
                  </a:cubicBezTo>
                  <a:cubicBezTo>
                    <a:pt x="192" y="151"/>
                    <a:pt x="96" y="151"/>
                    <a:pt x="0" y="151"/>
                  </a:cubicBezTo>
                  <a:close/>
                  <a:moveTo>
                    <a:pt x="144" y="20"/>
                  </a:moveTo>
                  <a:cubicBezTo>
                    <a:pt x="114" y="20"/>
                    <a:pt x="89" y="44"/>
                    <a:pt x="89" y="75"/>
                  </a:cubicBezTo>
                  <a:cubicBezTo>
                    <a:pt x="89" y="106"/>
                    <a:pt x="113" y="130"/>
                    <a:pt x="144" y="131"/>
                  </a:cubicBezTo>
                  <a:cubicBezTo>
                    <a:pt x="175" y="131"/>
                    <a:pt x="199" y="106"/>
                    <a:pt x="200" y="76"/>
                  </a:cubicBezTo>
                  <a:cubicBezTo>
                    <a:pt x="200" y="45"/>
                    <a:pt x="175" y="20"/>
                    <a:pt x="144" y="2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8" tIns="34289" rIns="68578" bIns="34289"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6507F"/>
                </a:solidFill>
                <a:effectLst/>
                <a:uLnTx/>
                <a:uFillTx/>
                <a:latin typeface="Calibri" panose="020F0502020204030204"/>
                <a:ea typeface="+mn-ea"/>
                <a:cs typeface="+mn-cs"/>
              </a:endParaRPr>
            </a:p>
          </p:txBody>
        </p:sp>
        <p:sp>
          <p:nvSpPr>
            <p:cNvPr id="33" name="Freeform 1275">
              <a:extLst>
                <a:ext uri="{FF2B5EF4-FFF2-40B4-BE49-F238E27FC236}">
                  <a16:creationId xmlns:a16="http://schemas.microsoft.com/office/drawing/2014/main" id="{38542A24-58DB-4958-9597-6339B455BF01}"/>
                </a:ext>
              </a:extLst>
            </p:cNvPr>
            <p:cNvSpPr>
              <a:spLocks/>
            </p:cNvSpPr>
            <p:nvPr/>
          </p:nvSpPr>
          <p:spPr bwMode="auto">
            <a:xfrm>
              <a:off x="557806" y="1905000"/>
              <a:ext cx="834046" cy="471741"/>
            </a:xfrm>
            <a:custGeom>
              <a:avLst/>
              <a:gdLst>
                <a:gd name="T0" fmla="*/ 0 w 311"/>
                <a:gd name="T1" fmla="*/ 0 h 176"/>
                <a:gd name="T2" fmla="*/ 311 w 311"/>
                <a:gd name="T3" fmla="*/ 0 h 176"/>
                <a:gd name="T4" fmla="*/ 311 w 311"/>
                <a:gd name="T5" fmla="*/ 24 h 176"/>
                <a:gd name="T6" fmla="*/ 24 w 311"/>
                <a:gd name="T7" fmla="*/ 24 h 176"/>
                <a:gd name="T8" fmla="*/ 24 w 311"/>
                <a:gd name="T9" fmla="*/ 176 h 176"/>
                <a:gd name="T10" fmla="*/ 0 w 311"/>
                <a:gd name="T11" fmla="*/ 176 h 176"/>
                <a:gd name="T12" fmla="*/ 0 w 311"/>
                <a:gd name="T13" fmla="*/ 0 h 176"/>
              </a:gdLst>
              <a:ahLst/>
              <a:cxnLst>
                <a:cxn ang="0">
                  <a:pos x="T0" y="T1"/>
                </a:cxn>
                <a:cxn ang="0">
                  <a:pos x="T2" y="T3"/>
                </a:cxn>
                <a:cxn ang="0">
                  <a:pos x="T4" y="T5"/>
                </a:cxn>
                <a:cxn ang="0">
                  <a:pos x="T6" y="T7"/>
                </a:cxn>
                <a:cxn ang="0">
                  <a:pos x="T8" y="T9"/>
                </a:cxn>
                <a:cxn ang="0">
                  <a:pos x="T10" y="T11"/>
                </a:cxn>
                <a:cxn ang="0">
                  <a:pos x="T12" y="T13"/>
                </a:cxn>
              </a:cxnLst>
              <a:rect l="0" t="0" r="r" b="b"/>
              <a:pathLst>
                <a:path w="311" h="176">
                  <a:moveTo>
                    <a:pt x="0" y="0"/>
                  </a:moveTo>
                  <a:cubicBezTo>
                    <a:pt x="104" y="0"/>
                    <a:pt x="207" y="0"/>
                    <a:pt x="311" y="0"/>
                  </a:cubicBezTo>
                  <a:cubicBezTo>
                    <a:pt x="311" y="8"/>
                    <a:pt x="311" y="16"/>
                    <a:pt x="311" y="24"/>
                  </a:cubicBezTo>
                  <a:cubicBezTo>
                    <a:pt x="216" y="24"/>
                    <a:pt x="120" y="24"/>
                    <a:pt x="24" y="24"/>
                  </a:cubicBezTo>
                  <a:cubicBezTo>
                    <a:pt x="24" y="75"/>
                    <a:pt x="24" y="125"/>
                    <a:pt x="24" y="176"/>
                  </a:cubicBezTo>
                  <a:cubicBezTo>
                    <a:pt x="16" y="176"/>
                    <a:pt x="8" y="176"/>
                    <a:pt x="0" y="176"/>
                  </a:cubicBezTo>
                  <a:cubicBezTo>
                    <a:pt x="0" y="117"/>
                    <a:pt x="0" y="59"/>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8" tIns="34289" rIns="68578" bIns="34289"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6507F"/>
                </a:solidFill>
                <a:effectLst/>
                <a:uLnTx/>
                <a:uFillTx/>
                <a:latin typeface="Calibri" panose="020F0502020204030204"/>
                <a:ea typeface="+mn-ea"/>
                <a:cs typeface="+mn-cs"/>
              </a:endParaRPr>
            </a:p>
          </p:txBody>
        </p:sp>
        <p:sp>
          <p:nvSpPr>
            <p:cNvPr id="34" name="Freeform 1276">
              <a:extLst>
                <a:ext uri="{FF2B5EF4-FFF2-40B4-BE49-F238E27FC236}">
                  <a16:creationId xmlns:a16="http://schemas.microsoft.com/office/drawing/2014/main" id="{C2FC1DB1-41B6-4673-9A85-AF1E93E6C33E}"/>
                </a:ext>
              </a:extLst>
            </p:cNvPr>
            <p:cNvSpPr>
              <a:spLocks noEditPoints="1"/>
            </p:cNvSpPr>
            <p:nvPr/>
          </p:nvSpPr>
          <p:spPr bwMode="auto">
            <a:xfrm>
              <a:off x="927653" y="2089922"/>
              <a:ext cx="298144" cy="298142"/>
            </a:xfrm>
            <a:custGeom>
              <a:avLst/>
              <a:gdLst>
                <a:gd name="T0" fmla="*/ 55 w 111"/>
                <a:gd name="T1" fmla="*/ 0 h 111"/>
                <a:gd name="T2" fmla="*/ 111 w 111"/>
                <a:gd name="T3" fmla="*/ 56 h 111"/>
                <a:gd name="T4" fmla="*/ 55 w 111"/>
                <a:gd name="T5" fmla="*/ 111 h 111"/>
                <a:gd name="T6" fmla="*/ 0 w 111"/>
                <a:gd name="T7" fmla="*/ 55 h 111"/>
                <a:gd name="T8" fmla="*/ 55 w 111"/>
                <a:gd name="T9" fmla="*/ 0 h 111"/>
                <a:gd name="T10" fmla="*/ 61 w 111"/>
                <a:gd name="T11" fmla="*/ 91 h 111"/>
                <a:gd name="T12" fmla="*/ 66 w 111"/>
                <a:gd name="T13" fmla="*/ 82 h 111"/>
                <a:gd name="T14" fmla="*/ 77 w 111"/>
                <a:gd name="T15" fmla="*/ 69 h 111"/>
                <a:gd name="T16" fmla="*/ 70 w 111"/>
                <a:gd name="T17" fmla="*/ 54 h 111"/>
                <a:gd name="T18" fmla="*/ 63 w 111"/>
                <a:gd name="T19" fmla="*/ 50 h 111"/>
                <a:gd name="T20" fmla="*/ 54 w 111"/>
                <a:gd name="T21" fmla="*/ 46 h 111"/>
                <a:gd name="T22" fmla="*/ 52 w 111"/>
                <a:gd name="T23" fmla="*/ 42 h 111"/>
                <a:gd name="T24" fmla="*/ 55 w 111"/>
                <a:gd name="T25" fmla="*/ 39 h 111"/>
                <a:gd name="T26" fmla="*/ 59 w 111"/>
                <a:gd name="T27" fmla="*/ 39 h 111"/>
                <a:gd name="T28" fmla="*/ 72 w 111"/>
                <a:gd name="T29" fmla="*/ 41 h 111"/>
                <a:gd name="T30" fmla="*/ 75 w 111"/>
                <a:gd name="T31" fmla="*/ 29 h 111"/>
                <a:gd name="T32" fmla="*/ 61 w 111"/>
                <a:gd name="T33" fmla="*/ 26 h 111"/>
                <a:gd name="T34" fmla="*/ 61 w 111"/>
                <a:gd name="T35" fmla="*/ 20 h 111"/>
                <a:gd name="T36" fmla="*/ 50 w 111"/>
                <a:gd name="T37" fmla="*/ 20 h 111"/>
                <a:gd name="T38" fmla="*/ 45 w 111"/>
                <a:gd name="T39" fmla="*/ 30 h 111"/>
                <a:gd name="T40" fmla="*/ 41 w 111"/>
                <a:gd name="T41" fmla="*/ 56 h 111"/>
                <a:gd name="T42" fmla="*/ 51 w 111"/>
                <a:gd name="T43" fmla="*/ 61 h 111"/>
                <a:gd name="T44" fmla="*/ 58 w 111"/>
                <a:gd name="T45" fmla="*/ 64 h 111"/>
                <a:gd name="T46" fmla="*/ 61 w 111"/>
                <a:gd name="T47" fmla="*/ 68 h 111"/>
                <a:gd name="T48" fmla="*/ 57 w 111"/>
                <a:gd name="T49" fmla="*/ 71 h 111"/>
                <a:gd name="T50" fmla="*/ 49 w 111"/>
                <a:gd name="T51" fmla="*/ 71 h 111"/>
                <a:gd name="T52" fmla="*/ 38 w 111"/>
                <a:gd name="T53" fmla="*/ 68 h 111"/>
                <a:gd name="T54" fmla="*/ 34 w 111"/>
                <a:gd name="T55" fmla="*/ 80 h 111"/>
                <a:gd name="T56" fmla="*/ 45 w 111"/>
                <a:gd name="T57" fmla="*/ 83 h 111"/>
                <a:gd name="T58" fmla="*/ 51 w 111"/>
                <a:gd name="T59" fmla="*/ 91 h 111"/>
                <a:gd name="T60" fmla="*/ 61 w 111"/>
                <a:gd name="T61"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1" h="111">
                  <a:moveTo>
                    <a:pt x="55" y="0"/>
                  </a:moveTo>
                  <a:cubicBezTo>
                    <a:pt x="86" y="0"/>
                    <a:pt x="111" y="25"/>
                    <a:pt x="111" y="56"/>
                  </a:cubicBezTo>
                  <a:cubicBezTo>
                    <a:pt x="110" y="86"/>
                    <a:pt x="86" y="111"/>
                    <a:pt x="55" y="111"/>
                  </a:cubicBezTo>
                  <a:cubicBezTo>
                    <a:pt x="24" y="110"/>
                    <a:pt x="0" y="86"/>
                    <a:pt x="0" y="55"/>
                  </a:cubicBezTo>
                  <a:cubicBezTo>
                    <a:pt x="0" y="24"/>
                    <a:pt x="25" y="0"/>
                    <a:pt x="55" y="0"/>
                  </a:cubicBezTo>
                  <a:close/>
                  <a:moveTo>
                    <a:pt x="61" y="91"/>
                  </a:moveTo>
                  <a:cubicBezTo>
                    <a:pt x="59" y="85"/>
                    <a:pt x="62" y="84"/>
                    <a:pt x="66" y="82"/>
                  </a:cubicBezTo>
                  <a:cubicBezTo>
                    <a:pt x="72" y="80"/>
                    <a:pt x="77" y="76"/>
                    <a:pt x="77" y="69"/>
                  </a:cubicBezTo>
                  <a:cubicBezTo>
                    <a:pt x="78" y="62"/>
                    <a:pt x="75" y="57"/>
                    <a:pt x="70" y="54"/>
                  </a:cubicBezTo>
                  <a:cubicBezTo>
                    <a:pt x="68" y="52"/>
                    <a:pt x="65" y="51"/>
                    <a:pt x="63" y="50"/>
                  </a:cubicBezTo>
                  <a:cubicBezTo>
                    <a:pt x="60" y="48"/>
                    <a:pt x="57" y="47"/>
                    <a:pt x="54" y="46"/>
                  </a:cubicBezTo>
                  <a:cubicBezTo>
                    <a:pt x="53" y="45"/>
                    <a:pt x="52" y="43"/>
                    <a:pt x="52" y="42"/>
                  </a:cubicBezTo>
                  <a:cubicBezTo>
                    <a:pt x="52" y="41"/>
                    <a:pt x="54" y="40"/>
                    <a:pt x="55" y="39"/>
                  </a:cubicBezTo>
                  <a:cubicBezTo>
                    <a:pt x="56" y="38"/>
                    <a:pt x="58" y="38"/>
                    <a:pt x="59" y="39"/>
                  </a:cubicBezTo>
                  <a:cubicBezTo>
                    <a:pt x="63" y="39"/>
                    <a:pt x="68" y="40"/>
                    <a:pt x="72" y="41"/>
                  </a:cubicBezTo>
                  <a:cubicBezTo>
                    <a:pt x="73" y="37"/>
                    <a:pt x="74" y="33"/>
                    <a:pt x="75" y="29"/>
                  </a:cubicBezTo>
                  <a:cubicBezTo>
                    <a:pt x="70" y="28"/>
                    <a:pt x="65" y="27"/>
                    <a:pt x="61" y="26"/>
                  </a:cubicBezTo>
                  <a:cubicBezTo>
                    <a:pt x="61" y="24"/>
                    <a:pt x="61" y="22"/>
                    <a:pt x="61" y="20"/>
                  </a:cubicBezTo>
                  <a:cubicBezTo>
                    <a:pt x="57" y="20"/>
                    <a:pt x="54" y="20"/>
                    <a:pt x="50" y="20"/>
                  </a:cubicBezTo>
                  <a:cubicBezTo>
                    <a:pt x="52" y="26"/>
                    <a:pt x="49" y="28"/>
                    <a:pt x="45" y="30"/>
                  </a:cubicBezTo>
                  <a:cubicBezTo>
                    <a:pt x="34" y="35"/>
                    <a:pt x="31" y="49"/>
                    <a:pt x="41" y="56"/>
                  </a:cubicBezTo>
                  <a:cubicBezTo>
                    <a:pt x="44" y="58"/>
                    <a:pt x="48" y="60"/>
                    <a:pt x="51" y="61"/>
                  </a:cubicBezTo>
                  <a:cubicBezTo>
                    <a:pt x="53" y="62"/>
                    <a:pt x="56" y="63"/>
                    <a:pt x="58" y="64"/>
                  </a:cubicBezTo>
                  <a:cubicBezTo>
                    <a:pt x="59" y="65"/>
                    <a:pt x="61" y="67"/>
                    <a:pt x="61" y="68"/>
                  </a:cubicBezTo>
                  <a:cubicBezTo>
                    <a:pt x="61" y="69"/>
                    <a:pt x="59" y="71"/>
                    <a:pt x="57" y="71"/>
                  </a:cubicBezTo>
                  <a:cubicBezTo>
                    <a:pt x="55" y="72"/>
                    <a:pt x="52" y="72"/>
                    <a:pt x="49" y="71"/>
                  </a:cubicBezTo>
                  <a:cubicBezTo>
                    <a:pt x="46" y="71"/>
                    <a:pt x="42" y="69"/>
                    <a:pt x="38" y="68"/>
                  </a:cubicBezTo>
                  <a:cubicBezTo>
                    <a:pt x="37" y="72"/>
                    <a:pt x="36" y="76"/>
                    <a:pt x="34" y="80"/>
                  </a:cubicBezTo>
                  <a:cubicBezTo>
                    <a:pt x="38" y="81"/>
                    <a:pt x="41" y="83"/>
                    <a:pt x="45" y="83"/>
                  </a:cubicBezTo>
                  <a:cubicBezTo>
                    <a:pt x="49" y="84"/>
                    <a:pt x="52" y="85"/>
                    <a:pt x="51" y="91"/>
                  </a:cubicBezTo>
                  <a:cubicBezTo>
                    <a:pt x="54" y="91"/>
                    <a:pt x="57" y="91"/>
                    <a:pt x="61" y="9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8" tIns="34289" rIns="68578" bIns="34289" numCol="1" anchor="ctr" anchorCtr="0" compatLnSpc="1">
              <a:prstTxWarp prst="textNoShape">
                <a:avLst/>
              </a:prstTxWarp>
            </a:bodyPr>
            <a:lstStyle/>
            <a:p>
              <a:pPr marL="0" marR="0" lvl="0" indent="0" algn="ctr" defTabSz="914287" rtl="0" eaLnBrk="1" fontAlgn="auto" latinLnBrk="0" hangingPunct="1">
                <a:lnSpc>
                  <a:spcPct val="100000"/>
                </a:lnSpc>
                <a:spcBef>
                  <a:spcPts val="0"/>
                </a:spcBef>
                <a:spcAft>
                  <a:spcPts val="0"/>
                </a:spcAft>
                <a:buClrTx/>
                <a:buSzTx/>
                <a:buFontTx/>
                <a:buNone/>
                <a:tabLst/>
                <a:defRPr/>
              </a:pPr>
              <a:r>
                <a:rPr kumimoji="0" lang="en-US" sz="2399" b="1" i="0" u="none" strike="noStrike" cap="none" normalizeH="0" baseline="0" noProof="0">
                  <a:ln>
                    <a:noFill/>
                  </a:ln>
                  <a:solidFill>
                    <a:srgbClr val="8FCB18"/>
                  </a:solidFill>
                  <a:uLnTx/>
                  <a:uFillTx/>
                  <a:latin typeface="Calibri" panose="020F0502020204030204"/>
                  <a:ea typeface="+mn-ea"/>
                  <a:cs typeface="+mn-cs"/>
                </a:rPr>
                <a:t>€</a:t>
              </a:r>
            </a:p>
          </p:txBody>
        </p:sp>
      </p:grpSp>
      <p:grpSp>
        <p:nvGrpSpPr>
          <p:cNvPr id="11" name="Gruppieren 10">
            <a:extLst>
              <a:ext uri="{FF2B5EF4-FFF2-40B4-BE49-F238E27FC236}">
                <a16:creationId xmlns:a16="http://schemas.microsoft.com/office/drawing/2014/main" id="{163418E8-E2DD-4D7A-B4D3-5A4F72DBD448}"/>
              </a:ext>
            </a:extLst>
          </p:cNvPr>
          <p:cNvGrpSpPr/>
          <p:nvPr/>
        </p:nvGrpSpPr>
        <p:grpSpPr>
          <a:xfrm>
            <a:off x="9649228" y="1643540"/>
            <a:ext cx="2166414" cy="1546301"/>
            <a:chOff x="9651742" y="1371600"/>
            <a:chExt cx="2166978" cy="1546704"/>
          </a:xfrm>
          <a:effectLst>
            <a:outerShdw blurRad="50800" dist="38100" dir="2700000" algn="tl" rotWithShape="0">
              <a:prstClr val="black">
                <a:alpha val="40000"/>
              </a:prstClr>
            </a:outerShdw>
          </a:effectLst>
        </p:grpSpPr>
        <p:sp>
          <p:nvSpPr>
            <p:cNvPr id="146" name="Rechteck 145"/>
            <p:cNvSpPr/>
            <p:nvPr/>
          </p:nvSpPr>
          <p:spPr bwMode="gray">
            <a:xfrm>
              <a:off x="9656403" y="1378418"/>
              <a:ext cx="2162316" cy="1539886"/>
            </a:xfrm>
            <a:prstGeom prst="rect">
              <a:avLst/>
            </a:prstGeom>
            <a:solidFill>
              <a:schemeClr val="bg2"/>
            </a:solidFill>
            <a:ln w="31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63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Grafik 11">
              <a:extLst>
                <a:ext uri="{FF2B5EF4-FFF2-40B4-BE49-F238E27FC236}">
                  <a16:creationId xmlns:a16="http://schemas.microsoft.com/office/drawing/2014/main" id="{14B2046E-4949-AF4B-87C1-C15BC9E490E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896" t="32009" r="68008" b="36412"/>
            <a:stretch/>
          </p:blipFill>
          <p:spPr>
            <a:xfrm>
              <a:off x="9660204" y="1378418"/>
              <a:ext cx="2158516" cy="1519380"/>
            </a:xfrm>
            <a:prstGeom prst="rect">
              <a:avLst/>
            </a:prstGeom>
          </p:spPr>
        </p:pic>
        <p:sp>
          <p:nvSpPr>
            <p:cNvPr id="17" name="Rechteck 16">
              <a:extLst>
                <a:ext uri="{FF2B5EF4-FFF2-40B4-BE49-F238E27FC236}">
                  <a16:creationId xmlns:a16="http://schemas.microsoft.com/office/drawing/2014/main" id="{857A3329-0DFF-9040-8D12-CD7E4B9622B2}"/>
                </a:ext>
              </a:extLst>
            </p:cNvPr>
            <p:cNvSpPr/>
            <p:nvPr/>
          </p:nvSpPr>
          <p:spPr bwMode="gray">
            <a:xfrm>
              <a:off x="9656403" y="1371600"/>
              <a:ext cx="2162316" cy="1539886"/>
            </a:xfrm>
            <a:prstGeom prst="rect">
              <a:avLst/>
            </a:prstGeom>
            <a:noFill/>
            <a:ln w="6350">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63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80238F0F-2E43-442B-9E7F-6D869EBF0DBB}"/>
                </a:ext>
              </a:extLst>
            </p:cNvPr>
            <p:cNvSpPr/>
            <p:nvPr/>
          </p:nvSpPr>
          <p:spPr>
            <a:xfrm>
              <a:off x="9651742" y="2573615"/>
              <a:ext cx="409086" cy="338554"/>
            </a:xfrm>
            <a:prstGeom prst="rect">
              <a:avLst/>
            </a:prstGeom>
          </p:spPr>
          <p:txBody>
            <a:bodyPr wrap="none">
              <a:spAutoFit/>
            </a:bodyPr>
            <a:lstStyle/>
            <a:p>
              <a:pPr marL="0" marR="0" lvl="0" indent="0" algn="l" defTabSz="91399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noProof="0">
                  <a:ln>
                    <a:noFill/>
                  </a:ln>
                  <a:solidFill>
                    <a:srgbClr val="0A091B"/>
                  </a:solidFill>
                  <a:uLnTx/>
                  <a:uFillTx/>
                  <a:latin typeface="Calibri Light" panose="020F0302020204030204"/>
                  <a:ea typeface="+mn-ea"/>
                  <a:cs typeface="+mn-cs"/>
                </a:rPr>
                <a:t>US</a:t>
              </a:r>
            </a:p>
          </p:txBody>
        </p:sp>
      </p:grpSp>
      <p:grpSp>
        <p:nvGrpSpPr>
          <p:cNvPr id="13" name="Gruppieren 12">
            <a:extLst>
              <a:ext uri="{FF2B5EF4-FFF2-40B4-BE49-F238E27FC236}">
                <a16:creationId xmlns:a16="http://schemas.microsoft.com/office/drawing/2014/main" id="{4E594009-F834-42A7-9185-E517DC0B3A6D}"/>
              </a:ext>
            </a:extLst>
          </p:cNvPr>
          <p:cNvGrpSpPr/>
          <p:nvPr/>
        </p:nvGrpSpPr>
        <p:grpSpPr>
          <a:xfrm>
            <a:off x="9622916" y="3391782"/>
            <a:ext cx="2192726" cy="1561615"/>
            <a:chOff x="9625422" y="3120297"/>
            <a:chExt cx="2193297" cy="1562022"/>
          </a:xfrm>
          <a:effectLst>
            <a:outerShdw blurRad="50800" dist="38100" dir="2700000" algn="tl" rotWithShape="0">
              <a:prstClr val="black">
                <a:alpha val="40000"/>
              </a:prstClr>
            </a:outerShdw>
          </a:effectLst>
        </p:grpSpPr>
        <p:pic>
          <p:nvPicPr>
            <p:cNvPr id="20" name="Grafik 19">
              <a:extLst>
                <a:ext uri="{FF2B5EF4-FFF2-40B4-BE49-F238E27FC236}">
                  <a16:creationId xmlns:a16="http://schemas.microsoft.com/office/drawing/2014/main" id="{D3A43774-855F-F044-A387-18685E4162BE}"/>
                </a:ext>
              </a:extLst>
            </p:cNvPr>
            <p:cNvPicPr>
              <a:picLocks noChangeAspect="1"/>
            </p:cNvPicPr>
            <p:nvPr/>
          </p:nvPicPr>
          <p:blipFill rotWithShape="1">
            <a:blip r:embed="rId11">
              <a:extLst>
                <a:ext uri="{28A0092B-C50C-407E-A947-70E740481C1C}">
                  <a14:useLocalDpi xmlns:a14="http://schemas.microsoft.com/office/drawing/2010/main" val="0"/>
                </a:ext>
              </a:extLst>
            </a:blip>
            <a:srcRect l="39862" b="39862"/>
            <a:stretch/>
          </p:blipFill>
          <p:spPr>
            <a:xfrm>
              <a:off x="9660759" y="3130550"/>
              <a:ext cx="2157960" cy="1519380"/>
            </a:xfrm>
            <a:prstGeom prst="rect">
              <a:avLst/>
            </a:prstGeom>
          </p:spPr>
        </p:pic>
        <p:sp>
          <p:nvSpPr>
            <p:cNvPr id="147" name="Rechteck 146"/>
            <p:cNvSpPr/>
            <p:nvPr/>
          </p:nvSpPr>
          <p:spPr bwMode="gray">
            <a:xfrm>
              <a:off x="9656403" y="3120297"/>
              <a:ext cx="2162316" cy="1539886"/>
            </a:xfrm>
            <a:prstGeom prst="rect">
              <a:avLst/>
            </a:prstGeom>
            <a:noFill/>
            <a:ln w="6350">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63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hteck 34">
              <a:extLst>
                <a:ext uri="{FF2B5EF4-FFF2-40B4-BE49-F238E27FC236}">
                  <a16:creationId xmlns:a16="http://schemas.microsoft.com/office/drawing/2014/main" id="{BB707827-41ED-4DC2-9D5D-65AA0B31ECBE}"/>
                </a:ext>
              </a:extLst>
            </p:cNvPr>
            <p:cNvSpPr/>
            <p:nvPr/>
          </p:nvSpPr>
          <p:spPr>
            <a:xfrm>
              <a:off x="9625422" y="4343765"/>
              <a:ext cx="1079911" cy="338554"/>
            </a:xfrm>
            <a:prstGeom prst="rect">
              <a:avLst/>
            </a:prstGeom>
          </p:spPr>
          <p:txBody>
            <a:bodyPr wrap="none">
              <a:spAutoFit/>
            </a:bodyPr>
            <a:lstStyle/>
            <a:p>
              <a:pPr marL="0" marR="0" lvl="0" indent="0" algn="l" defTabSz="91399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noProof="0">
                  <a:ln>
                    <a:noFill/>
                  </a:ln>
                  <a:solidFill>
                    <a:srgbClr val="0A091B"/>
                  </a:solidFill>
                  <a:uLnTx/>
                  <a:uFillTx/>
                  <a:latin typeface="Calibri Light" panose="020F0302020204030204"/>
                  <a:ea typeface="+mn-ea"/>
                  <a:cs typeface="+mn-cs"/>
                </a:rPr>
                <a:t>Hong Kong</a:t>
              </a:r>
            </a:p>
          </p:txBody>
        </p:sp>
      </p:grpSp>
      <p:sp>
        <p:nvSpPr>
          <p:cNvPr id="14" name="Rechteck 13">
            <a:extLst>
              <a:ext uri="{FF2B5EF4-FFF2-40B4-BE49-F238E27FC236}">
                <a16:creationId xmlns:a16="http://schemas.microsoft.com/office/drawing/2014/main" id="{3386EF6B-7C16-4CEF-ABA3-3790B6FF2D9A}"/>
              </a:ext>
            </a:extLst>
          </p:cNvPr>
          <p:cNvSpPr/>
          <p:nvPr/>
        </p:nvSpPr>
        <p:spPr>
          <a:xfrm>
            <a:off x="9772777" y="465518"/>
            <a:ext cx="179953" cy="179953"/>
          </a:xfrm>
          <a:prstGeom prst="rect">
            <a:avLst/>
          </a:prstGeom>
          <a:solidFill>
            <a:srgbClr val="BAD9DC"/>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3990" rtl="0" eaLnBrk="1" fontAlgn="auto" latinLnBrk="0" hangingPunct="1">
              <a:lnSpc>
                <a:spcPct val="100000"/>
              </a:lnSpc>
              <a:spcBef>
                <a:spcPts val="0"/>
              </a:spcBef>
              <a:spcAft>
                <a:spcPts val="0"/>
              </a:spcAft>
              <a:buClrTx/>
              <a:buSzTx/>
              <a:buFontTx/>
              <a:buNone/>
              <a:tabLst/>
              <a:defRPr/>
            </a:pPr>
            <a:endParaRPr kumimoji="0" lang="de-DE" sz="2799" b="0" i="0" u="none" strike="noStrike" kern="1200" cap="none" spc="0" normalizeH="0" baseline="0" noProof="0">
              <a:ln>
                <a:noFill/>
              </a:ln>
              <a:solidFill>
                <a:srgbClr val="0A091B"/>
              </a:solidFill>
              <a:effectLst/>
              <a:uLnTx/>
              <a:uFillTx/>
              <a:latin typeface="Calibri" panose="020F0502020204030204"/>
              <a:ea typeface="+mn-ea"/>
              <a:cs typeface="+mn-cs"/>
            </a:endParaRPr>
          </a:p>
        </p:txBody>
      </p:sp>
      <p:sp>
        <p:nvSpPr>
          <p:cNvPr id="37" name="Rechteck 36">
            <a:extLst>
              <a:ext uri="{FF2B5EF4-FFF2-40B4-BE49-F238E27FC236}">
                <a16:creationId xmlns:a16="http://schemas.microsoft.com/office/drawing/2014/main" id="{B0C0813A-E4B9-449E-8874-AE4F4D72E81F}"/>
              </a:ext>
            </a:extLst>
          </p:cNvPr>
          <p:cNvSpPr/>
          <p:nvPr/>
        </p:nvSpPr>
        <p:spPr>
          <a:xfrm>
            <a:off x="9774876" y="749692"/>
            <a:ext cx="179953" cy="179953"/>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3990" rtl="0" eaLnBrk="1" fontAlgn="auto" latinLnBrk="0" hangingPunct="1">
              <a:lnSpc>
                <a:spcPct val="100000"/>
              </a:lnSpc>
              <a:spcBef>
                <a:spcPts val="0"/>
              </a:spcBef>
              <a:spcAft>
                <a:spcPts val="0"/>
              </a:spcAft>
              <a:buClrTx/>
              <a:buSzTx/>
              <a:buFontTx/>
              <a:buNone/>
              <a:tabLst/>
              <a:defRPr/>
            </a:pPr>
            <a:endParaRPr kumimoji="0" lang="de-DE" sz="2799" b="0" i="0" u="none" strike="noStrike" kern="1200" cap="none" spc="0" normalizeH="0" baseline="0" noProof="0">
              <a:ln>
                <a:noFill/>
              </a:ln>
              <a:solidFill>
                <a:srgbClr val="0A091B"/>
              </a:solidFill>
              <a:effectLst/>
              <a:uLnTx/>
              <a:uFillTx/>
              <a:latin typeface="Calibri" panose="020F0502020204030204"/>
              <a:ea typeface="+mn-ea"/>
              <a:cs typeface="+mn-cs"/>
            </a:endParaRPr>
          </a:p>
        </p:txBody>
      </p:sp>
      <p:sp>
        <p:nvSpPr>
          <p:cNvPr id="2" name="Fußzeilenplatzhalter 1">
            <a:extLst>
              <a:ext uri="{FF2B5EF4-FFF2-40B4-BE49-F238E27FC236}">
                <a16:creationId xmlns:a16="http://schemas.microsoft.com/office/drawing/2014/main" id="{278D8732-045E-4C73-856C-1E6B7D043CE9}"/>
              </a:ext>
            </a:extLst>
          </p:cNvPr>
          <p:cNvSpPr>
            <a:spLocks noGrp="1"/>
          </p:cNvSpPr>
          <p:nvPr>
            <p:ph type="ftr" sz="quarter" idx="3"/>
          </p:nvPr>
        </p:nvSpPr>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r>
              <a:rPr kumimoji="0" lang="en-US" sz="1050" b="0" i="0" u="none" strike="noStrike" cap="none" normalizeH="0" baseline="0" noProof="0">
                <a:ln>
                  <a:noFill/>
                </a:ln>
                <a:solidFill>
                  <a:srgbClr val="0A091B">
                    <a:tint val="75000"/>
                  </a:srgbClr>
                </a:solidFill>
                <a:uLnTx/>
                <a:uFillTx/>
                <a:latin typeface="Calibri Light" panose="020F0302020204030204"/>
                <a:ea typeface="+mn-ea"/>
                <a:cs typeface="+mn-cs"/>
              </a:rPr>
              <a:t>Schwarz Group // Corporate Presentation //</a:t>
            </a:r>
          </a:p>
        </p:txBody>
      </p:sp>
      <p:sp>
        <p:nvSpPr>
          <p:cNvPr id="39" name="Rectangle 38">
            <a:extLst>
              <a:ext uri="{FF2B5EF4-FFF2-40B4-BE49-F238E27FC236}">
                <a16:creationId xmlns:a16="http://schemas.microsoft.com/office/drawing/2014/main" id="{893CDE12-72FA-4314-93C3-C3A6AA5383D1}"/>
              </a:ext>
            </a:extLst>
          </p:cNvPr>
          <p:cNvSpPr/>
          <p:nvPr/>
        </p:nvSpPr>
        <p:spPr>
          <a:xfrm>
            <a:off x="11289472" y="6296145"/>
            <a:ext cx="534975" cy="307777"/>
          </a:xfrm>
          <a:prstGeom prst="rect">
            <a:avLst/>
          </a:prstGeom>
        </p:spPr>
        <p:txBody>
          <a:bodyPr wrap="square">
            <a:spAutoFit/>
          </a:bodyPr>
          <a:lstStyle/>
          <a:p>
            <a:r>
              <a:rPr lang="en-US" sz="1400" b="1" dirty="0">
                <a:solidFill>
                  <a:schemeClr val="accent1"/>
                </a:solidFill>
              </a:rPr>
              <a:t>23</a:t>
            </a:r>
            <a:endParaRPr lang="bg-BG" sz="1400" b="1" dirty="0">
              <a:solidFill>
                <a:schemeClr val="accent1"/>
              </a:solidFill>
            </a:endParaRPr>
          </a:p>
        </p:txBody>
      </p:sp>
    </p:spTree>
    <p:custDataLst>
      <p:tags r:id="rId2"/>
    </p:custDataLst>
    <p:extLst>
      <p:ext uri="{BB962C8B-B14F-4D97-AF65-F5344CB8AC3E}">
        <p14:creationId xmlns:p14="http://schemas.microsoft.com/office/powerpoint/2010/main" val="57812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658DD477-9052-4433-8F9D-316E6270CB0C}"/>
              </a:ext>
            </a:extLst>
          </p:cNvPr>
          <p:cNvSpPr>
            <a:spLocks noGrp="1"/>
          </p:cNvSpPr>
          <p:nvPr>
            <p:ph type="title"/>
          </p:nvPr>
        </p:nvSpPr>
        <p:spPr/>
        <p:txBody>
          <a:bodyPr/>
          <a:lstStyle/>
          <a:p>
            <a:r>
              <a:rPr lang="en-US"/>
              <a:t>SCHWARZ GROUP</a:t>
            </a:r>
          </a:p>
        </p:txBody>
      </p:sp>
      <p:pic>
        <p:nvPicPr>
          <p:cNvPr id="6" name="Grafik 5">
            <a:extLst>
              <a:ext uri="{FF2B5EF4-FFF2-40B4-BE49-F238E27FC236}">
                <a16:creationId xmlns:a16="http://schemas.microsoft.com/office/drawing/2014/main" id="{BC12DB67-461F-419E-ADCE-16A212B5F9D4}"/>
              </a:ext>
            </a:extLst>
          </p:cNvPr>
          <p:cNvPicPr>
            <a:picLocks noChangeAspect="1"/>
          </p:cNvPicPr>
          <p:nvPr/>
        </p:nvPicPr>
        <p:blipFill>
          <a:blip r:embed="rId3"/>
          <a:stretch>
            <a:fillRect/>
          </a:stretch>
        </p:blipFill>
        <p:spPr>
          <a:xfrm>
            <a:off x="2680954" y="413673"/>
            <a:ext cx="6828504" cy="6144924"/>
          </a:xfrm>
          <a:prstGeom prst="rect">
            <a:avLst/>
          </a:prstGeom>
        </p:spPr>
      </p:pic>
      <p:sp>
        <p:nvSpPr>
          <p:cNvPr id="7" name="Foliennummernplatzhalter 6">
            <a:extLst>
              <a:ext uri="{FF2B5EF4-FFF2-40B4-BE49-F238E27FC236}">
                <a16:creationId xmlns:a16="http://schemas.microsoft.com/office/drawing/2014/main" id="{1AD8AFFD-FD8F-4FFA-A2F2-88147F51C88F}"/>
              </a:ext>
            </a:extLst>
          </p:cNvPr>
          <p:cNvSpPr>
            <a:spLocks noGrp="1"/>
          </p:cNvSpPr>
          <p:nvPr>
            <p:ph type="sldNum" sz="quarter" idx="12"/>
          </p:nvPr>
        </p:nvSpPr>
        <p:spPr/>
        <p:txBody>
          <a:bodyPr/>
          <a:lstStyle/>
          <a:p>
            <a:fld id="{0C7C1E0B-BD27-42F8-BC6B-2F0636970842}" type="slidenum">
              <a:rPr lang="de-DE" smtClean="0"/>
              <a:pPr/>
              <a:t>24</a:t>
            </a:fld>
            <a:endParaRPr lang="de-DE" dirty="0"/>
          </a:p>
        </p:txBody>
      </p:sp>
      <p:sp>
        <p:nvSpPr>
          <p:cNvPr id="45" name="Ellipse 44">
            <a:extLst>
              <a:ext uri="{FF2B5EF4-FFF2-40B4-BE49-F238E27FC236}">
                <a16:creationId xmlns:a16="http://schemas.microsoft.com/office/drawing/2014/main" id="{B2DF9879-EE57-4B50-AFA7-A44EE71A3A33}"/>
              </a:ext>
            </a:extLst>
          </p:cNvPr>
          <p:cNvSpPr/>
          <p:nvPr/>
        </p:nvSpPr>
        <p:spPr bwMode="gray">
          <a:xfrm>
            <a:off x="4834658" y="2946642"/>
            <a:ext cx="2537531" cy="2537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pic>
        <p:nvPicPr>
          <p:cNvPr id="47" name="Grafik 46" descr="Ein Bild, das Zeichnung enthält.&#10;&#10;Automatisch generierte Beschreibung">
            <a:extLst>
              <a:ext uri="{FF2B5EF4-FFF2-40B4-BE49-F238E27FC236}">
                <a16:creationId xmlns:a16="http://schemas.microsoft.com/office/drawing/2014/main" id="{A2B84D6B-9053-4C33-97A2-8BF4ABA659E9}"/>
              </a:ext>
            </a:extLst>
          </p:cNvPr>
          <p:cNvPicPr>
            <a:picLocks noChangeAspect="1"/>
          </p:cNvPicPr>
          <p:nvPr/>
        </p:nvPicPr>
        <p:blipFill>
          <a:blip r:embed="rId4"/>
          <a:stretch>
            <a:fillRect/>
          </a:stretch>
        </p:blipFill>
        <p:spPr>
          <a:xfrm>
            <a:off x="5547938" y="4918952"/>
            <a:ext cx="1148142" cy="420220"/>
          </a:xfrm>
          <a:prstGeom prst="rect">
            <a:avLst/>
          </a:prstGeom>
        </p:spPr>
      </p:pic>
      <p:pic>
        <p:nvPicPr>
          <p:cNvPr id="48" name="Grafik 47" descr="Ein Bild, das Zeichnung enthält.&#10;&#10;Automatisch generierte Beschreibung">
            <a:extLst>
              <a:ext uri="{FF2B5EF4-FFF2-40B4-BE49-F238E27FC236}">
                <a16:creationId xmlns:a16="http://schemas.microsoft.com/office/drawing/2014/main" id="{E2456BF6-5C74-44B7-98EC-EFEB315594F5}"/>
              </a:ext>
            </a:extLst>
          </p:cNvPr>
          <p:cNvPicPr>
            <a:picLocks noChangeAspect="1"/>
          </p:cNvPicPr>
          <p:nvPr/>
        </p:nvPicPr>
        <p:blipFill>
          <a:blip r:embed="rId5"/>
          <a:stretch>
            <a:fillRect/>
          </a:stretch>
        </p:blipFill>
        <p:spPr>
          <a:xfrm>
            <a:off x="5529352" y="3113112"/>
            <a:ext cx="1148141" cy="420220"/>
          </a:xfrm>
          <a:prstGeom prst="rect">
            <a:avLst/>
          </a:prstGeom>
        </p:spPr>
      </p:pic>
      <p:grpSp>
        <p:nvGrpSpPr>
          <p:cNvPr id="49" name="Gruppieren 48">
            <a:extLst>
              <a:ext uri="{FF2B5EF4-FFF2-40B4-BE49-F238E27FC236}">
                <a16:creationId xmlns:a16="http://schemas.microsoft.com/office/drawing/2014/main" id="{4205176D-F1B6-4CA5-A7B0-FF0123795BD8}"/>
              </a:ext>
            </a:extLst>
          </p:cNvPr>
          <p:cNvGrpSpPr/>
          <p:nvPr/>
        </p:nvGrpSpPr>
        <p:grpSpPr>
          <a:xfrm>
            <a:off x="6787586" y="4099672"/>
            <a:ext cx="578889" cy="459406"/>
            <a:chOff x="6949772" y="3278227"/>
            <a:chExt cx="695577" cy="552010"/>
          </a:xfrm>
        </p:grpSpPr>
        <p:sp>
          <p:nvSpPr>
            <p:cNvPr id="55" name="Pfeil: Fünfeck 38">
              <a:extLst>
                <a:ext uri="{FF2B5EF4-FFF2-40B4-BE49-F238E27FC236}">
                  <a16:creationId xmlns:a16="http://schemas.microsoft.com/office/drawing/2014/main" id="{F0CE484A-5E8F-487A-90FA-126BA2974628}"/>
                </a:ext>
              </a:extLst>
            </p:cNvPr>
            <p:cNvSpPr/>
            <p:nvPr/>
          </p:nvSpPr>
          <p:spPr bwMode="gray">
            <a:xfrm rot="5400000">
              <a:off x="7117032" y="3243364"/>
              <a:ext cx="357957" cy="692087"/>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 name="connsiteX0" fmla="*/ 6095 w 355219"/>
                <a:gd name="connsiteY0" fmla="*/ 10160 h 702247"/>
                <a:gd name="connsiteX1" fmla="*/ 4126 w 355219"/>
                <a:gd name="connsiteY1" fmla="*/ 0 h 702247"/>
                <a:gd name="connsiteX2" fmla="*/ 355219 w 355219"/>
                <a:gd name="connsiteY2" fmla="*/ 351094 h 702247"/>
                <a:gd name="connsiteX3" fmla="*/ 4126 w 355219"/>
                <a:gd name="connsiteY3" fmla="*/ 702188 h 702247"/>
                <a:gd name="connsiteX4" fmla="*/ 1 w 355219"/>
                <a:gd name="connsiteY4" fmla="*/ 669123 h 702247"/>
                <a:gd name="connsiteX0" fmla="*/ 6094 w 355218"/>
                <a:gd name="connsiteY0" fmla="*/ 10160 h 702247"/>
                <a:gd name="connsiteX1" fmla="*/ 31593 w 355218"/>
                <a:gd name="connsiteY1" fmla="*/ 0 h 702247"/>
                <a:gd name="connsiteX2" fmla="*/ 355218 w 355218"/>
                <a:gd name="connsiteY2" fmla="*/ 351094 h 702247"/>
                <a:gd name="connsiteX3" fmla="*/ 4125 w 355218"/>
                <a:gd name="connsiteY3" fmla="*/ 702188 h 702247"/>
                <a:gd name="connsiteX4" fmla="*/ 0 w 355218"/>
                <a:gd name="connsiteY4" fmla="*/ 669123 h 702247"/>
                <a:gd name="connsiteX0" fmla="*/ 8834 w 357958"/>
                <a:gd name="connsiteY0" fmla="*/ 0 h 692087"/>
                <a:gd name="connsiteX1" fmla="*/ 1 w 357958"/>
                <a:gd name="connsiteY1" fmla="*/ 1284 h 692087"/>
                <a:gd name="connsiteX2" fmla="*/ 357958 w 357958"/>
                <a:gd name="connsiteY2" fmla="*/ 340934 h 692087"/>
                <a:gd name="connsiteX3" fmla="*/ 6865 w 357958"/>
                <a:gd name="connsiteY3" fmla="*/ 692028 h 692087"/>
                <a:gd name="connsiteX4" fmla="*/ 2740 w 357958"/>
                <a:gd name="connsiteY4" fmla="*/ 658963 h 692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58" h="692087">
                  <a:moveTo>
                    <a:pt x="8834" y="0"/>
                  </a:moveTo>
                  <a:lnTo>
                    <a:pt x="1" y="1284"/>
                  </a:lnTo>
                  <a:lnTo>
                    <a:pt x="357958" y="340934"/>
                  </a:lnTo>
                  <a:lnTo>
                    <a:pt x="6865" y="692028"/>
                  </a:lnTo>
                  <a:cubicBezTo>
                    <a:pt x="7521" y="693721"/>
                    <a:pt x="2740" y="658963"/>
                    <a:pt x="2740" y="658963"/>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56" name="Pfeil: Fünfeck 38">
              <a:extLst>
                <a:ext uri="{FF2B5EF4-FFF2-40B4-BE49-F238E27FC236}">
                  <a16:creationId xmlns:a16="http://schemas.microsoft.com/office/drawing/2014/main" id="{9ACB5F3C-50C9-4D81-AE5E-3BFF5C3648BC}"/>
                </a:ext>
              </a:extLst>
            </p:cNvPr>
            <p:cNvSpPr/>
            <p:nvPr/>
          </p:nvSpPr>
          <p:spPr bwMode="gray">
            <a:xfrm rot="5400000">
              <a:off x="7121096" y="3155145"/>
              <a:ext cx="352929" cy="695577"/>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 name="connsiteX0" fmla="*/ 3808 w 352932"/>
                <a:gd name="connsiteY0" fmla="*/ 3294 h 696638"/>
                <a:gd name="connsiteX1" fmla="*/ 8708 w 352932"/>
                <a:gd name="connsiteY1" fmla="*/ 0 h 696638"/>
                <a:gd name="connsiteX2" fmla="*/ 352932 w 352932"/>
                <a:gd name="connsiteY2" fmla="*/ 344228 h 696638"/>
                <a:gd name="connsiteX3" fmla="*/ 1839 w 352932"/>
                <a:gd name="connsiteY3" fmla="*/ 695322 h 696638"/>
                <a:gd name="connsiteX4" fmla="*/ 0 w 352932"/>
                <a:gd name="connsiteY4" fmla="*/ 696592 h 696638"/>
                <a:gd name="connsiteX0" fmla="*/ 3806 w 352930"/>
                <a:gd name="connsiteY0" fmla="*/ 3294 h 695577"/>
                <a:gd name="connsiteX1" fmla="*/ 8706 w 352930"/>
                <a:gd name="connsiteY1" fmla="*/ 0 h 695577"/>
                <a:gd name="connsiteX2" fmla="*/ 352930 w 352930"/>
                <a:gd name="connsiteY2" fmla="*/ 344228 h 695577"/>
                <a:gd name="connsiteX3" fmla="*/ 1837 w 352930"/>
                <a:gd name="connsiteY3" fmla="*/ 695322 h 695577"/>
                <a:gd name="connsiteX4" fmla="*/ 1 w 352930"/>
                <a:gd name="connsiteY4" fmla="*/ 689725 h 695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0" h="695577">
                  <a:moveTo>
                    <a:pt x="3806" y="3294"/>
                  </a:moveTo>
                  <a:lnTo>
                    <a:pt x="8706" y="0"/>
                  </a:lnTo>
                  <a:lnTo>
                    <a:pt x="352930" y="344228"/>
                  </a:lnTo>
                  <a:lnTo>
                    <a:pt x="1837" y="695322"/>
                  </a:lnTo>
                  <a:cubicBezTo>
                    <a:pt x="2493" y="697015"/>
                    <a:pt x="1" y="689725"/>
                    <a:pt x="1" y="689725"/>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57" name="Rechteck 45">
              <a:extLst>
                <a:ext uri="{FF2B5EF4-FFF2-40B4-BE49-F238E27FC236}">
                  <a16:creationId xmlns:a16="http://schemas.microsoft.com/office/drawing/2014/main" id="{C9C0A226-2945-4729-AA15-BA25FD2BAEE7}"/>
                </a:ext>
              </a:extLst>
            </p:cNvPr>
            <p:cNvSpPr/>
            <p:nvPr/>
          </p:nvSpPr>
          <p:spPr bwMode="gray">
            <a:xfrm rot="18931262" flipV="1">
              <a:off x="7100733" y="3278227"/>
              <a:ext cx="65287" cy="547883"/>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28846 w 61374"/>
                <a:gd name="connsiteY3" fmla="*/ 490186 h 547882"/>
                <a:gd name="connsiteX4" fmla="*/ 0 w 61374"/>
                <a:gd name="connsiteY4" fmla="*/ 0 h 547882"/>
                <a:gd name="connsiteX0" fmla="*/ 3914 w 65288"/>
                <a:gd name="connsiteY0" fmla="*/ 0 h 547882"/>
                <a:gd name="connsiteX1" fmla="*/ 65288 w 65288"/>
                <a:gd name="connsiteY1" fmla="*/ 0 h 547882"/>
                <a:gd name="connsiteX2" fmla="*/ 65288 w 65288"/>
                <a:gd name="connsiteY2" fmla="*/ 547882 h 547882"/>
                <a:gd name="connsiteX3" fmla="*/ 5055 w 65288"/>
                <a:gd name="connsiteY3" fmla="*/ 510976 h 547882"/>
                <a:gd name="connsiteX4" fmla="*/ 3914 w 65288"/>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8" h="547882">
                  <a:moveTo>
                    <a:pt x="3914" y="0"/>
                  </a:moveTo>
                  <a:lnTo>
                    <a:pt x="65288" y="0"/>
                  </a:lnTo>
                  <a:lnTo>
                    <a:pt x="65288" y="547882"/>
                  </a:lnTo>
                  <a:cubicBezTo>
                    <a:pt x="50753" y="538506"/>
                    <a:pt x="-19166" y="486322"/>
                    <a:pt x="5055" y="510976"/>
                  </a:cubicBezTo>
                  <a:cubicBezTo>
                    <a:pt x="3606" y="339562"/>
                    <a:pt x="5363" y="171414"/>
                    <a:pt x="3914" y="0"/>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58" name="Rechteck 45">
              <a:extLst>
                <a:ext uri="{FF2B5EF4-FFF2-40B4-BE49-F238E27FC236}">
                  <a16:creationId xmlns:a16="http://schemas.microsoft.com/office/drawing/2014/main" id="{1F831A8A-2F94-48AC-A5AC-03B7FA578553}"/>
                </a:ext>
              </a:extLst>
            </p:cNvPr>
            <p:cNvSpPr/>
            <p:nvPr/>
          </p:nvSpPr>
          <p:spPr bwMode="gray">
            <a:xfrm rot="13468738">
              <a:off x="7436888" y="3295392"/>
              <a:ext cx="62859" cy="534845"/>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9105 w 61374"/>
                <a:gd name="connsiteY3" fmla="*/ 493335 h 547882"/>
                <a:gd name="connsiteX4" fmla="*/ 0 w 61374"/>
                <a:gd name="connsiteY4" fmla="*/ 0 h 547882"/>
                <a:gd name="connsiteX0" fmla="*/ 0 w 62859"/>
                <a:gd name="connsiteY0" fmla="*/ 0 h 547882"/>
                <a:gd name="connsiteX1" fmla="*/ 62859 w 62859"/>
                <a:gd name="connsiteY1" fmla="*/ 14581 h 547882"/>
                <a:gd name="connsiteX2" fmla="*/ 61374 w 62859"/>
                <a:gd name="connsiteY2" fmla="*/ 547882 h 547882"/>
                <a:gd name="connsiteX3" fmla="*/ 19105 w 62859"/>
                <a:gd name="connsiteY3" fmla="*/ 493335 h 547882"/>
                <a:gd name="connsiteX4" fmla="*/ 0 w 62859"/>
                <a:gd name="connsiteY4" fmla="*/ 0 h 547882"/>
                <a:gd name="connsiteX0" fmla="*/ 0 w 62859"/>
                <a:gd name="connsiteY0" fmla="*/ 0 h 534845"/>
                <a:gd name="connsiteX1" fmla="*/ 62859 w 62859"/>
                <a:gd name="connsiteY1" fmla="*/ 14581 h 534845"/>
                <a:gd name="connsiteX2" fmla="*/ 51782 w 62859"/>
                <a:gd name="connsiteY2" fmla="*/ 534845 h 534845"/>
                <a:gd name="connsiteX3" fmla="*/ 19105 w 62859"/>
                <a:gd name="connsiteY3" fmla="*/ 493335 h 534845"/>
                <a:gd name="connsiteX4" fmla="*/ 0 w 62859"/>
                <a:gd name="connsiteY4" fmla="*/ 0 h 534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59" h="534845">
                  <a:moveTo>
                    <a:pt x="0" y="0"/>
                  </a:moveTo>
                  <a:lnTo>
                    <a:pt x="62859" y="14581"/>
                  </a:lnTo>
                  <a:lnTo>
                    <a:pt x="51782" y="534845"/>
                  </a:lnTo>
                  <a:cubicBezTo>
                    <a:pt x="37247" y="525469"/>
                    <a:pt x="-5116" y="468681"/>
                    <a:pt x="19105" y="493335"/>
                  </a:cubicBezTo>
                  <a:cubicBezTo>
                    <a:pt x="17656" y="321921"/>
                    <a:pt x="1449" y="171414"/>
                    <a:pt x="0" y="0"/>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grpSp>
      <p:grpSp>
        <p:nvGrpSpPr>
          <p:cNvPr id="50" name="Gruppieren 49">
            <a:extLst>
              <a:ext uri="{FF2B5EF4-FFF2-40B4-BE49-F238E27FC236}">
                <a16:creationId xmlns:a16="http://schemas.microsoft.com/office/drawing/2014/main" id="{A4BF9F16-22FC-4611-B70D-15E90C8EF02C}"/>
              </a:ext>
            </a:extLst>
          </p:cNvPr>
          <p:cNvGrpSpPr/>
          <p:nvPr/>
        </p:nvGrpSpPr>
        <p:grpSpPr>
          <a:xfrm>
            <a:off x="4835289" y="3872600"/>
            <a:ext cx="585486" cy="455971"/>
            <a:chOff x="4603946" y="3005384"/>
            <a:chExt cx="703504" cy="547882"/>
          </a:xfrm>
        </p:grpSpPr>
        <p:sp>
          <p:nvSpPr>
            <p:cNvPr id="51" name="Pfeil: Fünfeck 38">
              <a:extLst>
                <a:ext uri="{FF2B5EF4-FFF2-40B4-BE49-F238E27FC236}">
                  <a16:creationId xmlns:a16="http://schemas.microsoft.com/office/drawing/2014/main" id="{4C82ECFF-8ACA-4124-962B-D0B2727B77A8}"/>
                </a:ext>
              </a:extLst>
            </p:cNvPr>
            <p:cNvSpPr/>
            <p:nvPr/>
          </p:nvSpPr>
          <p:spPr bwMode="gray">
            <a:xfrm rot="16200000" flipV="1">
              <a:off x="4779232" y="2974716"/>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52" name="Pfeil: Fünfeck 38">
              <a:extLst>
                <a:ext uri="{FF2B5EF4-FFF2-40B4-BE49-F238E27FC236}">
                  <a16:creationId xmlns:a16="http://schemas.microsoft.com/office/drawing/2014/main" id="{DB464578-F7B6-401C-A3D5-6892073767D8}"/>
                </a:ext>
              </a:extLst>
            </p:cNvPr>
            <p:cNvSpPr/>
            <p:nvPr/>
          </p:nvSpPr>
          <p:spPr bwMode="gray">
            <a:xfrm rot="16200000" flipV="1">
              <a:off x="4777327" y="2887636"/>
              <a:ext cx="352932" cy="69969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 name="connsiteX0" fmla="*/ 3808 w 352932"/>
                <a:gd name="connsiteY0" fmla="*/ 6350 h 699694"/>
                <a:gd name="connsiteX1" fmla="*/ 3744 w 352932"/>
                <a:gd name="connsiteY1" fmla="*/ 0 h 699694"/>
                <a:gd name="connsiteX2" fmla="*/ 352932 w 352932"/>
                <a:gd name="connsiteY2" fmla="*/ 347284 h 699694"/>
                <a:gd name="connsiteX3" fmla="*/ 1839 w 352932"/>
                <a:gd name="connsiteY3" fmla="*/ 698378 h 699694"/>
                <a:gd name="connsiteX4" fmla="*/ 0 w 352932"/>
                <a:gd name="connsiteY4" fmla="*/ 699648 h 69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699694">
                  <a:moveTo>
                    <a:pt x="3808" y="6350"/>
                  </a:moveTo>
                  <a:cubicBezTo>
                    <a:pt x="3787" y="4233"/>
                    <a:pt x="3765" y="2117"/>
                    <a:pt x="3744" y="0"/>
                  </a:cubicBezTo>
                  <a:lnTo>
                    <a:pt x="352932" y="347284"/>
                  </a:lnTo>
                  <a:lnTo>
                    <a:pt x="1839" y="698378"/>
                  </a:lnTo>
                  <a:cubicBezTo>
                    <a:pt x="2495" y="700071"/>
                    <a:pt x="0" y="699648"/>
                    <a:pt x="0" y="699648"/>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53" name="Rechteck 45">
              <a:extLst>
                <a:ext uri="{FF2B5EF4-FFF2-40B4-BE49-F238E27FC236}">
                  <a16:creationId xmlns:a16="http://schemas.microsoft.com/office/drawing/2014/main" id="{0E5D2881-9649-435A-BCF0-111B1A87E781}"/>
                </a:ext>
              </a:extLst>
            </p:cNvPr>
            <p:cNvSpPr/>
            <p:nvPr/>
          </p:nvSpPr>
          <p:spPr bwMode="gray">
            <a:xfrm rot="2668738">
              <a:off x="475292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54" name="Rechteck 45">
              <a:extLst>
                <a:ext uri="{FF2B5EF4-FFF2-40B4-BE49-F238E27FC236}">
                  <a16:creationId xmlns:a16="http://schemas.microsoft.com/office/drawing/2014/main" id="{C04885D0-5673-4435-AE99-ACACC13CD0A1}"/>
                </a:ext>
              </a:extLst>
            </p:cNvPr>
            <p:cNvSpPr/>
            <p:nvPr/>
          </p:nvSpPr>
          <p:spPr bwMode="gray">
            <a:xfrm rot="18931262" flipH="1">
              <a:off x="509135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grpSp>
      <p:sp>
        <p:nvSpPr>
          <p:cNvPr id="64" name="Ellipse 63">
            <a:extLst>
              <a:ext uri="{FF2B5EF4-FFF2-40B4-BE49-F238E27FC236}">
                <a16:creationId xmlns:a16="http://schemas.microsoft.com/office/drawing/2014/main" id="{5092E795-29EB-4AAE-ADDB-90BFFC1B3CD8}"/>
              </a:ext>
            </a:extLst>
          </p:cNvPr>
          <p:cNvSpPr/>
          <p:nvPr/>
        </p:nvSpPr>
        <p:spPr bwMode="gray">
          <a:xfrm>
            <a:off x="5420775" y="3531032"/>
            <a:ext cx="1368750" cy="1368750"/>
          </a:xfrm>
          <a:prstGeom prst="ellipse">
            <a:avLst/>
          </a:prstGeom>
          <a:solidFill>
            <a:schemeClr val="bg1"/>
          </a:solidFill>
          <a:ln>
            <a:solidFill>
              <a:srgbClr val="B1B1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pic>
        <p:nvPicPr>
          <p:cNvPr id="46" name="Grafik 45" descr="Ein Bild, das Schild enthält.&#10;&#10;Automatisch generierte Beschreibung">
            <a:extLst>
              <a:ext uri="{FF2B5EF4-FFF2-40B4-BE49-F238E27FC236}">
                <a16:creationId xmlns:a16="http://schemas.microsoft.com/office/drawing/2014/main" id="{8DDC4783-25D4-4A04-89B7-C8CD227CD6ED}"/>
              </a:ext>
            </a:extLst>
          </p:cNvPr>
          <p:cNvPicPr>
            <a:picLocks noChangeAspect="1"/>
          </p:cNvPicPr>
          <p:nvPr/>
        </p:nvPicPr>
        <p:blipFill>
          <a:blip r:embed="rId6"/>
          <a:stretch>
            <a:fillRect/>
          </a:stretch>
        </p:blipFill>
        <p:spPr>
          <a:xfrm>
            <a:off x="5506156" y="3731621"/>
            <a:ext cx="1194534" cy="967572"/>
          </a:xfrm>
          <a:prstGeom prst="rect">
            <a:avLst/>
          </a:prstGeom>
        </p:spPr>
      </p:pic>
      <p:sp>
        <p:nvSpPr>
          <p:cNvPr id="44" name="Ellipse 43">
            <a:extLst>
              <a:ext uri="{FF2B5EF4-FFF2-40B4-BE49-F238E27FC236}">
                <a16:creationId xmlns:a16="http://schemas.microsoft.com/office/drawing/2014/main" id="{93C0BA01-72FB-4275-A0F3-B405FA624B79}"/>
              </a:ext>
            </a:extLst>
          </p:cNvPr>
          <p:cNvSpPr/>
          <p:nvPr/>
        </p:nvSpPr>
        <p:spPr bwMode="gray">
          <a:xfrm>
            <a:off x="5419048" y="3531032"/>
            <a:ext cx="1368750" cy="1368750"/>
          </a:xfrm>
          <a:prstGeom prst="ellipse">
            <a:avLst/>
          </a:prstGeom>
          <a:noFill/>
          <a:ln>
            <a:solidFill>
              <a:srgbClr val="B1B1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sp>
        <p:nvSpPr>
          <p:cNvPr id="42" name="Ellipse 41">
            <a:extLst>
              <a:ext uri="{FF2B5EF4-FFF2-40B4-BE49-F238E27FC236}">
                <a16:creationId xmlns:a16="http://schemas.microsoft.com/office/drawing/2014/main" id="{987152C3-6A01-45F4-A953-A15464ACE049}"/>
              </a:ext>
            </a:extLst>
          </p:cNvPr>
          <p:cNvSpPr/>
          <p:nvPr/>
        </p:nvSpPr>
        <p:spPr bwMode="gray">
          <a:xfrm>
            <a:off x="4831875" y="2946643"/>
            <a:ext cx="2537532" cy="1268766"/>
          </a:xfrm>
          <a:custGeom>
            <a:avLst/>
            <a:gdLst>
              <a:gd name="connsiteX0" fmla="*/ 0 w 2537531"/>
              <a:gd name="connsiteY0" fmla="*/ 1268766 h 2537531"/>
              <a:gd name="connsiteX1" fmla="*/ 1268766 w 2537531"/>
              <a:gd name="connsiteY1" fmla="*/ 0 h 2537531"/>
              <a:gd name="connsiteX2" fmla="*/ 2537532 w 2537531"/>
              <a:gd name="connsiteY2" fmla="*/ 1268766 h 2537531"/>
              <a:gd name="connsiteX3" fmla="*/ 1268766 w 2537531"/>
              <a:gd name="connsiteY3" fmla="*/ 2537532 h 2537531"/>
              <a:gd name="connsiteX4" fmla="*/ 0 w 2537531"/>
              <a:gd name="connsiteY4" fmla="*/ 1268766 h 2537531"/>
              <a:gd name="connsiteX0" fmla="*/ 1268766 w 2537532"/>
              <a:gd name="connsiteY0" fmla="*/ 2537532 h 2628972"/>
              <a:gd name="connsiteX1" fmla="*/ 0 w 2537532"/>
              <a:gd name="connsiteY1" fmla="*/ 1268766 h 2628972"/>
              <a:gd name="connsiteX2" fmla="*/ 1268766 w 2537532"/>
              <a:gd name="connsiteY2" fmla="*/ 0 h 2628972"/>
              <a:gd name="connsiteX3" fmla="*/ 2537532 w 2537532"/>
              <a:gd name="connsiteY3" fmla="*/ 1268766 h 2628972"/>
              <a:gd name="connsiteX4" fmla="*/ 1360206 w 2537532"/>
              <a:gd name="connsiteY4" fmla="*/ 2628972 h 2628972"/>
              <a:gd name="connsiteX0" fmla="*/ 0 w 2537532"/>
              <a:gd name="connsiteY0" fmla="*/ 1268766 h 2628972"/>
              <a:gd name="connsiteX1" fmla="*/ 1268766 w 2537532"/>
              <a:gd name="connsiteY1" fmla="*/ 0 h 2628972"/>
              <a:gd name="connsiteX2" fmla="*/ 2537532 w 2537532"/>
              <a:gd name="connsiteY2" fmla="*/ 1268766 h 2628972"/>
              <a:gd name="connsiteX3" fmla="*/ 1360206 w 2537532"/>
              <a:gd name="connsiteY3" fmla="*/ 2628972 h 2628972"/>
              <a:gd name="connsiteX0" fmla="*/ 0 w 2537532"/>
              <a:gd name="connsiteY0" fmla="*/ 1268766 h 1268766"/>
              <a:gd name="connsiteX1" fmla="*/ 1268766 w 2537532"/>
              <a:gd name="connsiteY1" fmla="*/ 0 h 1268766"/>
              <a:gd name="connsiteX2" fmla="*/ 2537532 w 2537532"/>
              <a:gd name="connsiteY2" fmla="*/ 1268766 h 1268766"/>
            </a:gdLst>
            <a:ahLst/>
            <a:cxnLst>
              <a:cxn ang="0">
                <a:pos x="connsiteX0" y="connsiteY0"/>
              </a:cxn>
              <a:cxn ang="0">
                <a:pos x="connsiteX1" y="connsiteY1"/>
              </a:cxn>
              <a:cxn ang="0">
                <a:pos x="connsiteX2" y="connsiteY2"/>
              </a:cxn>
            </a:cxnLst>
            <a:rect l="l" t="t" r="r" b="b"/>
            <a:pathLst>
              <a:path w="2537532" h="1268766">
                <a:moveTo>
                  <a:pt x="0" y="1268766"/>
                </a:moveTo>
                <a:cubicBezTo>
                  <a:pt x="0" y="568046"/>
                  <a:pt x="568046" y="0"/>
                  <a:pt x="1268766" y="0"/>
                </a:cubicBezTo>
                <a:cubicBezTo>
                  <a:pt x="1969486" y="0"/>
                  <a:pt x="2537532" y="568046"/>
                  <a:pt x="2537532" y="1268766"/>
                </a:cubicBez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sp>
        <p:nvSpPr>
          <p:cNvPr id="65" name="Ellipse 64">
            <a:extLst>
              <a:ext uri="{FF2B5EF4-FFF2-40B4-BE49-F238E27FC236}">
                <a16:creationId xmlns:a16="http://schemas.microsoft.com/office/drawing/2014/main" id="{74B539BA-E0F1-4DCD-9FD7-A4B616EE0132}"/>
              </a:ext>
            </a:extLst>
          </p:cNvPr>
          <p:cNvSpPr/>
          <p:nvPr/>
        </p:nvSpPr>
        <p:spPr bwMode="gray">
          <a:xfrm>
            <a:off x="4831875" y="4225307"/>
            <a:ext cx="2537532" cy="1268766"/>
          </a:xfrm>
          <a:custGeom>
            <a:avLst/>
            <a:gdLst>
              <a:gd name="connsiteX0" fmla="*/ 0 w 2537531"/>
              <a:gd name="connsiteY0" fmla="*/ 1268766 h 2537531"/>
              <a:gd name="connsiteX1" fmla="*/ 1268766 w 2537531"/>
              <a:gd name="connsiteY1" fmla="*/ 0 h 2537531"/>
              <a:gd name="connsiteX2" fmla="*/ 2537532 w 2537531"/>
              <a:gd name="connsiteY2" fmla="*/ 1268766 h 2537531"/>
              <a:gd name="connsiteX3" fmla="*/ 1268766 w 2537531"/>
              <a:gd name="connsiteY3" fmla="*/ 2537532 h 2537531"/>
              <a:gd name="connsiteX4" fmla="*/ 0 w 2537531"/>
              <a:gd name="connsiteY4" fmla="*/ 1268766 h 2537531"/>
              <a:gd name="connsiteX0" fmla="*/ 1268766 w 2537532"/>
              <a:gd name="connsiteY0" fmla="*/ 0 h 2537532"/>
              <a:gd name="connsiteX1" fmla="*/ 2537532 w 2537532"/>
              <a:gd name="connsiteY1" fmla="*/ 1268766 h 2537532"/>
              <a:gd name="connsiteX2" fmla="*/ 1268766 w 2537532"/>
              <a:gd name="connsiteY2" fmla="*/ 2537532 h 2537532"/>
              <a:gd name="connsiteX3" fmla="*/ 0 w 2537532"/>
              <a:gd name="connsiteY3" fmla="*/ 1268766 h 2537532"/>
              <a:gd name="connsiteX4" fmla="*/ 1360206 w 2537532"/>
              <a:gd name="connsiteY4" fmla="*/ 91440 h 2537532"/>
              <a:gd name="connsiteX0" fmla="*/ 1268766 w 2537532"/>
              <a:gd name="connsiteY0" fmla="*/ 0 h 2537532"/>
              <a:gd name="connsiteX1" fmla="*/ 2537532 w 2537532"/>
              <a:gd name="connsiteY1" fmla="*/ 1268766 h 2537532"/>
              <a:gd name="connsiteX2" fmla="*/ 1268766 w 2537532"/>
              <a:gd name="connsiteY2" fmla="*/ 2537532 h 2537532"/>
              <a:gd name="connsiteX3" fmla="*/ 0 w 2537532"/>
              <a:gd name="connsiteY3" fmla="*/ 1268766 h 2537532"/>
              <a:gd name="connsiteX0" fmla="*/ 2537532 w 2537532"/>
              <a:gd name="connsiteY0" fmla="*/ 0 h 1268766"/>
              <a:gd name="connsiteX1" fmla="*/ 1268766 w 2537532"/>
              <a:gd name="connsiteY1" fmla="*/ 1268766 h 1268766"/>
              <a:gd name="connsiteX2" fmla="*/ 0 w 2537532"/>
              <a:gd name="connsiteY2" fmla="*/ 0 h 1268766"/>
              <a:gd name="connsiteX0" fmla="*/ 2537532 w 2537532"/>
              <a:gd name="connsiteY0" fmla="*/ 0 h 1268766"/>
              <a:gd name="connsiteX1" fmla="*/ 1268766 w 2537532"/>
              <a:gd name="connsiteY1" fmla="*/ 1268766 h 1268766"/>
              <a:gd name="connsiteX2" fmla="*/ 0 w 2537532"/>
              <a:gd name="connsiteY2" fmla="*/ 0 h 1268766"/>
            </a:gdLst>
            <a:ahLst/>
            <a:cxnLst>
              <a:cxn ang="0">
                <a:pos x="connsiteX0" y="connsiteY0"/>
              </a:cxn>
              <a:cxn ang="0">
                <a:pos x="connsiteX1" y="connsiteY1"/>
              </a:cxn>
              <a:cxn ang="0">
                <a:pos x="connsiteX2" y="connsiteY2"/>
              </a:cxn>
            </a:cxnLst>
            <a:rect l="l" t="t" r="r" b="b"/>
            <a:pathLst>
              <a:path w="2537532" h="1268766">
                <a:moveTo>
                  <a:pt x="2537532" y="0"/>
                </a:moveTo>
                <a:cubicBezTo>
                  <a:pt x="2537532" y="700720"/>
                  <a:pt x="1969486" y="1268766"/>
                  <a:pt x="1268766" y="1268766"/>
                </a:cubicBezTo>
                <a:cubicBezTo>
                  <a:pt x="568046" y="1268766"/>
                  <a:pt x="0" y="700720"/>
                  <a:pt x="0" y="0"/>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71" name="Gerader Verbinder 70">
            <a:extLst>
              <a:ext uri="{FF2B5EF4-FFF2-40B4-BE49-F238E27FC236}">
                <a16:creationId xmlns:a16="http://schemas.microsoft.com/office/drawing/2014/main" id="{096DB9AE-2678-4D86-81BD-F448F70E61B7}"/>
              </a:ext>
            </a:extLst>
          </p:cNvPr>
          <p:cNvCxnSpPr>
            <a:cxnSpLocks/>
          </p:cNvCxnSpPr>
          <p:nvPr/>
        </p:nvCxnSpPr>
        <p:spPr bwMode="gray">
          <a:xfrm flipH="1" flipV="1">
            <a:off x="4831874" y="4180981"/>
            <a:ext cx="1908" cy="7127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140FEAC3-9DA3-4EE0-813F-9C3AD8A77DE1}"/>
              </a:ext>
            </a:extLst>
          </p:cNvPr>
          <p:cNvCxnSpPr>
            <a:cxnSpLocks/>
            <a:stCxn id="65" idx="0"/>
          </p:cNvCxnSpPr>
          <p:nvPr/>
        </p:nvCxnSpPr>
        <p:spPr bwMode="gray">
          <a:xfrm flipH="1" flipV="1">
            <a:off x="7369173" y="4139821"/>
            <a:ext cx="234" cy="8548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Untertitel 6">
            <a:extLst>
              <a:ext uri="{FF2B5EF4-FFF2-40B4-BE49-F238E27FC236}">
                <a16:creationId xmlns:a16="http://schemas.microsoft.com/office/drawing/2014/main" id="{6D4448CD-A36E-462D-A111-DAB86309E7C2}"/>
              </a:ext>
            </a:extLst>
          </p:cNvPr>
          <p:cNvSpPr>
            <a:spLocks noGrp="1"/>
          </p:cNvSpPr>
          <p:nvPr>
            <p:ph type="subTitle" idx="1"/>
          </p:nvPr>
        </p:nvSpPr>
        <p:spPr>
          <a:xfrm>
            <a:off x="409577" y="739137"/>
            <a:ext cx="11348418" cy="426662"/>
          </a:xfrm>
        </p:spPr>
        <p:txBody>
          <a:bodyPr/>
          <a:lstStyle/>
          <a:p>
            <a:r>
              <a:rPr lang="en-US"/>
              <a:t>Schwarz Zentrale Dienste &amp;</a:t>
            </a:r>
          </a:p>
          <a:p>
            <a:r>
              <a:rPr lang="en-US"/>
              <a:t>Schwarz Dienstleistungen</a:t>
            </a:r>
          </a:p>
        </p:txBody>
      </p:sp>
      <p:sp>
        <p:nvSpPr>
          <p:cNvPr id="3" name="Textfeld 2">
            <a:extLst>
              <a:ext uri="{FF2B5EF4-FFF2-40B4-BE49-F238E27FC236}">
                <a16:creationId xmlns:a16="http://schemas.microsoft.com/office/drawing/2014/main" id="{16C776A9-8AC6-4F1A-9000-FF8139E62EBA}"/>
              </a:ext>
            </a:extLst>
          </p:cNvPr>
          <p:cNvSpPr txBox="1"/>
          <p:nvPr/>
        </p:nvSpPr>
        <p:spPr bwMode="gray">
          <a:xfrm>
            <a:off x="5646222" y="2422656"/>
            <a:ext cx="914400" cy="349324"/>
          </a:xfrm>
          <a:prstGeom prst="rect">
            <a:avLst/>
          </a:prstGeom>
          <a:solidFill>
            <a:schemeClr val="accent1"/>
          </a:solidFill>
        </p:spPr>
        <p:txBody>
          <a:bodyPr wrap="none" lIns="0" tIns="0" rIns="0" bIns="0" rtlCol="0">
            <a:prstTxWarp prst="textArchUp">
              <a:avLst/>
            </a:prstTxWarp>
            <a:noAutofit/>
          </a:bodyPr>
          <a:lstStyle/>
          <a:p>
            <a:pPr algn="ctr">
              <a:spcBef>
                <a:spcPts val="1200"/>
              </a:spcBef>
            </a:pPr>
            <a:r>
              <a:rPr lang="en-US" sz="2000" b="1">
                <a:solidFill>
                  <a:schemeClr val="bg1"/>
                </a:solidFill>
              </a:rPr>
              <a:t>Retail</a:t>
            </a:r>
          </a:p>
        </p:txBody>
      </p:sp>
      <p:sp>
        <p:nvSpPr>
          <p:cNvPr id="4" name="Textfeld 3">
            <a:extLst>
              <a:ext uri="{FF2B5EF4-FFF2-40B4-BE49-F238E27FC236}">
                <a16:creationId xmlns:a16="http://schemas.microsoft.com/office/drawing/2014/main" id="{C6528567-471A-42A3-A047-AF733DD101F9}"/>
              </a:ext>
            </a:extLst>
          </p:cNvPr>
          <p:cNvSpPr txBox="1"/>
          <p:nvPr/>
        </p:nvSpPr>
        <p:spPr bwMode="gray">
          <a:xfrm rot="14386342">
            <a:off x="3962635" y="4872012"/>
            <a:ext cx="1418466" cy="349324"/>
          </a:xfrm>
          <a:prstGeom prst="rect">
            <a:avLst/>
          </a:prstGeom>
          <a:solidFill>
            <a:schemeClr val="accent1"/>
          </a:solidFill>
        </p:spPr>
        <p:txBody>
          <a:bodyPr wrap="none" lIns="0" tIns="0" rIns="0" bIns="0" rtlCol="0">
            <a:prstTxWarp prst="textArchUp">
              <a:avLst/>
            </a:prstTxWarp>
            <a:noAutofit/>
          </a:bodyPr>
          <a:lstStyle/>
          <a:p>
            <a:pPr algn="ctr">
              <a:spcBef>
                <a:spcPts val="1200"/>
              </a:spcBef>
            </a:pPr>
            <a:r>
              <a:rPr lang="en-US" sz="2000" b="1">
                <a:solidFill>
                  <a:schemeClr val="bg1"/>
                </a:solidFill>
              </a:rPr>
              <a:t>Production</a:t>
            </a:r>
          </a:p>
        </p:txBody>
      </p:sp>
      <p:sp>
        <p:nvSpPr>
          <p:cNvPr id="12" name="Halbbogen 11">
            <a:extLst>
              <a:ext uri="{FF2B5EF4-FFF2-40B4-BE49-F238E27FC236}">
                <a16:creationId xmlns:a16="http://schemas.microsoft.com/office/drawing/2014/main" id="{EDE71170-B445-452B-9FD6-26EE1C38695C}"/>
              </a:ext>
            </a:extLst>
          </p:cNvPr>
          <p:cNvSpPr/>
          <p:nvPr/>
        </p:nvSpPr>
        <p:spPr bwMode="gray">
          <a:xfrm rot="9978330">
            <a:off x="4218775" y="2083276"/>
            <a:ext cx="3806468" cy="4073982"/>
          </a:xfrm>
          <a:prstGeom prst="blockArc">
            <a:avLst>
              <a:gd name="adj1" fmla="val 10738884"/>
              <a:gd name="adj2" fmla="val 16521447"/>
              <a:gd name="adj3" fmla="val 116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solidFill>
                <a:schemeClr val="tx1"/>
              </a:solidFill>
            </a:endParaRPr>
          </a:p>
        </p:txBody>
      </p:sp>
      <p:sp>
        <p:nvSpPr>
          <p:cNvPr id="11" name="Textfeld 10">
            <a:extLst>
              <a:ext uri="{FF2B5EF4-FFF2-40B4-BE49-F238E27FC236}">
                <a16:creationId xmlns:a16="http://schemas.microsoft.com/office/drawing/2014/main" id="{64F8C8D2-25F1-424B-B16A-45698D3F1C76}"/>
              </a:ext>
            </a:extLst>
          </p:cNvPr>
          <p:cNvSpPr txBox="1"/>
          <p:nvPr/>
        </p:nvSpPr>
        <p:spPr bwMode="gray">
          <a:xfrm rot="7247891">
            <a:off x="5271420" y="3574165"/>
            <a:ext cx="2812147" cy="2045069"/>
          </a:xfrm>
          <a:prstGeom prst="rect">
            <a:avLst/>
          </a:prstGeom>
          <a:noFill/>
        </p:spPr>
        <p:txBody>
          <a:bodyPr wrap="none" lIns="0" tIns="0" rIns="0" bIns="0" rtlCol="0">
            <a:prstTxWarp prst="textArchUp">
              <a:avLst>
                <a:gd name="adj" fmla="val 12248805"/>
              </a:avLst>
            </a:prstTxWarp>
            <a:noAutofit/>
          </a:bodyPr>
          <a:lstStyle/>
          <a:p>
            <a:pPr algn="ctr">
              <a:spcBef>
                <a:spcPts val="1200"/>
              </a:spcBef>
            </a:pPr>
            <a:r>
              <a:rPr lang="en-US" sz="2000" b="1">
                <a:solidFill>
                  <a:schemeClr val="bg1"/>
                </a:solidFill>
              </a:rPr>
              <a:t>Recyclables management</a:t>
            </a:r>
          </a:p>
        </p:txBody>
      </p:sp>
    </p:spTree>
    <p:extLst>
      <p:ext uri="{BB962C8B-B14F-4D97-AF65-F5344CB8AC3E}">
        <p14:creationId xmlns:p14="http://schemas.microsoft.com/office/powerpoint/2010/main" val="171714219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ntertitel 6"/>
          <p:cNvSpPr>
            <a:spLocks noGrp="1"/>
          </p:cNvSpPr>
          <p:nvPr>
            <p:ph type="subTitle" idx="1"/>
          </p:nvPr>
        </p:nvSpPr>
        <p:spPr/>
        <p:txBody>
          <a:bodyPr/>
          <a:lstStyle/>
          <a:p>
            <a:r>
              <a:rPr lang="en-US"/>
              <a:t>Our service provider for the divisions</a:t>
            </a:r>
          </a:p>
        </p:txBody>
      </p:sp>
      <p:sp>
        <p:nvSpPr>
          <p:cNvPr id="2" name="Titel 1"/>
          <p:cNvSpPr>
            <a:spLocks noGrp="1"/>
          </p:cNvSpPr>
          <p:nvPr>
            <p:ph type="title"/>
          </p:nvPr>
        </p:nvSpPr>
        <p:spPr/>
        <p:txBody>
          <a:bodyPr/>
          <a:lstStyle/>
          <a:p>
            <a:r>
              <a:rPr lang="en-US" dirty="0"/>
              <a:t>Schwarz Services</a:t>
            </a:r>
          </a:p>
        </p:txBody>
      </p:sp>
      <p:sp>
        <p:nvSpPr>
          <p:cNvPr id="8" name="Rechteck 7">
            <a:extLst>
              <a:ext uri="{FF2B5EF4-FFF2-40B4-BE49-F238E27FC236}">
                <a16:creationId xmlns:a16="http://schemas.microsoft.com/office/drawing/2014/main" id="{512D59CE-8856-4442-9FAB-B964D9BDAD0A}"/>
              </a:ext>
            </a:extLst>
          </p:cNvPr>
          <p:cNvSpPr/>
          <p:nvPr/>
        </p:nvSpPr>
        <p:spPr bwMode="gray">
          <a:xfrm>
            <a:off x="1245616" y="2132186"/>
            <a:ext cx="3621912" cy="75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1"/>
                </a:solidFill>
              </a:rPr>
              <a:t>Focus on administrative functions</a:t>
            </a:r>
            <a:br>
              <a:rPr lang="en-US" sz="1400" b="1">
                <a:solidFill>
                  <a:schemeClr val="accent1"/>
                </a:solidFill>
              </a:rPr>
            </a:br>
            <a:r>
              <a:rPr lang="en-US" sz="1400" b="1">
                <a:solidFill>
                  <a:schemeClr val="accent1"/>
                </a:solidFill>
              </a:rPr>
              <a:t>in the Schwarz Group</a:t>
            </a:r>
          </a:p>
        </p:txBody>
      </p:sp>
      <p:sp>
        <p:nvSpPr>
          <p:cNvPr id="16" name="Rechteck 15">
            <a:extLst>
              <a:ext uri="{FF2B5EF4-FFF2-40B4-BE49-F238E27FC236}">
                <a16:creationId xmlns:a16="http://schemas.microsoft.com/office/drawing/2014/main" id="{EC831B95-1ECD-43CF-95CA-36EB2027DB73}"/>
              </a:ext>
            </a:extLst>
          </p:cNvPr>
          <p:cNvSpPr/>
          <p:nvPr/>
        </p:nvSpPr>
        <p:spPr bwMode="gray">
          <a:xfrm>
            <a:off x="7548810" y="2132186"/>
            <a:ext cx="3491736" cy="75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1"/>
                </a:solidFill>
              </a:rPr>
              <a:t>Focus on operational functions</a:t>
            </a:r>
            <a:br>
              <a:rPr lang="en-US" sz="1400" b="1">
                <a:solidFill>
                  <a:schemeClr val="accent1"/>
                </a:solidFill>
              </a:rPr>
            </a:br>
            <a:r>
              <a:rPr lang="en-US" sz="1400" b="1">
                <a:solidFill>
                  <a:schemeClr val="accent1"/>
                </a:solidFill>
              </a:rPr>
              <a:t>in the Schwarz Group</a:t>
            </a:r>
          </a:p>
        </p:txBody>
      </p:sp>
      <p:sp>
        <p:nvSpPr>
          <p:cNvPr id="52" name="Rechteck 51">
            <a:extLst>
              <a:ext uri="{FF2B5EF4-FFF2-40B4-BE49-F238E27FC236}">
                <a16:creationId xmlns:a16="http://schemas.microsoft.com/office/drawing/2014/main" id="{C2AB7935-0562-45FD-BF88-DF6B495D7700}"/>
              </a:ext>
            </a:extLst>
          </p:cNvPr>
          <p:cNvSpPr/>
          <p:nvPr/>
        </p:nvSpPr>
        <p:spPr bwMode="gray">
          <a:xfrm>
            <a:off x="6647684" y="3466862"/>
            <a:ext cx="2574994"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Real estate</a:t>
            </a:r>
          </a:p>
        </p:txBody>
      </p:sp>
      <p:sp>
        <p:nvSpPr>
          <p:cNvPr id="53" name="Rechteck 52">
            <a:extLst>
              <a:ext uri="{FF2B5EF4-FFF2-40B4-BE49-F238E27FC236}">
                <a16:creationId xmlns:a16="http://schemas.microsoft.com/office/drawing/2014/main" id="{F2E27CCA-0D07-4E66-B7D2-EF423BE2B7A4}"/>
              </a:ext>
            </a:extLst>
          </p:cNvPr>
          <p:cNvSpPr/>
          <p:nvPr/>
        </p:nvSpPr>
        <p:spPr bwMode="gray">
          <a:xfrm>
            <a:off x="9366678" y="4054962"/>
            <a:ext cx="2417335"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Restaurant operations</a:t>
            </a:r>
          </a:p>
        </p:txBody>
      </p:sp>
      <p:sp>
        <p:nvSpPr>
          <p:cNvPr id="54" name="Rechteck 53">
            <a:extLst>
              <a:ext uri="{FF2B5EF4-FFF2-40B4-BE49-F238E27FC236}">
                <a16:creationId xmlns:a16="http://schemas.microsoft.com/office/drawing/2014/main" id="{9BC7E4F6-C684-4AAC-88C2-1DE84C6B6AE0}"/>
              </a:ext>
            </a:extLst>
          </p:cNvPr>
          <p:cNvSpPr/>
          <p:nvPr/>
        </p:nvSpPr>
        <p:spPr bwMode="gray">
          <a:xfrm>
            <a:off x="6647684" y="4051062"/>
            <a:ext cx="2574994"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IT</a:t>
            </a:r>
          </a:p>
        </p:txBody>
      </p:sp>
      <p:sp>
        <p:nvSpPr>
          <p:cNvPr id="56" name="Rechteck 55">
            <a:extLst>
              <a:ext uri="{FF2B5EF4-FFF2-40B4-BE49-F238E27FC236}">
                <a16:creationId xmlns:a16="http://schemas.microsoft.com/office/drawing/2014/main" id="{9611053F-B246-4D0B-BDF8-17CF386C8782}"/>
              </a:ext>
            </a:extLst>
          </p:cNvPr>
          <p:cNvSpPr/>
          <p:nvPr/>
        </p:nvSpPr>
        <p:spPr bwMode="gray">
          <a:xfrm>
            <a:off x="6647684" y="2885632"/>
            <a:ext cx="2574994"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Procurement</a:t>
            </a:r>
          </a:p>
        </p:txBody>
      </p:sp>
      <p:sp>
        <p:nvSpPr>
          <p:cNvPr id="57" name="Rechteck 56">
            <a:extLst>
              <a:ext uri="{FF2B5EF4-FFF2-40B4-BE49-F238E27FC236}">
                <a16:creationId xmlns:a16="http://schemas.microsoft.com/office/drawing/2014/main" id="{282EE312-6779-417F-848D-2C45D0359391}"/>
              </a:ext>
            </a:extLst>
          </p:cNvPr>
          <p:cNvSpPr/>
          <p:nvPr/>
        </p:nvSpPr>
        <p:spPr bwMode="gray">
          <a:xfrm>
            <a:off x="9366678" y="2885632"/>
            <a:ext cx="2417335"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Mobility</a:t>
            </a:r>
          </a:p>
        </p:txBody>
      </p:sp>
      <p:sp>
        <p:nvSpPr>
          <p:cNvPr id="59" name="Rechteck 58">
            <a:extLst>
              <a:ext uri="{FF2B5EF4-FFF2-40B4-BE49-F238E27FC236}">
                <a16:creationId xmlns:a16="http://schemas.microsoft.com/office/drawing/2014/main" id="{FDE28240-555E-4BFA-ADD5-7831CF822E51}"/>
              </a:ext>
            </a:extLst>
          </p:cNvPr>
          <p:cNvSpPr/>
          <p:nvPr/>
        </p:nvSpPr>
        <p:spPr bwMode="gray">
          <a:xfrm>
            <a:off x="9366678" y="3469832"/>
            <a:ext cx="2417335"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Production facilities</a:t>
            </a:r>
          </a:p>
        </p:txBody>
      </p:sp>
      <p:sp>
        <p:nvSpPr>
          <p:cNvPr id="60" name="Rechteck 59">
            <a:extLst>
              <a:ext uri="{FF2B5EF4-FFF2-40B4-BE49-F238E27FC236}">
                <a16:creationId xmlns:a16="http://schemas.microsoft.com/office/drawing/2014/main" id="{96DBC3E3-5CBE-4427-B793-9043AB825C54}"/>
              </a:ext>
            </a:extLst>
          </p:cNvPr>
          <p:cNvSpPr/>
          <p:nvPr/>
        </p:nvSpPr>
        <p:spPr bwMode="gray">
          <a:xfrm>
            <a:off x="409578" y="5223362"/>
            <a:ext cx="2574994"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Accounting</a:t>
            </a:r>
          </a:p>
        </p:txBody>
      </p:sp>
      <p:sp>
        <p:nvSpPr>
          <p:cNvPr id="61" name="Rechteck 60">
            <a:extLst>
              <a:ext uri="{FF2B5EF4-FFF2-40B4-BE49-F238E27FC236}">
                <a16:creationId xmlns:a16="http://schemas.microsoft.com/office/drawing/2014/main" id="{87BB0999-8C62-4B1A-A7CD-E904676C4478}"/>
              </a:ext>
            </a:extLst>
          </p:cNvPr>
          <p:cNvSpPr/>
          <p:nvPr/>
        </p:nvSpPr>
        <p:spPr bwMode="gray">
          <a:xfrm>
            <a:off x="3128572" y="5223362"/>
            <a:ext cx="2417335"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Administration</a:t>
            </a:r>
          </a:p>
        </p:txBody>
      </p:sp>
      <p:sp>
        <p:nvSpPr>
          <p:cNvPr id="62" name="Rechteck 61">
            <a:extLst>
              <a:ext uri="{FF2B5EF4-FFF2-40B4-BE49-F238E27FC236}">
                <a16:creationId xmlns:a16="http://schemas.microsoft.com/office/drawing/2014/main" id="{0155305E-2E88-40F9-BA15-2389661116D9}"/>
              </a:ext>
            </a:extLst>
          </p:cNvPr>
          <p:cNvSpPr/>
          <p:nvPr/>
        </p:nvSpPr>
        <p:spPr bwMode="gray">
          <a:xfrm>
            <a:off x="409578" y="5807562"/>
            <a:ext cx="2574994"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Legal &amp; compliance</a:t>
            </a:r>
          </a:p>
        </p:txBody>
      </p:sp>
      <p:sp>
        <p:nvSpPr>
          <p:cNvPr id="63" name="Rechteck 62">
            <a:extLst>
              <a:ext uri="{FF2B5EF4-FFF2-40B4-BE49-F238E27FC236}">
                <a16:creationId xmlns:a16="http://schemas.microsoft.com/office/drawing/2014/main" id="{D314B1D2-5FE9-4476-9F58-2E6D4C7A6F42}"/>
              </a:ext>
            </a:extLst>
          </p:cNvPr>
          <p:cNvSpPr/>
          <p:nvPr/>
        </p:nvSpPr>
        <p:spPr bwMode="gray">
          <a:xfrm>
            <a:off x="3128572" y="5807562"/>
            <a:ext cx="2417335"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Corporate</a:t>
            </a:r>
            <a:br>
              <a:rPr lang="en-US" sz="1200" b="1" dirty="0">
                <a:solidFill>
                  <a:schemeClr val="tx1"/>
                </a:solidFill>
              </a:rPr>
            </a:br>
            <a:r>
              <a:rPr lang="en-US" sz="1200" b="1" dirty="0">
                <a:solidFill>
                  <a:schemeClr val="tx1"/>
                </a:solidFill>
              </a:rPr>
              <a:t>communications / CSR</a:t>
            </a:r>
          </a:p>
        </p:txBody>
      </p:sp>
      <p:sp>
        <p:nvSpPr>
          <p:cNvPr id="64" name="Rechteck 63">
            <a:extLst>
              <a:ext uri="{FF2B5EF4-FFF2-40B4-BE49-F238E27FC236}">
                <a16:creationId xmlns:a16="http://schemas.microsoft.com/office/drawing/2014/main" id="{5CB82775-03EB-40C0-8445-C2844138D5C3}"/>
              </a:ext>
            </a:extLst>
          </p:cNvPr>
          <p:cNvSpPr/>
          <p:nvPr/>
        </p:nvSpPr>
        <p:spPr bwMode="gray">
          <a:xfrm>
            <a:off x="409578" y="4054962"/>
            <a:ext cx="2574994"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In-house consulting</a:t>
            </a:r>
          </a:p>
        </p:txBody>
      </p:sp>
      <p:sp>
        <p:nvSpPr>
          <p:cNvPr id="65" name="Rechteck 64">
            <a:extLst>
              <a:ext uri="{FF2B5EF4-FFF2-40B4-BE49-F238E27FC236}">
                <a16:creationId xmlns:a16="http://schemas.microsoft.com/office/drawing/2014/main" id="{B7849FEC-CE57-4FD2-B50E-5CF4578A8F6A}"/>
              </a:ext>
            </a:extLst>
          </p:cNvPr>
          <p:cNvSpPr/>
          <p:nvPr/>
        </p:nvSpPr>
        <p:spPr bwMode="gray">
          <a:xfrm>
            <a:off x="3128572" y="4054962"/>
            <a:ext cx="2417335"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Corporate organization</a:t>
            </a:r>
          </a:p>
        </p:txBody>
      </p:sp>
      <p:sp>
        <p:nvSpPr>
          <p:cNvPr id="66" name="Rechteck 65">
            <a:extLst>
              <a:ext uri="{FF2B5EF4-FFF2-40B4-BE49-F238E27FC236}">
                <a16:creationId xmlns:a16="http://schemas.microsoft.com/office/drawing/2014/main" id="{5091B3F2-D9E7-4093-8C56-33613A31B02E}"/>
              </a:ext>
            </a:extLst>
          </p:cNvPr>
          <p:cNvSpPr/>
          <p:nvPr/>
        </p:nvSpPr>
        <p:spPr bwMode="gray">
          <a:xfrm>
            <a:off x="409578" y="4639162"/>
            <a:ext cx="2574994"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Staff</a:t>
            </a:r>
          </a:p>
        </p:txBody>
      </p:sp>
      <p:sp>
        <p:nvSpPr>
          <p:cNvPr id="67" name="Rechteck 66">
            <a:extLst>
              <a:ext uri="{FF2B5EF4-FFF2-40B4-BE49-F238E27FC236}">
                <a16:creationId xmlns:a16="http://schemas.microsoft.com/office/drawing/2014/main" id="{4CB81517-B0BE-4C6E-B63B-0B154ED5D56E}"/>
              </a:ext>
            </a:extLst>
          </p:cNvPr>
          <p:cNvSpPr/>
          <p:nvPr/>
        </p:nvSpPr>
        <p:spPr bwMode="gray">
          <a:xfrm>
            <a:off x="3128572" y="4639162"/>
            <a:ext cx="2417335"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Insurance</a:t>
            </a:r>
          </a:p>
        </p:txBody>
      </p:sp>
      <p:sp>
        <p:nvSpPr>
          <p:cNvPr id="68" name="Rechteck 67">
            <a:extLst>
              <a:ext uri="{FF2B5EF4-FFF2-40B4-BE49-F238E27FC236}">
                <a16:creationId xmlns:a16="http://schemas.microsoft.com/office/drawing/2014/main" id="{781F297C-837E-49AF-9444-A546BEE060A7}"/>
              </a:ext>
            </a:extLst>
          </p:cNvPr>
          <p:cNvSpPr/>
          <p:nvPr/>
        </p:nvSpPr>
        <p:spPr bwMode="gray">
          <a:xfrm>
            <a:off x="409578" y="2885632"/>
            <a:ext cx="2574994"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Controlling</a:t>
            </a:r>
          </a:p>
        </p:txBody>
      </p:sp>
      <p:sp>
        <p:nvSpPr>
          <p:cNvPr id="69" name="Rechteck 68">
            <a:extLst>
              <a:ext uri="{FF2B5EF4-FFF2-40B4-BE49-F238E27FC236}">
                <a16:creationId xmlns:a16="http://schemas.microsoft.com/office/drawing/2014/main" id="{8C7C67C3-E477-4E82-9CC4-4A5BB18B96F6}"/>
              </a:ext>
            </a:extLst>
          </p:cNvPr>
          <p:cNvSpPr/>
          <p:nvPr/>
        </p:nvSpPr>
        <p:spPr bwMode="gray">
          <a:xfrm>
            <a:off x="3128572" y="2885632"/>
            <a:ext cx="2417335"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Auditing</a:t>
            </a:r>
          </a:p>
        </p:txBody>
      </p:sp>
      <p:sp>
        <p:nvSpPr>
          <p:cNvPr id="70" name="Rechteck 69">
            <a:extLst>
              <a:ext uri="{FF2B5EF4-FFF2-40B4-BE49-F238E27FC236}">
                <a16:creationId xmlns:a16="http://schemas.microsoft.com/office/drawing/2014/main" id="{72E55426-A467-4367-83A8-26FA5311F85B}"/>
              </a:ext>
            </a:extLst>
          </p:cNvPr>
          <p:cNvSpPr/>
          <p:nvPr/>
        </p:nvSpPr>
        <p:spPr bwMode="gray">
          <a:xfrm>
            <a:off x="409578" y="3469832"/>
            <a:ext cx="2574994"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Finance</a:t>
            </a:r>
          </a:p>
        </p:txBody>
      </p:sp>
      <p:sp>
        <p:nvSpPr>
          <p:cNvPr id="71" name="Rechteck 70">
            <a:extLst>
              <a:ext uri="{FF2B5EF4-FFF2-40B4-BE49-F238E27FC236}">
                <a16:creationId xmlns:a16="http://schemas.microsoft.com/office/drawing/2014/main" id="{2FE40019-4B32-4DA4-9E78-4742655BEC77}"/>
              </a:ext>
            </a:extLst>
          </p:cNvPr>
          <p:cNvSpPr/>
          <p:nvPr/>
        </p:nvSpPr>
        <p:spPr bwMode="gray">
          <a:xfrm>
            <a:off x="3128572" y="3469832"/>
            <a:ext cx="2417335" cy="45420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tx1"/>
                </a:solidFill>
              </a:rPr>
              <a:t>Taxes</a:t>
            </a:r>
          </a:p>
        </p:txBody>
      </p:sp>
      <p:pic>
        <p:nvPicPr>
          <p:cNvPr id="5" name="Grafik 4">
            <a:extLst>
              <a:ext uri="{FF2B5EF4-FFF2-40B4-BE49-F238E27FC236}">
                <a16:creationId xmlns:a16="http://schemas.microsoft.com/office/drawing/2014/main" id="{6B2BF435-51B3-464D-997D-F26D086446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52052" y="1502049"/>
            <a:ext cx="1953039" cy="716619"/>
          </a:xfrm>
          <a:prstGeom prst="rect">
            <a:avLst/>
          </a:prstGeom>
        </p:spPr>
      </p:pic>
      <p:pic>
        <p:nvPicPr>
          <p:cNvPr id="10" name="Grafik 9">
            <a:extLst>
              <a:ext uri="{FF2B5EF4-FFF2-40B4-BE49-F238E27FC236}">
                <a16:creationId xmlns:a16="http://schemas.microsoft.com/office/drawing/2014/main" id="{4D113BDC-91C8-4068-B1D8-44AF567C4A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46158" y="1456215"/>
            <a:ext cx="1953039" cy="716619"/>
          </a:xfrm>
          <a:prstGeom prst="rect">
            <a:avLst/>
          </a:prstGeom>
        </p:spPr>
      </p:pic>
      <p:pic>
        <p:nvPicPr>
          <p:cNvPr id="13" name="Grafik 12">
            <a:extLst>
              <a:ext uri="{FF2B5EF4-FFF2-40B4-BE49-F238E27FC236}">
                <a16:creationId xmlns:a16="http://schemas.microsoft.com/office/drawing/2014/main" id="{AE4AE5D9-1C1B-47F0-AA8D-4ADCA2DE30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25232" y="1271533"/>
            <a:ext cx="1338361" cy="1085984"/>
          </a:xfrm>
          <a:prstGeom prst="rect">
            <a:avLst/>
          </a:prstGeom>
        </p:spPr>
      </p:pic>
      <p:sp>
        <p:nvSpPr>
          <p:cNvPr id="4" name="Foliennummernplatzhalter 3">
            <a:extLst>
              <a:ext uri="{FF2B5EF4-FFF2-40B4-BE49-F238E27FC236}">
                <a16:creationId xmlns:a16="http://schemas.microsoft.com/office/drawing/2014/main" id="{C4DD20F3-744B-4E74-BC34-6F18DC214FF6}"/>
              </a:ext>
            </a:extLst>
          </p:cNvPr>
          <p:cNvSpPr>
            <a:spLocks noGrp="1"/>
          </p:cNvSpPr>
          <p:nvPr>
            <p:ph type="sldNum" sz="quarter" idx="12"/>
          </p:nvPr>
        </p:nvSpPr>
        <p:spPr/>
        <p:txBody>
          <a:bodyPr/>
          <a:lstStyle/>
          <a:p>
            <a:fld id="{0C7C1E0B-BD27-42F8-BC6B-2F0636970842}" type="slidenum">
              <a:rPr lang="de-DE" smtClean="0"/>
              <a:pPr/>
              <a:t>25</a:t>
            </a:fld>
            <a:endParaRPr lang="de-DE"/>
          </a:p>
        </p:txBody>
      </p:sp>
    </p:spTree>
    <p:extLst>
      <p:ext uri="{BB962C8B-B14F-4D97-AF65-F5344CB8AC3E}">
        <p14:creationId xmlns:p14="http://schemas.microsoft.com/office/powerpoint/2010/main" val="417309549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p:cNvSpPr>
            <a:spLocks noGrp="1"/>
          </p:cNvSpPr>
          <p:nvPr>
            <p:ph type="subTitle" idx="1"/>
          </p:nvPr>
        </p:nvSpPr>
        <p:spPr/>
        <p:txBody>
          <a:bodyPr/>
          <a:lstStyle/>
          <a:p>
            <a:r>
              <a:rPr lang="en-US" dirty="0"/>
              <a:t>Schwarz CENTRAL SERVICES</a:t>
            </a:r>
          </a:p>
        </p:txBody>
      </p:sp>
      <p:sp>
        <p:nvSpPr>
          <p:cNvPr id="4" name="Rechteck 3"/>
          <p:cNvSpPr/>
          <p:nvPr/>
        </p:nvSpPr>
        <p:spPr>
          <a:xfrm>
            <a:off x="1247907" y="1702965"/>
            <a:ext cx="1042287" cy="2348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prstClr val="white"/>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41003831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Schwarz central service</a:t>
            </a:r>
          </a:p>
        </p:txBody>
      </p:sp>
      <p:pic>
        <p:nvPicPr>
          <p:cNvPr id="10" name="Picture 4" descr="Bildergebnis fÃ¼r internationaler einkauf">
            <a:extLst>
              <a:ext uri="{FF2B5EF4-FFF2-40B4-BE49-F238E27FC236}">
                <a16:creationId xmlns:a16="http://schemas.microsoft.com/office/drawing/2014/main" id="{81465F88-3CAE-4540-8ABA-612D92F5F713}"/>
              </a:ext>
            </a:extLst>
          </p:cNvPr>
          <p:cNvPicPr>
            <a:picLocks noChangeArrowheads="1"/>
          </p:cNvPicPr>
          <p:nvPr/>
        </p:nvPicPr>
        <p:blipFill rotWithShape="1">
          <a:blip r:embed="rId3">
            <a:extLst>
              <a:ext uri="{28A0092B-C50C-407E-A947-70E740481C1C}">
                <a14:useLocalDpi xmlns:a14="http://schemas.microsoft.com/office/drawing/2010/main"/>
              </a:ext>
            </a:extLst>
          </a:blip>
          <a:srcRect l="60371" t="156" r="23531" b="1457"/>
          <a:stretch/>
        </p:blipFill>
        <p:spPr bwMode="auto">
          <a:xfrm>
            <a:off x="2346327" y="1412875"/>
            <a:ext cx="1766887" cy="5018400"/>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a:extLst>
              <a:ext uri="{FF2B5EF4-FFF2-40B4-BE49-F238E27FC236}">
                <a16:creationId xmlns:a16="http://schemas.microsoft.com/office/drawing/2014/main" id="{A0869694-98CA-451B-8FAF-682BB8086053}"/>
              </a:ext>
            </a:extLst>
          </p:cNvPr>
          <p:cNvPicPr>
            <a:picLocks/>
          </p:cNvPicPr>
          <p:nvPr/>
        </p:nvPicPr>
        <p:blipFill rotWithShape="1">
          <a:blip r:embed="rId4">
            <a:extLst>
              <a:ext uri="{28A0092B-C50C-407E-A947-70E740481C1C}">
                <a14:useLocalDpi xmlns:a14="http://schemas.microsoft.com/office/drawing/2010/main"/>
              </a:ext>
            </a:extLst>
          </a:blip>
          <a:srcRect l="43524" r="12400"/>
          <a:stretch/>
        </p:blipFill>
        <p:spPr>
          <a:xfrm>
            <a:off x="6167439" y="1412875"/>
            <a:ext cx="5587998" cy="5018400"/>
          </a:xfrm>
          <a:prstGeom prst="rect">
            <a:avLst/>
          </a:prstGeom>
        </p:spPr>
      </p:pic>
      <p:pic>
        <p:nvPicPr>
          <p:cNvPr id="7" name="Picture 6" descr="Bildergebnis fÃ¼r bmw 3er gt">
            <a:extLst>
              <a:ext uri="{FF2B5EF4-FFF2-40B4-BE49-F238E27FC236}">
                <a16:creationId xmlns:a16="http://schemas.microsoft.com/office/drawing/2014/main" id="{0C16480A-DF1F-440F-A710-C45B1E93295D}"/>
              </a:ext>
            </a:extLst>
          </p:cNvPr>
          <p:cNvPicPr>
            <a:picLocks noChangeArrowheads="1"/>
          </p:cNvPicPr>
          <p:nvPr/>
        </p:nvPicPr>
        <p:blipFill rotWithShape="1">
          <a:blip r:embed="rId5">
            <a:extLst>
              <a:ext uri="{28A0092B-C50C-407E-A947-70E740481C1C}">
                <a14:useLocalDpi xmlns:a14="http://schemas.microsoft.com/office/drawing/2010/main"/>
              </a:ext>
            </a:extLst>
          </a:blip>
          <a:srcRect l="75432" r="7821"/>
          <a:stretch/>
        </p:blipFill>
        <p:spPr bwMode="auto">
          <a:xfrm>
            <a:off x="431800" y="1412875"/>
            <a:ext cx="1768475" cy="50184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Bildergebnis fÃ¼r schwarz restaurantbetriebe">
            <a:extLst>
              <a:ext uri="{FF2B5EF4-FFF2-40B4-BE49-F238E27FC236}">
                <a16:creationId xmlns:a16="http://schemas.microsoft.com/office/drawing/2014/main" id="{8FF487B6-5EED-41DE-AD50-87C249A90C96}"/>
              </a:ext>
            </a:extLst>
          </p:cNvPr>
          <p:cNvPicPr>
            <a:picLocks noChangeArrowheads="1"/>
          </p:cNvPicPr>
          <p:nvPr/>
        </p:nvPicPr>
        <p:blipFill rotWithShape="1">
          <a:blip r:embed="rId6">
            <a:extLst>
              <a:ext uri="{28A0092B-C50C-407E-A947-70E740481C1C}">
                <a14:useLocalDpi xmlns:a14="http://schemas.microsoft.com/office/drawing/2010/main"/>
              </a:ext>
            </a:extLst>
          </a:blip>
          <a:srcRect l="48042" t="-86" r="26750" b="86"/>
          <a:stretch/>
        </p:blipFill>
        <p:spPr bwMode="auto">
          <a:xfrm>
            <a:off x="4252912" y="1412875"/>
            <a:ext cx="1770063" cy="5018400"/>
          </a:xfrm>
          <a:prstGeom prst="rect">
            <a:avLst/>
          </a:prstGeom>
          <a:noFill/>
          <a:extLst>
            <a:ext uri="{909E8E84-426E-40DD-AFC4-6F175D3DCCD1}">
              <a14:hiddenFill xmlns:a14="http://schemas.microsoft.com/office/drawing/2010/main">
                <a:solidFill>
                  <a:srgbClr val="FFFFFF"/>
                </a:solidFill>
              </a14:hiddenFill>
            </a:ext>
          </a:extLst>
        </p:spPr>
      </p:pic>
      <p:sp>
        <p:nvSpPr>
          <p:cNvPr id="11" name="Untertitel 2">
            <a:extLst>
              <a:ext uri="{FF2B5EF4-FFF2-40B4-BE49-F238E27FC236}">
                <a16:creationId xmlns:a16="http://schemas.microsoft.com/office/drawing/2014/main" id="{315D87CE-7D91-4E7C-A31F-B51D424B5075}"/>
              </a:ext>
            </a:extLst>
          </p:cNvPr>
          <p:cNvSpPr>
            <a:spLocks noGrp="1"/>
          </p:cNvSpPr>
          <p:nvPr>
            <p:ph type="subTitle" idx="1"/>
          </p:nvPr>
        </p:nvSpPr>
        <p:spPr>
          <a:xfrm>
            <a:off x="409577" y="739137"/>
            <a:ext cx="11348418" cy="426662"/>
          </a:xfrm>
        </p:spPr>
        <p:txBody>
          <a:bodyPr/>
          <a:lstStyle/>
          <a:p>
            <a:r>
              <a:rPr lang="en-US" dirty="0"/>
              <a:t>SMS, SBES, SRB, SIS</a:t>
            </a:r>
          </a:p>
        </p:txBody>
      </p:sp>
      <p:sp>
        <p:nvSpPr>
          <p:cNvPr id="4" name="Foliennummernplatzhalter 3">
            <a:extLst>
              <a:ext uri="{FF2B5EF4-FFF2-40B4-BE49-F238E27FC236}">
                <a16:creationId xmlns:a16="http://schemas.microsoft.com/office/drawing/2014/main" id="{BF17BF22-DE04-4544-B662-BD09BE0D4093}"/>
              </a:ext>
            </a:extLst>
          </p:cNvPr>
          <p:cNvSpPr>
            <a:spLocks noGrp="1"/>
          </p:cNvSpPr>
          <p:nvPr>
            <p:ph type="sldNum" sz="quarter" idx="12"/>
          </p:nvPr>
        </p:nvSpPr>
        <p:spPr/>
        <p:txBody>
          <a:bodyPr/>
          <a:lstStyle/>
          <a:p>
            <a:fld id="{0C7C1E0B-BD27-42F8-BC6B-2F0636970842}" type="slidenum">
              <a:rPr lang="de-DE" smtClean="0"/>
              <a:pPr/>
              <a:t>27</a:t>
            </a:fld>
            <a:endParaRPr lang="de-DE"/>
          </a:p>
        </p:txBody>
      </p:sp>
    </p:spTree>
    <p:extLst>
      <p:ext uri="{BB962C8B-B14F-4D97-AF65-F5344CB8AC3E}">
        <p14:creationId xmlns:p14="http://schemas.microsoft.com/office/powerpoint/2010/main" val="2124892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Bildergebnis fÃ¼r internationaler einkauf">
            <a:extLst>
              <a:ext uri="{FF2B5EF4-FFF2-40B4-BE49-F238E27FC236}">
                <a16:creationId xmlns:a16="http://schemas.microsoft.com/office/drawing/2014/main" id="{81465F88-3CAE-4540-8ABA-612D92F5F713}"/>
              </a:ext>
            </a:extLst>
          </p:cNvPr>
          <p:cNvPicPr>
            <a:picLocks noChangeArrowheads="1"/>
          </p:cNvPicPr>
          <p:nvPr/>
        </p:nvPicPr>
        <p:blipFill rotWithShape="1">
          <a:blip r:embed="rId3">
            <a:alphaModFix amt="40000"/>
            <a:extLst>
              <a:ext uri="{28A0092B-C50C-407E-A947-70E740481C1C}">
                <a14:useLocalDpi xmlns:a14="http://schemas.microsoft.com/office/drawing/2010/main"/>
              </a:ext>
            </a:extLst>
          </a:blip>
          <a:srcRect l="60371" t="156" r="23531" b="1457"/>
          <a:stretch/>
        </p:blipFill>
        <p:spPr bwMode="auto">
          <a:xfrm>
            <a:off x="2346327" y="1412875"/>
            <a:ext cx="1766887" cy="5018400"/>
          </a:xfrm>
          <a:prstGeom prst="rect">
            <a:avLst/>
          </a:prstGeom>
          <a:noFill/>
          <a:extLst>
            <a:ext uri="{909E8E84-426E-40DD-AFC4-6F175D3DCCD1}">
              <a14:hiddenFill xmlns:a14="http://schemas.microsoft.com/office/drawing/2010/main">
                <a:solidFill>
                  <a:srgbClr val="FFFFFF"/>
                </a:solidFill>
              </a14:hiddenFill>
            </a:ext>
          </a:extLst>
        </p:spPr>
      </p:pic>
      <p:sp>
        <p:nvSpPr>
          <p:cNvPr id="27" name="Rechteck 26">
            <a:extLst>
              <a:ext uri="{FF2B5EF4-FFF2-40B4-BE49-F238E27FC236}">
                <a16:creationId xmlns:a16="http://schemas.microsoft.com/office/drawing/2014/main" id="{72B694A5-628F-4142-9943-C20FEF6FBB63}"/>
              </a:ext>
            </a:extLst>
          </p:cNvPr>
          <p:cNvSpPr/>
          <p:nvPr/>
        </p:nvSpPr>
        <p:spPr bwMode="gray">
          <a:xfrm>
            <a:off x="2337998" y="1412875"/>
            <a:ext cx="1775215" cy="5024338"/>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sp>
        <p:nvSpPr>
          <p:cNvPr id="3" name="Titel 2"/>
          <p:cNvSpPr>
            <a:spLocks noGrp="1"/>
          </p:cNvSpPr>
          <p:nvPr>
            <p:ph type="title"/>
          </p:nvPr>
        </p:nvSpPr>
        <p:spPr/>
        <p:txBody>
          <a:bodyPr/>
          <a:lstStyle/>
          <a:p>
            <a:r>
              <a:rPr lang="en-US" dirty="0"/>
              <a:t>Schwarz central service</a:t>
            </a:r>
          </a:p>
        </p:txBody>
      </p:sp>
      <p:pic>
        <p:nvPicPr>
          <p:cNvPr id="12" name="Grafik 11">
            <a:extLst>
              <a:ext uri="{FF2B5EF4-FFF2-40B4-BE49-F238E27FC236}">
                <a16:creationId xmlns:a16="http://schemas.microsoft.com/office/drawing/2014/main" id="{A0869694-98CA-451B-8FAF-682BB8086053}"/>
              </a:ext>
            </a:extLst>
          </p:cNvPr>
          <p:cNvPicPr>
            <a:picLocks/>
          </p:cNvPicPr>
          <p:nvPr/>
        </p:nvPicPr>
        <p:blipFill rotWithShape="1">
          <a:blip r:embed="rId4">
            <a:extLst>
              <a:ext uri="{28A0092B-C50C-407E-A947-70E740481C1C}">
                <a14:useLocalDpi xmlns:a14="http://schemas.microsoft.com/office/drawing/2010/main"/>
              </a:ext>
            </a:extLst>
          </a:blip>
          <a:srcRect l="43524" r="12400"/>
          <a:stretch/>
        </p:blipFill>
        <p:spPr>
          <a:xfrm>
            <a:off x="6167439" y="1412875"/>
            <a:ext cx="5587998" cy="5018400"/>
          </a:xfrm>
          <a:prstGeom prst="rect">
            <a:avLst/>
          </a:prstGeom>
        </p:spPr>
      </p:pic>
      <p:pic>
        <p:nvPicPr>
          <p:cNvPr id="7" name="Picture 6" descr="Bildergebnis fÃ¼r bmw 3er gt">
            <a:extLst>
              <a:ext uri="{FF2B5EF4-FFF2-40B4-BE49-F238E27FC236}">
                <a16:creationId xmlns:a16="http://schemas.microsoft.com/office/drawing/2014/main" id="{0C16480A-DF1F-440F-A710-C45B1E93295D}"/>
              </a:ext>
            </a:extLst>
          </p:cNvPr>
          <p:cNvPicPr>
            <a:picLocks noChangeArrowheads="1"/>
          </p:cNvPicPr>
          <p:nvPr/>
        </p:nvPicPr>
        <p:blipFill rotWithShape="1">
          <a:blip r:embed="rId5">
            <a:extLst>
              <a:ext uri="{28A0092B-C50C-407E-A947-70E740481C1C}">
                <a14:useLocalDpi xmlns:a14="http://schemas.microsoft.com/office/drawing/2010/main"/>
              </a:ext>
            </a:extLst>
          </a:blip>
          <a:srcRect l="75432" r="7821"/>
          <a:stretch/>
        </p:blipFill>
        <p:spPr bwMode="auto">
          <a:xfrm>
            <a:off x="431800" y="1412875"/>
            <a:ext cx="1768475" cy="50184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Bildergebnis fÃ¼r schwarz restaurantbetriebe">
            <a:extLst>
              <a:ext uri="{FF2B5EF4-FFF2-40B4-BE49-F238E27FC236}">
                <a16:creationId xmlns:a16="http://schemas.microsoft.com/office/drawing/2014/main" id="{8FF487B6-5EED-41DE-AD50-87C249A90C96}"/>
              </a:ext>
            </a:extLst>
          </p:cNvPr>
          <p:cNvPicPr>
            <a:picLocks noChangeArrowheads="1"/>
          </p:cNvPicPr>
          <p:nvPr/>
        </p:nvPicPr>
        <p:blipFill rotWithShape="1">
          <a:blip r:embed="rId6">
            <a:alphaModFix amt="40000"/>
            <a:extLst>
              <a:ext uri="{28A0092B-C50C-407E-A947-70E740481C1C}">
                <a14:useLocalDpi xmlns:a14="http://schemas.microsoft.com/office/drawing/2010/main"/>
              </a:ext>
            </a:extLst>
          </a:blip>
          <a:srcRect l="48042" t="-86" r="26750" b="86"/>
          <a:stretch/>
        </p:blipFill>
        <p:spPr bwMode="auto">
          <a:xfrm>
            <a:off x="4252912" y="1412875"/>
            <a:ext cx="1770063" cy="5018400"/>
          </a:xfrm>
          <a:prstGeom prst="rect">
            <a:avLst/>
          </a:prstGeom>
          <a:noFill/>
          <a:extLst>
            <a:ext uri="{909E8E84-426E-40DD-AFC4-6F175D3DCCD1}">
              <a14:hiddenFill xmlns:a14="http://schemas.microsoft.com/office/drawing/2010/main">
                <a:solidFill>
                  <a:srgbClr val="FFFFFF"/>
                </a:solidFill>
              </a14:hiddenFill>
            </a:ext>
          </a:extLst>
        </p:spPr>
      </p:pic>
      <p:sp>
        <p:nvSpPr>
          <p:cNvPr id="11" name="Untertitel 2">
            <a:extLst>
              <a:ext uri="{FF2B5EF4-FFF2-40B4-BE49-F238E27FC236}">
                <a16:creationId xmlns:a16="http://schemas.microsoft.com/office/drawing/2014/main" id="{315D87CE-7D91-4E7C-A31F-B51D424B5075}"/>
              </a:ext>
            </a:extLst>
          </p:cNvPr>
          <p:cNvSpPr>
            <a:spLocks noGrp="1"/>
          </p:cNvSpPr>
          <p:nvPr>
            <p:ph type="subTitle" idx="1"/>
          </p:nvPr>
        </p:nvSpPr>
        <p:spPr>
          <a:xfrm>
            <a:off x="409577" y="739137"/>
            <a:ext cx="11348418" cy="426662"/>
          </a:xfrm>
        </p:spPr>
        <p:txBody>
          <a:bodyPr/>
          <a:lstStyle/>
          <a:p>
            <a:r>
              <a:rPr lang="en-US"/>
              <a:t>Schwarz Mobility Solution (SMS) </a:t>
            </a:r>
          </a:p>
        </p:txBody>
      </p:sp>
      <p:sp>
        <p:nvSpPr>
          <p:cNvPr id="4" name="Foliennummernplatzhalter 3">
            <a:extLst>
              <a:ext uri="{FF2B5EF4-FFF2-40B4-BE49-F238E27FC236}">
                <a16:creationId xmlns:a16="http://schemas.microsoft.com/office/drawing/2014/main" id="{BF17BF22-DE04-4544-B662-BD09BE0D4093}"/>
              </a:ext>
            </a:extLst>
          </p:cNvPr>
          <p:cNvSpPr>
            <a:spLocks noGrp="1"/>
          </p:cNvSpPr>
          <p:nvPr>
            <p:ph type="sldNum" sz="quarter" idx="12"/>
          </p:nvPr>
        </p:nvSpPr>
        <p:spPr/>
        <p:txBody>
          <a:bodyPr/>
          <a:lstStyle/>
          <a:p>
            <a:fld id="{0C7C1E0B-BD27-42F8-BC6B-2F0636970842}" type="slidenum">
              <a:rPr lang="de-DE" smtClean="0"/>
              <a:pPr/>
              <a:t>28</a:t>
            </a:fld>
            <a:endParaRPr lang="de-DE"/>
          </a:p>
        </p:txBody>
      </p:sp>
      <p:sp>
        <p:nvSpPr>
          <p:cNvPr id="6" name="Rechteck 5">
            <a:extLst>
              <a:ext uri="{FF2B5EF4-FFF2-40B4-BE49-F238E27FC236}">
                <a16:creationId xmlns:a16="http://schemas.microsoft.com/office/drawing/2014/main" id="{2B2B890B-908C-40A4-9B86-9580CE3E1042}"/>
              </a:ext>
            </a:extLst>
          </p:cNvPr>
          <p:cNvSpPr/>
          <p:nvPr/>
        </p:nvSpPr>
        <p:spPr bwMode="gray">
          <a:xfrm>
            <a:off x="6167439" y="1412875"/>
            <a:ext cx="5587998" cy="5018399"/>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sp>
        <p:nvSpPr>
          <p:cNvPr id="13" name="Rechteck 12">
            <a:extLst>
              <a:ext uri="{FF2B5EF4-FFF2-40B4-BE49-F238E27FC236}">
                <a16:creationId xmlns:a16="http://schemas.microsoft.com/office/drawing/2014/main" id="{BEEACC0E-CC11-40A5-95A1-CFE7F5F6F40E}"/>
              </a:ext>
            </a:extLst>
          </p:cNvPr>
          <p:cNvSpPr/>
          <p:nvPr/>
        </p:nvSpPr>
        <p:spPr>
          <a:xfrm>
            <a:off x="2339972" y="2168439"/>
            <a:ext cx="1214557" cy="56486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marL="0" marR="0" lvl="0" indent="0" algn="ctr" defTabSz="1088502"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noProof="0">
                <a:ln>
                  <a:noFill/>
                </a:ln>
                <a:solidFill>
                  <a:prstClr val="white"/>
                </a:solidFill>
                <a:uLnTx/>
                <a:uFillTx/>
                <a:latin typeface="Arial"/>
                <a:ea typeface="+mn-ea"/>
                <a:cs typeface="+mn-cs"/>
              </a:rPr>
              <a:t>Vehicle fleet</a:t>
            </a:r>
          </a:p>
        </p:txBody>
      </p:sp>
      <p:sp>
        <p:nvSpPr>
          <p:cNvPr id="14" name="Rechteck 13">
            <a:extLst>
              <a:ext uri="{FF2B5EF4-FFF2-40B4-BE49-F238E27FC236}">
                <a16:creationId xmlns:a16="http://schemas.microsoft.com/office/drawing/2014/main" id="{C250BF8F-A5B3-4094-8AC2-FC02EED04832}"/>
              </a:ext>
            </a:extLst>
          </p:cNvPr>
          <p:cNvSpPr/>
          <p:nvPr/>
        </p:nvSpPr>
        <p:spPr>
          <a:xfrm>
            <a:off x="2339972" y="2912968"/>
            <a:ext cx="1214557" cy="863056"/>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marL="0" marR="0" lvl="0" indent="0" algn="ctr" defTabSz="1088502"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noProof="0">
                <a:ln>
                  <a:noFill/>
                </a:ln>
                <a:solidFill>
                  <a:prstClr val="white"/>
                </a:solidFill>
                <a:uLnTx/>
                <a:uFillTx/>
                <a:latin typeface="Arial"/>
                <a:ea typeface="+mn-ea"/>
                <a:cs typeface="+mn-cs"/>
              </a:rPr>
              <a:t>Alternative</a:t>
            </a:r>
            <a:br>
              <a:rPr kumimoji="0" lang="en-US" sz="1600" b="1" i="0" u="none" strike="noStrike" cap="none" normalizeH="0" baseline="0" noProof="0">
                <a:ln>
                  <a:noFill/>
                </a:ln>
                <a:solidFill>
                  <a:prstClr val="white"/>
                </a:solidFill>
                <a:uLnTx/>
                <a:uFillTx/>
                <a:latin typeface="Arial"/>
                <a:ea typeface="+mn-ea"/>
                <a:cs typeface="+mn-cs"/>
              </a:rPr>
            </a:br>
            <a:r>
              <a:rPr kumimoji="0" lang="en-US" sz="1600" b="1" i="0" u="none" strike="noStrike" cap="none" normalizeH="0" baseline="0" noProof="0">
                <a:ln>
                  <a:noFill/>
                </a:ln>
                <a:solidFill>
                  <a:prstClr val="white"/>
                </a:solidFill>
                <a:uLnTx/>
                <a:uFillTx/>
                <a:latin typeface="Arial"/>
                <a:ea typeface="+mn-ea"/>
                <a:cs typeface="+mn-cs"/>
              </a:rPr>
              <a:t>mobility concepts</a:t>
            </a:r>
          </a:p>
        </p:txBody>
      </p:sp>
      <p:sp>
        <p:nvSpPr>
          <p:cNvPr id="15" name="Rechteck 14">
            <a:extLst>
              <a:ext uri="{FF2B5EF4-FFF2-40B4-BE49-F238E27FC236}">
                <a16:creationId xmlns:a16="http://schemas.microsoft.com/office/drawing/2014/main" id="{93B62646-3BA5-4079-AE4C-973072F1AF76}"/>
              </a:ext>
            </a:extLst>
          </p:cNvPr>
          <p:cNvSpPr/>
          <p:nvPr/>
        </p:nvSpPr>
        <p:spPr>
          <a:xfrm>
            <a:off x="2346328" y="3955693"/>
            <a:ext cx="1210857" cy="98877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marL="0" marR="0" lvl="0" indent="0" algn="ctr" defTabSz="1088502"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noProof="0">
                <a:ln>
                  <a:noFill/>
                </a:ln>
                <a:solidFill>
                  <a:prstClr val="white"/>
                </a:solidFill>
                <a:uLnTx/>
                <a:uFillTx/>
                <a:latin typeface="Arial"/>
                <a:ea typeface="+mn-ea"/>
                <a:cs typeface="+mn-cs"/>
              </a:rPr>
              <a:t>Org. / travel</a:t>
            </a:r>
          </a:p>
        </p:txBody>
      </p:sp>
      <p:sp>
        <p:nvSpPr>
          <p:cNvPr id="16" name="Rechteck 15">
            <a:extLst>
              <a:ext uri="{FF2B5EF4-FFF2-40B4-BE49-F238E27FC236}">
                <a16:creationId xmlns:a16="http://schemas.microsoft.com/office/drawing/2014/main" id="{49B80815-C19E-4725-8121-56A29F534986}"/>
              </a:ext>
            </a:extLst>
          </p:cNvPr>
          <p:cNvSpPr/>
          <p:nvPr/>
        </p:nvSpPr>
        <p:spPr>
          <a:xfrm>
            <a:off x="2346328" y="5124136"/>
            <a:ext cx="1208201" cy="56486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marL="0" marR="0" lvl="0" indent="0" algn="ctr" defTabSz="1088502"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noProof="0">
                <a:ln>
                  <a:noFill/>
                </a:ln>
                <a:solidFill>
                  <a:prstClr val="white"/>
                </a:solidFill>
                <a:uLnTx/>
                <a:uFillTx/>
                <a:latin typeface="Arial"/>
                <a:ea typeface="+mn-ea"/>
                <a:cs typeface="+mn-cs"/>
              </a:rPr>
              <a:t>Top service</a:t>
            </a:r>
          </a:p>
        </p:txBody>
      </p:sp>
      <p:sp>
        <p:nvSpPr>
          <p:cNvPr id="17" name="Rechteck 16">
            <a:extLst>
              <a:ext uri="{FF2B5EF4-FFF2-40B4-BE49-F238E27FC236}">
                <a16:creationId xmlns:a16="http://schemas.microsoft.com/office/drawing/2014/main" id="{3B480EB8-25E5-435D-87AC-F68CAD908A22}"/>
              </a:ext>
            </a:extLst>
          </p:cNvPr>
          <p:cNvSpPr/>
          <p:nvPr/>
        </p:nvSpPr>
        <p:spPr>
          <a:xfrm>
            <a:off x="2339974" y="5868665"/>
            <a:ext cx="1214556" cy="56486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lstStyle/>
          <a:p>
            <a:pPr marL="0" marR="0" lvl="0" indent="0" algn="ctr" defTabSz="1088502"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noProof="0">
                <a:ln>
                  <a:noFill/>
                </a:ln>
                <a:solidFill>
                  <a:prstClr val="white"/>
                </a:solidFill>
                <a:uLnTx/>
                <a:uFillTx/>
                <a:latin typeface="Arial"/>
                <a:ea typeface="+mn-ea"/>
                <a:cs typeface="+mn-cs"/>
              </a:rPr>
              <a:t>Transport service</a:t>
            </a:r>
          </a:p>
        </p:txBody>
      </p:sp>
      <p:pic>
        <p:nvPicPr>
          <p:cNvPr id="18" name="Grafik 17" descr="Auto">
            <a:extLst>
              <a:ext uri="{FF2B5EF4-FFF2-40B4-BE49-F238E27FC236}">
                <a16:creationId xmlns:a16="http://schemas.microsoft.com/office/drawing/2014/main" id="{6E8F4782-C163-494C-B581-8A6C1813480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00142" y="2246777"/>
            <a:ext cx="509754" cy="509754"/>
          </a:xfrm>
          <a:prstGeom prst="rect">
            <a:avLst/>
          </a:prstGeom>
        </p:spPr>
      </p:pic>
      <p:pic>
        <p:nvPicPr>
          <p:cNvPr id="19" name="Grafik 18" descr="Straßenbahnwagen">
            <a:extLst>
              <a:ext uri="{FF2B5EF4-FFF2-40B4-BE49-F238E27FC236}">
                <a16:creationId xmlns:a16="http://schemas.microsoft.com/office/drawing/2014/main" id="{BD2B239B-8BD3-4C49-9D2F-6BCA19E4202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09798" y="3114337"/>
            <a:ext cx="490442" cy="490442"/>
          </a:xfrm>
          <a:prstGeom prst="rect">
            <a:avLst/>
          </a:prstGeom>
        </p:spPr>
      </p:pic>
      <p:grpSp>
        <p:nvGrpSpPr>
          <p:cNvPr id="24" name="Gruppieren 23">
            <a:extLst>
              <a:ext uri="{FF2B5EF4-FFF2-40B4-BE49-F238E27FC236}">
                <a16:creationId xmlns:a16="http://schemas.microsoft.com/office/drawing/2014/main" id="{C7DC49C0-A5C6-4DCD-A052-C195EE406B95}"/>
              </a:ext>
            </a:extLst>
          </p:cNvPr>
          <p:cNvGrpSpPr/>
          <p:nvPr/>
        </p:nvGrpSpPr>
        <p:grpSpPr>
          <a:xfrm>
            <a:off x="3461158" y="4045908"/>
            <a:ext cx="796520" cy="999448"/>
            <a:chOff x="2316426" y="3259228"/>
            <a:chExt cx="796520" cy="999448"/>
          </a:xfrm>
        </p:grpSpPr>
        <p:pic>
          <p:nvPicPr>
            <p:cNvPr id="20" name="Grafik 19">
              <a:extLst>
                <a:ext uri="{FF2B5EF4-FFF2-40B4-BE49-F238E27FC236}">
                  <a16:creationId xmlns:a16="http://schemas.microsoft.com/office/drawing/2014/main" id="{A651740B-1972-43C2-9FE6-2003FC490CB5}"/>
                </a:ext>
              </a:extLst>
            </p:cNvPr>
            <p:cNvPicPr>
              <a:picLocks noChangeAspect="1"/>
            </p:cNvPicPr>
            <p:nvPr/>
          </p:nvPicPr>
          <p:blipFill>
            <a:blip r:embed="rId11" cstate="print">
              <a:clrChange>
                <a:clrFrom>
                  <a:srgbClr val="FFFFFF"/>
                </a:clrFrom>
                <a:clrTo>
                  <a:srgbClr val="FFFFFF">
                    <a:alpha val="0"/>
                  </a:srgbClr>
                </a:clrTo>
              </a:clrChange>
              <a:duotone>
                <a:prstClr val="black"/>
                <a:schemeClr val="accent1">
                  <a:tint val="45000"/>
                  <a:satMod val="400000"/>
                </a:schemeClr>
              </a:duotone>
              <a:extLst>
                <a:ext uri="{BEBA8EAE-BF5A-486C-A8C5-ECC9F3942E4B}">
                  <a14:imgProps xmlns:a14="http://schemas.microsoft.com/office/drawing/2010/main">
                    <a14:imgLayer r:embed="rId12">
                      <a14:imgEffect>
                        <a14:saturation sat="400000"/>
                      </a14:imgEffect>
                    </a14:imgLayer>
                  </a14:imgProps>
                </a:ext>
                <a:ext uri="{28A0092B-C50C-407E-A947-70E740481C1C}">
                  <a14:useLocalDpi xmlns:a14="http://schemas.microsoft.com/office/drawing/2010/main" val="0"/>
                </a:ext>
              </a:extLst>
            </a:blip>
            <a:stretch>
              <a:fillRect/>
            </a:stretch>
          </p:blipFill>
          <p:spPr>
            <a:xfrm>
              <a:off x="2316426" y="3259228"/>
              <a:ext cx="796520" cy="398260"/>
            </a:xfrm>
            <a:prstGeom prst="rect">
              <a:avLst/>
            </a:prstGeom>
          </p:spPr>
        </p:pic>
        <p:pic>
          <p:nvPicPr>
            <p:cNvPr id="21" name="Grafik 20">
              <a:extLst>
                <a:ext uri="{FF2B5EF4-FFF2-40B4-BE49-F238E27FC236}">
                  <a16:creationId xmlns:a16="http://schemas.microsoft.com/office/drawing/2014/main" id="{E270CBFE-8658-4A7D-94A1-74E8DA2FE8D1}"/>
                </a:ext>
              </a:extLst>
            </p:cNvPr>
            <p:cNvPicPr>
              <a:picLocks noChangeAspect="1"/>
            </p:cNvPicPr>
            <p:nvPr/>
          </p:nvPicPr>
          <p:blipFill>
            <a:blip r:embed="rId1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398962" y="3627227"/>
              <a:ext cx="631449" cy="631449"/>
            </a:xfrm>
            <a:prstGeom prst="rect">
              <a:avLst/>
            </a:prstGeom>
          </p:spPr>
        </p:pic>
      </p:grpSp>
      <p:pic>
        <p:nvPicPr>
          <p:cNvPr id="22" name="Grafik 21">
            <a:extLst>
              <a:ext uri="{FF2B5EF4-FFF2-40B4-BE49-F238E27FC236}">
                <a16:creationId xmlns:a16="http://schemas.microsoft.com/office/drawing/2014/main" id="{B44A23C6-E10E-4E7C-87F5-0377AD8CB7E7}"/>
              </a:ext>
            </a:extLst>
          </p:cNvPr>
          <p:cNvPicPr>
            <a:picLocks noChangeAspect="1"/>
          </p:cNvPicPr>
          <p:nvPr/>
        </p:nvPicPr>
        <p:blipFill>
          <a:blip r:embed="rId1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38494" y="5225025"/>
            <a:ext cx="433049" cy="433049"/>
          </a:xfrm>
          <a:prstGeom prst="rect">
            <a:avLst/>
          </a:prstGeom>
        </p:spPr>
      </p:pic>
      <p:pic>
        <p:nvPicPr>
          <p:cNvPr id="23" name="Grafik 22">
            <a:extLst>
              <a:ext uri="{FF2B5EF4-FFF2-40B4-BE49-F238E27FC236}">
                <a16:creationId xmlns:a16="http://schemas.microsoft.com/office/drawing/2014/main" id="{D106A5E2-45CD-4050-8577-5C918B44E6C1}"/>
              </a:ext>
            </a:extLst>
          </p:cNvPr>
          <p:cNvPicPr>
            <a:picLocks noChangeAspect="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77540" y="5991517"/>
            <a:ext cx="354955" cy="354955"/>
          </a:xfrm>
          <a:prstGeom prst="rect">
            <a:avLst/>
          </a:prstGeom>
        </p:spPr>
      </p:pic>
      <p:sp>
        <p:nvSpPr>
          <p:cNvPr id="26" name="Rechteck 25">
            <a:extLst>
              <a:ext uri="{FF2B5EF4-FFF2-40B4-BE49-F238E27FC236}">
                <a16:creationId xmlns:a16="http://schemas.microsoft.com/office/drawing/2014/main" id="{4E1E2E75-1C0A-4561-8A3C-AFD7115DF140}"/>
              </a:ext>
            </a:extLst>
          </p:cNvPr>
          <p:cNvSpPr/>
          <p:nvPr/>
        </p:nvSpPr>
        <p:spPr>
          <a:xfrm>
            <a:off x="2953691" y="1577913"/>
            <a:ext cx="684803" cy="369332"/>
          </a:xfrm>
          <a:prstGeom prst="rect">
            <a:avLst/>
          </a:prstGeom>
        </p:spPr>
        <p:txBody>
          <a:bodyPr wrap="none">
            <a:spAutoFit/>
          </a:bodyPr>
          <a:lstStyle/>
          <a:p>
            <a:r>
              <a:rPr lang="en-US" sz="1800" b="1">
                <a:solidFill>
                  <a:srgbClr val="965AA0"/>
                </a:solidFill>
              </a:rPr>
              <a:t>SMS</a:t>
            </a:r>
          </a:p>
        </p:txBody>
      </p:sp>
      <p:sp>
        <p:nvSpPr>
          <p:cNvPr id="25" name="Rechteck 24">
            <a:extLst>
              <a:ext uri="{FF2B5EF4-FFF2-40B4-BE49-F238E27FC236}">
                <a16:creationId xmlns:a16="http://schemas.microsoft.com/office/drawing/2014/main" id="{925609AD-E055-4632-8A5C-E633C99D9213}"/>
              </a:ext>
            </a:extLst>
          </p:cNvPr>
          <p:cNvSpPr/>
          <p:nvPr/>
        </p:nvSpPr>
        <p:spPr bwMode="gray">
          <a:xfrm>
            <a:off x="4252912" y="1412875"/>
            <a:ext cx="1770856" cy="5024338"/>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spTree>
    <p:extLst>
      <p:ext uri="{BB962C8B-B14F-4D97-AF65-F5344CB8AC3E}">
        <p14:creationId xmlns:p14="http://schemas.microsoft.com/office/powerpoint/2010/main" val="3698298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Bildergebnis fÃ¼r schwarz restaurantbetriebe">
            <a:extLst>
              <a:ext uri="{FF2B5EF4-FFF2-40B4-BE49-F238E27FC236}">
                <a16:creationId xmlns:a16="http://schemas.microsoft.com/office/drawing/2014/main" id="{8FF487B6-5EED-41DE-AD50-87C249A90C96}"/>
              </a:ext>
            </a:extLst>
          </p:cNvPr>
          <p:cNvPicPr>
            <a:picLocks noChangeArrowheads="1"/>
          </p:cNvPicPr>
          <p:nvPr/>
        </p:nvPicPr>
        <p:blipFill rotWithShape="1">
          <a:blip r:embed="rId3">
            <a:alphaModFix amt="40000"/>
            <a:extLst>
              <a:ext uri="{28A0092B-C50C-407E-A947-70E740481C1C}">
                <a14:useLocalDpi xmlns:a14="http://schemas.microsoft.com/office/drawing/2010/main"/>
              </a:ext>
            </a:extLst>
          </a:blip>
          <a:srcRect l="48042" t="-86" r="26750" b="86"/>
          <a:stretch/>
        </p:blipFill>
        <p:spPr bwMode="auto">
          <a:xfrm>
            <a:off x="4252912" y="1412875"/>
            <a:ext cx="1770063" cy="5018400"/>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a:extLst>
              <a:ext uri="{FF2B5EF4-FFF2-40B4-BE49-F238E27FC236}">
                <a16:creationId xmlns:a16="http://schemas.microsoft.com/office/drawing/2014/main" id="{A0869694-98CA-451B-8FAF-682BB8086053}"/>
              </a:ext>
            </a:extLst>
          </p:cNvPr>
          <p:cNvPicPr>
            <a:picLocks/>
          </p:cNvPicPr>
          <p:nvPr/>
        </p:nvPicPr>
        <p:blipFill rotWithShape="1">
          <a:blip r:embed="rId4">
            <a:alphaModFix amt="40000"/>
            <a:extLst>
              <a:ext uri="{28A0092B-C50C-407E-A947-70E740481C1C}">
                <a14:useLocalDpi xmlns:a14="http://schemas.microsoft.com/office/drawing/2010/main"/>
              </a:ext>
            </a:extLst>
          </a:blip>
          <a:srcRect l="43524" r="12400"/>
          <a:stretch/>
        </p:blipFill>
        <p:spPr>
          <a:xfrm>
            <a:off x="6167439" y="1412875"/>
            <a:ext cx="5587998" cy="5018400"/>
          </a:xfrm>
          <a:prstGeom prst="rect">
            <a:avLst/>
          </a:prstGeom>
        </p:spPr>
      </p:pic>
      <p:sp>
        <p:nvSpPr>
          <p:cNvPr id="27" name="Rechteck 26">
            <a:extLst>
              <a:ext uri="{FF2B5EF4-FFF2-40B4-BE49-F238E27FC236}">
                <a16:creationId xmlns:a16="http://schemas.microsoft.com/office/drawing/2014/main" id="{B9B212EF-26EB-4DC3-935B-BBC3F145F836}"/>
              </a:ext>
            </a:extLst>
          </p:cNvPr>
          <p:cNvSpPr/>
          <p:nvPr/>
        </p:nvSpPr>
        <p:spPr bwMode="gray">
          <a:xfrm>
            <a:off x="4252912" y="1412875"/>
            <a:ext cx="1770064" cy="5018399"/>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sp>
        <p:nvSpPr>
          <p:cNvPr id="3" name="Titel 2"/>
          <p:cNvSpPr>
            <a:spLocks noGrp="1"/>
          </p:cNvSpPr>
          <p:nvPr>
            <p:ph type="title"/>
          </p:nvPr>
        </p:nvSpPr>
        <p:spPr/>
        <p:txBody>
          <a:bodyPr/>
          <a:lstStyle/>
          <a:p>
            <a:r>
              <a:rPr lang="en-US" dirty="0"/>
              <a:t>Schwarz central service</a:t>
            </a:r>
          </a:p>
        </p:txBody>
      </p:sp>
      <p:pic>
        <p:nvPicPr>
          <p:cNvPr id="10" name="Picture 4" descr="Bildergebnis fÃ¼r internationaler einkauf">
            <a:extLst>
              <a:ext uri="{FF2B5EF4-FFF2-40B4-BE49-F238E27FC236}">
                <a16:creationId xmlns:a16="http://schemas.microsoft.com/office/drawing/2014/main" id="{81465F88-3CAE-4540-8ABA-612D92F5F713}"/>
              </a:ext>
            </a:extLst>
          </p:cNvPr>
          <p:cNvPicPr>
            <a:picLocks noChangeArrowheads="1"/>
          </p:cNvPicPr>
          <p:nvPr/>
        </p:nvPicPr>
        <p:blipFill rotWithShape="1">
          <a:blip r:embed="rId5">
            <a:alphaModFix/>
            <a:extLst>
              <a:ext uri="{28A0092B-C50C-407E-A947-70E740481C1C}">
                <a14:useLocalDpi xmlns:a14="http://schemas.microsoft.com/office/drawing/2010/main"/>
              </a:ext>
            </a:extLst>
          </a:blip>
          <a:srcRect l="60371" t="156" r="23531" b="1457"/>
          <a:stretch/>
        </p:blipFill>
        <p:spPr bwMode="auto">
          <a:xfrm>
            <a:off x="2346327" y="1412875"/>
            <a:ext cx="1766887" cy="5018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Bildergebnis fÃ¼r bmw 3er gt">
            <a:extLst>
              <a:ext uri="{FF2B5EF4-FFF2-40B4-BE49-F238E27FC236}">
                <a16:creationId xmlns:a16="http://schemas.microsoft.com/office/drawing/2014/main" id="{0C16480A-DF1F-440F-A710-C45B1E93295D}"/>
              </a:ext>
            </a:extLst>
          </p:cNvPr>
          <p:cNvPicPr>
            <a:picLocks noChangeArrowheads="1"/>
          </p:cNvPicPr>
          <p:nvPr/>
        </p:nvPicPr>
        <p:blipFill rotWithShape="1">
          <a:blip r:embed="rId6">
            <a:alphaModFix amt="40000"/>
            <a:extLst>
              <a:ext uri="{28A0092B-C50C-407E-A947-70E740481C1C}">
                <a14:useLocalDpi xmlns:a14="http://schemas.microsoft.com/office/drawing/2010/main"/>
              </a:ext>
            </a:extLst>
          </a:blip>
          <a:srcRect l="75432" r="7821"/>
          <a:stretch/>
        </p:blipFill>
        <p:spPr bwMode="auto">
          <a:xfrm>
            <a:off x="431800" y="1412875"/>
            <a:ext cx="1768475" cy="5018400"/>
          </a:xfrm>
          <a:prstGeom prst="rect">
            <a:avLst/>
          </a:prstGeom>
          <a:noFill/>
          <a:extLst>
            <a:ext uri="{909E8E84-426E-40DD-AFC4-6F175D3DCCD1}">
              <a14:hiddenFill xmlns:a14="http://schemas.microsoft.com/office/drawing/2010/main">
                <a:solidFill>
                  <a:srgbClr val="FFFFFF"/>
                </a:solidFill>
              </a14:hiddenFill>
            </a:ext>
          </a:extLst>
        </p:spPr>
      </p:pic>
      <p:sp>
        <p:nvSpPr>
          <p:cNvPr id="11" name="Untertitel 2">
            <a:extLst>
              <a:ext uri="{FF2B5EF4-FFF2-40B4-BE49-F238E27FC236}">
                <a16:creationId xmlns:a16="http://schemas.microsoft.com/office/drawing/2014/main" id="{315D87CE-7D91-4E7C-A31F-B51D424B5075}"/>
              </a:ext>
            </a:extLst>
          </p:cNvPr>
          <p:cNvSpPr>
            <a:spLocks noGrp="1"/>
          </p:cNvSpPr>
          <p:nvPr>
            <p:ph type="subTitle" idx="1"/>
          </p:nvPr>
        </p:nvSpPr>
        <p:spPr>
          <a:xfrm>
            <a:off x="409577" y="739137"/>
            <a:ext cx="11348418" cy="426662"/>
          </a:xfrm>
        </p:spPr>
        <p:txBody>
          <a:bodyPr/>
          <a:lstStyle/>
          <a:p>
            <a:r>
              <a:rPr lang="en-US" dirty="0"/>
              <a:t>Schwarz Procurement (SBES)</a:t>
            </a:r>
          </a:p>
        </p:txBody>
      </p:sp>
      <p:sp>
        <p:nvSpPr>
          <p:cNvPr id="4" name="Foliennummernplatzhalter 3">
            <a:extLst>
              <a:ext uri="{FF2B5EF4-FFF2-40B4-BE49-F238E27FC236}">
                <a16:creationId xmlns:a16="http://schemas.microsoft.com/office/drawing/2014/main" id="{BF17BF22-DE04-4544-B662-BD09BE0D4093}"/>
              </a:ext>
            </a:extLst>
          </p:cNvPr>
          <p:cNvSpPr>
            <a:spLocks noGrp="1"/>
          </p:cNvSpPr>
          <p:nvPr>
            <p:ph type="sldNum" sz="quarter" idx="12"/>
          </p:nvPr>
        </p:nvSpPr>
        <p:spPr/>
        <p:txBody>
          <a:bodyPr/>
          <a:lstStyle/>
          <a:p>
            <a:fld id="{0C7C1E0B-BD27-42F8-BC6B-2F0636970842}" type="slidenum">
              <a:rPr lang="de-DE" smtClean="0"/>
              <a:pPr/>
              <a:t>29</a:t>
            </a:fld>
            <a:endParaRPr lang="de-DE"/>
          </a:p>
        </p:txBody>
      </p:sp>
      <p:sp>
        <p:nvSpPr>
          <p:cNvPr id="28" name="Rechteck 27">
            <a:extLst>
              <a:ext uri="{FF2B5EF4-FFF2-40B4-BE49-F238E27FC236}">
                <a16:creationId xmlns:a16="http://schemas.microsoft.com/office/drawing/2014/main" id="{39021439-47A0-4AB7-B3F8-29C114B87F95}"/>
              </a:ext>
            </a:extLst>
          </p:cNvPr>
          <p:cNvSpPr/>
          <p:nvPr/>
        </p:nvSpPr>
        <p:spPr bwMode="gray">
          <a:xfrm>
            <a:off x="428625" y="1412876"/>
            <a:ext cx="1771650" cy="5018399"/>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lvl="0" algn="ctr" defTabSz="1600200">
              <a:lnSpc>
                <a:spcPct val="80000"/>
              </a:lnSpc>
              <a:spcBef>
                <a:spcPct val="0"/>
              </a:spcBef>
              <a:spcAft>
                <a:spcPct val="35000"/>
              </a:spcAft>
              <a:defRPr/>
            </a:pPr>
            <a:endParaRPr lang="de-DE" sz="1800">
              <a:solidFill>
                <a:prstClr val="black"/>
              </a:solidFill>
            </a:endParaRPr>
          </a:p>
          <a:p>
            <a:pPr lvl="0" algn="ctr" defTabSz="1600200">
              <a:lnSpc>
                <a:spcPct val="80000"/>
              </a:lnSpc>
              <a:spcBef>
                <a:spcPct val="0"/>
              </a:spcBef>
              <a:spcAft>
                <a:spcPct val="35000"/>
              </a:spcAft>
              <a:defRPr/>
            </a:pPr>
            <a:r>
              <a:rPr lang="en-US" sz="1800">
                <a:solidFill>
                  <a:schemeClr val="accent1"/>
                </a:solidFill>
              </a:rPr>
              <a:t>Strategic procurement of all</a:t>
            </a:r>
            <a:br>
              <a:rPr lang="en-US" sz="1800">
                <a:solidFill>
                  <a:schemeClr val="accent1"/>
                </a:solidFill>
              </a:rPr>
            </a:br>
            <a:r>
              <a:rPr lang="en-US" sz="1800" b="1">
                <a:solidFill>
                  <a:schemeClr val="accent1"/>
                </a:solidFill>
              </a:rPr>
              <a:t>products</a:t>
            </a:r>
            <a:r>
              <a:rPr lang="en-US" sz="1800">
                <a:solidFill>
                  <a:schemeClr val="accent1"/>
                </a:solidFill>
              </a:rPr>
              <a:t> </a:t>
            </a:r>
            <a:br>
              <a:rPr lang="en-US" sz="1800">
                <a:solidFill>
                  <a:schemeClr val="accent1"/>
                </a:solidFill>
              </a:rPr>
            </a:br>
            <a:r>
              <a:rPr lang="en-US" sz="1800">
                <a:solidFill>
                  <a:schemeClr val="accent1"/>
                </a:solidFill>
              </a:rPr>
              <a:t>and </a:t>
            </a:r>
            <a:r>
              <a:rPr lang="en-US" sz="1800" b="1">
                <a:solidFill>
                  <a:schemeClr val="accent1"/>
                </a:solidFill>
              </a:rPr>
              <a:t>services</a:t>
            </a:r>
          </a:p>
          <a:p>
            <a:pPr lvl="0" algn="ctr" defTabSz="1600200">
              <a:lnSpc>
                <a:spcPct val="80000"/>
              </a:lnSpc>
              <a:spcBef>
                <a:spcPct val="0"/>
              </a:spcBef>
              <a:spcAft>
                <a:spcPct val="35000"/>
              </a:spcAft>
              <a:defRPr/>
            </a:pPr>
            <a:r>
              <a:rPr lang="en-US" sz="1800">
                <a:solidFill>
                  <a:schemeClr val="accent1"/>
                </a:solidFill>
              </a:rPr>
              <a:t>for </a:t>
            </a:r>
            <a:r>
              <a:rPr lang="en-US" sz="1800" b="1">
                <a:solidFill>
                  <a:schemeClr val="accent1"/>
                </a:solidFill>
              </a:rPr>
              <a:t>internal needs </a:t>
            </a:r>
            <a:r>
              <a:rPr lang="en-US" sz="1800">
                <a:solidFill>
                  <a:schemeClr val="accent1"/>
                </a:solidFill>
              </a:rPr>
              <a:t>within the</a:t>
            </a:r>
            <a:r>
              <a:rPr lang="en-US" sz="1800" b="1">
                <a:solidFill>
                  <a:schemeClr val="accent1"/>
                </a:solidFill>
              </a:rPr>
              <a:t> Schwarz Group</a:t>
            </a:r>
            <a:r>
              <a:rPr lang="en-US" sz="1800">
                <a:solidFill>
                  <a:schemeClr val="accent1"/>
                </a:solidFill>
              </a:rPr>
              <a:t>.*</a:t>
            </a:r>
          </a:p>
          <a:p>
            <a:pPr lvl="0" algn="ctr" defTabSz="1600200">
              <a:lnSpc>
                <a:spcPct val="80000"/>
              </a:lnSpc>
              <a:spcBef>
                <a:spcPct val="0"/>
              </a:spcBef>
              <a:spcAft>
                <a:spcPct val="35000"/>
              </a:spcAft>
              <a:defRPr/>
            </a:pPr>
            <a:endParaRPr lang="de-DE" sz="1800">
              <a:solidFill>
                <a:prstClr val="black"/>
              </a:solidFill>
            </a:endParaRPr>
          </a:p>
          <a:p>
            <a:pPr algn="ctr" defTabSz="1600200">
              <a:lnSpc>
                <a:spcPct val="80000"/>
              </a:lnSpc>
              <a:spcBef>
                <a:spcPct val="0"/>
              </a:spcBef>
              <a:spcAft>
                <a:spcPct val="35000"/>
              </a:spcAft>
              <a:defRPr/>
            </a:pPr>
            <a:r>
              <a:rPr lang="en-US" sz="1400">
                <a:solidFill>
                  <a:srgbClr val="9B649B"/>
                </a:solidFill>
              </a:rPr>
              <a:t>* Defined exceptions: Banking services, properties and real estate, transport services - merchandise</a:t>
            </a:r>
          </a:p>
          <a:p>
            <a:pPr algn="ctr"/>
            <a:endParaRPr lang="de-DE" sz="1800"/>
          </a:p>
        </p:txBody>
      </p:sp>
      <p:sp>
        <p:nvSpPr>
          <p:cNvPr id="29" name="Rechteck 28">
            <a:extLst>
              <a:ext uri="{FF2B5EF4-FFF2-40B4-BE49-F238E27FC236}">
                <a16:creationId xmlns:a16="http://schemas.microsoft.com/office/drawing/2014/main" id="{7C15ACCD-5A2C-4A07-82BC-BCF82DDC2677}"/>
              </a:ext>
            </a:extLst>
          </p:cNvPr>
          <p:cNvSpPr/>
          <p:nvPr/>
        </p:nvSpPr>
        <p:spPr bwMode="gray">
          <a:xfrm>
            <a:off x="6167439" y="1412875"/>
            <a:ext cx="5587998" cy="5018399"/>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grpSp>
        <p:nvGrpSpPr>
          <p:cNvPr id="30" name="Gruppieren 29">
            <a:extLst>
              <a:ext uri="{FF2B5EF4-FFF2-40B4-BE49-F238E27FC236}">
                <a16:creationId xmlns:a16="http://schemas.microsoft.com/office/drawing/2014/main" id="{7163087B-5CFB-4F64-832D-7FE75C629D3E}"/>
              </a:ext>
            </a:extLst>
          </p:cNvPr>
          <p:cNvGrpSpPr/>
          <p:nvPr/>
        </p:nvGrpSpPr>
        <p:grpSpPr>
          <a:xfrm>
            <a:off x="4074441" y="2021543"/>
            <a:ext cx="7572555" cy="3956837"/>
            <a:chOff x="314325" y="1739900"/>
            <a:chExt cx="8705850" cy="4248150"/>
          </a:xfrm>
          <a:solidFill>
            <a:srgbClr val="800080">
              <a:alpha val="15000"/>
            </a:srgbClr>
          </a:solidFill>
          <a:effectLst>
            <a:outerShdw blurRad="127000" dist="38100" dir="2700000" algn="tl" rotWithShape="0">
              <a:prstClr val="black">
                <a:alpha val="40000"/>
              </a:prstClr>
            </a:outerShdw>
          </a:effectLst>
        </p:grpSpPr>
        <p:grpSp>
          <p:nvGrpSpPr>
            <p:cNvPr id="31" name="Gruppieren 465">
              <a:extLst>
                <a:ext uri="{FF2B5EF4-FFF2-40B4-BE49-F238E27FC236}">
                  <a16:creationId xmlns:a16="http://schemas.microsoft.com/office/drawing/2014/main" id="{A6E6D7EF-B503-47EC-8042-DFAC7E1F0C84}"/>
                </a:ext>
              </a:extLst>
            </p:cNvPr>
            <p:cNvGrpSpPr/>
            <p:nvPr/>
          </p:nvGrpSpPr>
          <p:grpSpPr>
            <a:xfrm>
              <a:off x="3712743" y="1773936"/>
              <a:ext cx="2067914" cy="1423560"/>
              <a:chOff x="9250092" y="462220"/>
              <a:chExt cx="5548381" cy="3819525"/>
            </a:xfrm>
            <a:grpFill/>
          </p:grpSpPr>
          <p:grpSp>
            <p:nvGrpSpPr>
              <p:cNvPr id="194" name="Gruppieren 464">
                <a:extLst>
                  <a:ext uri="{FF2B5EF4-FFF2-40B4-BE49-F238E27FC236}">
                    <a16:creationId xmlns:a16="http://schemas.microsoft.com/office/drawing/2014/main" id="{81862C95-73AC-4777-8F59-8047BEECBD73}"/>
                  </a:ext>
                </a:extLst>
              </p:cNvPr>
              <p:cNvGrpSpPr/>
              <p:nvPr/>
            </p:nvGrpSpPr>
            <p:grpSpPr>
              <a:xfrm>
                <a:off x="13263292" y="462220"/>
                <a:ext cx="1322387" cy="865187"/>
                <a:chOff x="13263292" y="462220"/>
                <a:chExt cx="1322387" cy="865187"/>
              </a:xfrm>
              <a:grpFill/>
            </p:grpSpPr>
            <p:sp>
              <p:nvSpPr>
                <p:cNvPr id="243" name="Freeform 339">
                  <a:extLst>
                    <a:ext uri="{FF2B5EF4-FFF2-40B4-BE49-F238E27FC236}">
                      <a16:creationId xmlns:a16="http://schemas.microsoft.com/office/drawing/2014/main" id="{A1EABE4D-3811-43B5-89D5-A47C0161DDBF}"/>
                    </a:ext>
                  </a:extLst>
                </p:cNvPr>
                <p:cNvSpPr>
                  <a:spLocks/>
                </p:cNvSpPr>
                <p:nvPr/>
              </p:nvSpPr>
              <p:spPr bwMode="auto">
                <a:xfrm>
                  <a:off x="13749067" y="511432"/>
                  <a:ext cx="30162" cy="12700"/>
                </a:xfrm>
                <a:custGeom>
                  <a:avLst/>
                  <a:gdLst/>
                  <a:ahLst/>
                  <a:cxnLst>
                    <a:cxn ang="0">
                      <a:pos x="38" y="0"/>
                    </a:cxn>
                    <a:cxn ang="0">
                      <a:pos x="0" y="16"/>
                    </a:cxn>
                    <a:cxn ang="0">
                      <a:pos x="38" y="16"/>
                    </a:cxn>
                    <a:cxn ang="0">
                      <a:pos x="38" y="0"/>
                    </a:cxn>
                  </a:cxnLst>
                  <a:rect l="0" t="0" r="r" b="b"/>
                  <a:pathLst>
                    <a:path w="38" h="16">
                      <a:moveTo>
                        <a:pt x="38" y="0"/>
                      </a:moveTo>
                      <a:lnTo>
                        <a:pt x="0" y="16"/>
                      </a:lnTo>
                      <a:lnTo>
                        <a:pt x="38" y="16"/>
                      </a:lnTo>
                      <a:lnTo>
                        <a:pt x="38" y="0"/>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44" name="Freeform 340">
                  <a:extLst>
                    <a:ext uri="{FF2B5EF4-FFF2-40B4-BE49-F238E27FC236}">
                      <a16:creationId xmlns:a16="http://schemas.microsoft.com/office/drawing/2014/main" id="{B73F2330-90E8-470C-8B70-FB712B252D82}"/>
                    </a:ext>
                  </a:extLst>
                </p:cNvPr>
                <p:cNvSpPr>
                  <a:spLocks/>
                </p:cNvSpPr>
                <p:nvPr/>
              </p:nvSpPr>
              <p:spPr bwMode="auto">
                <a:xfrm>
                  <a:off x="13263292" y="509845"/>
                  <a:ext cx="138112" cy="28575"/>
                </a:xfrm>
                <a:custGeom>
                  <a:avLst/>
                  <a:gdLst/>
                  <a:ahLst/>
                  <a:cxnLst>
                    <a:cxn ang="0">
                      <a:pos x="60" y="36"/>
                    </a:cxn>
                    <a:cxn ang="0">
                      <a:pos x="172" y="10"/>
                    </a:cxn>
                    <a:cxn ang="0">
                      <a:pos x="136" y="0"/>
                    </a:cxn>
                    <a:cxn ang="0">
                      <a:pos x="68" y="16"/>
                    </a:cxn>
                    <a:cxn ang="0">
                      <a:pos x="0" y="14"/>
                    </a:cxn>
                    <a:cxn ang="0">
                      <a:pos x="32" y="28"/>
                    </a:cxn>
                    <a:cxn ang="0">
                      <a:pos x="60" y="36"/>
                    </a:cxn>
                  </a:cxnLst>
                  <a:rect l="0" t="0" r="r" b="b"/>
                  <a:pathLst>
                    <a:path w="172" h="36">
                      <a:moveTo>
                        <a:pt x="60" y="36"/>
                      </a:moveTo>
                      <a:lnTo>
                        <a:pt x="172" y="10"/>
                      </a:lnTo>
                      <a:lnTo>
                        <a:pt x="136" y="0"/>
                      </a:lnTo>
                      <a:lnTo>
                        <a:pt x="68" y="16"/>
                      </a:lnTo>
                      <a:lnTo>
                        <a:pt x="0" y="14"/>
                      </a:lnTo>
                      <a:lnTo>
                        <a:pt x="32" y="28"/>
                      </a:lnTo>
                      <a:lnTo>
                        <a:pt x="60" y="36"/>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45" name="Freeform 341">
                  <a:extLst>
                    <a:ext uri="{FF2B5EF4-FFF2-40B4-BE49-F238E27FC236}">
                      <a16:creationId xmlns:a16="http://schemas.microsoft.com/office/drawing/2014/main" id="{195974B1-D887-4311-9A7C-B61FD793BABA}"/>
                    </a:ext>
                  </a:extLst>
                </p:cNvPr>
                <p:cNvSpPr>
                  <a:spLocks/>
                </p:cNvSpPr>
                <p:nvPr/>
              </p:nvSpPr>
              <p:spPr bwMode="auto">
                <a:xfrm>
                  <a:off x="13749067" y="473332"/>
                  <a:ext cx="44450" cy="26987"/>
                </a:xfrm>
                <a:custGeom>
                  <a:avLst/>
                  <a:gdLst/>
                  <a:ahLst/>
                  <a:cxnLst>
                    <a:cxn ang="0">
                      <a:pos x="56" y="32"/>
                    </a:cxn>
                    <a:cxn ang="0">
                      <a:pos x="54" y="0"/>
                    </a:cxn>
                    <a:cxn ang="0">
                      <a:pos x="0" y="14"/>
                    </a:cxn>
                    <a:cxn ang="0">
                      <a:pos x="12" y="34"/>
                    </a:cxn>
                    <a:cxn ang="0">
                      <a:pos x="56" y="32"/>
                    </a:cxn>
                  </a:cxnLst>
                  <a:rect l="0" t="0" r="r" b="b"/>
                  <a:pathLst>
                    <a:path w="56" h="34">
                      <a:moveTo>
                        <a:pt x="56" y="32"/>
                      </a:moveTo>
                      <a:lnTo>
                        <a:pt x="54" y="0"/>
                      </a:lnTo>
                      <a:lnTo>
                        <a:pt x="0" y="14"/>
                      </a:lnTo>
                      <a:lnTo>
                        <a:pt x="12" y="34"/>
                      </a:lnTo>
                      <a:lnTo>
                        <a:pt x="56" y="32"/>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46" name="Freeform 342">
                  <a:extLst>
                    <a:ext uri="{FF2B5EF4-FFF2-40B4-BE49-F238E27FC236}">
                      <a16:creationId xmlns:a16="http://schemas.microsoft.com/office/drawing/2014/main" id="{1216556F-73CA-4AAF-9198-5E96869B8121}"/>
                    </a:ext>
                  </a:extLst>
                </p:cNvPr>
                <p:cNvSpPr>
                  <a:spLocks/>
                </p:cNvSpPr>
                <p:nvPr/>
              </p:nvSpPr>
              <p:spPr bwMode="auto">
                <a:xfrm>
                  <a:off x="13399817" y="505082"/>
                  <a:ext cx="169862" cy="55562"/>
                </a:xfrm>
                <a:custGeom>
                  <a:avLst/>
                  <a:gdLst/>
                  <a:ahLst/>
                  <a:cxnLst>
                    <a:cxn ang="0">
                      <a:pos x="35" y="34"/>
                    </a:cxn>
                    <a:cxn ang="0">
                      <a:pos x="38" y="24"/>
                    </a:cxn>
                    <a:cxn ang="0">
                      <a:pos x="55" y="24"/>
                    </a:cxn>
                    <a:cxn ang="0">
                      <a:pos x="60" y="18"/>
                    </a:cxn>
                    <a:cxn ang="0">
                      <a:pos x="97" y="15"/>
                    </a:cxn>
                    <a:cxn ang="0">
                      <a:pos x="72" y="10"/>
                    </a:cxn>
                    <a:cxn ang="0">
                      <a:pos x="55" y="0"/>
                    </a:cxn>
                    <a:cxn ang="0">
                      <a:pos x="36" y="18"/>
                    </a:cxn>
                    <a:cxn ang="0">
                      <a:pos x="3" y="29"/>
                    </a:cxn>
                    <a:cxn ang="0">
                      <a:pos x="35" y="34"/>
                    </a:cxn>
                  </a:cxnLst>
                  <a:rect l="0" t="0" r="r" b="b"/>
                  <a:pathLst>
                    <a:path w="107" h="35">
                      <a:moveTo>
                        <a:pt x="35" y="34"/>
                      </a:moveTo>
                      <a:cubicBezTo>
                        <a:pt x="38" y="24"/>
                        <a:pt x="38" y="24"/>
                        <a:pt x="38" y="24"/>
                      </a:cubicBezTo>
                      <a:cubicBezTo>
                        <a:pt x="55" y="24"/>
                        <a:pt x="55" y="24"/>
                        <a:pt x="55" y="24"/>
                      </a:cubicBezTo>
                      <a:cubicBezTo>
                        <a:pt x="60" y="18"/>
                        <a:pt x="60" y="18"/>
                        <a:pt x="60" y="18"/>
                      </a:cubicBezTo>
                      <a:cubicBezTo>
                        <a:pt x="60" y="18"/>
                        <a:pt x="87" y="21"/>
                        <a:pt x="97" y="15"/>
                      </a:cubicBezTo>
                      <a:cubicBezTo>
                        <a:pt x="107" y="10"/>
                        <a:pt x="72" y="10"/>
                        <a:pt x="72" y="10"/>
                      </a:cubicBezTo>
                      <a:cubicBezTo>
                        <a:pt x="72" y="10"/>
                        <a:pt x="72" y="0"/>
                        <a:pt x="55" y="0"/>
                      </a:cubicBezTo>
                      <a:cubicBezTo>
                        <a:pt x="38" y="0"/>
                        <a:pt x="36" y="18"/>
                        <a:pt x="36" y="18"/>
                      </a:cubicBezTo>
                      <a:cubicBezTo>
                        <a:pt x="36" y="18"/>
                        <a:pt x="0" y="24"/>
                        <a:pt x="3" y="29"/>
                      </a:cubicBezTo>
                      <a:cubicBezTo>
                        <a:pt x="5" y="35"/>
                        <a:pt x="35" y="34"/>
                        <a:pt x="35" y="34"/>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47" name="Freeform 343">
                  <a:extLst>
                    <a:ext uri="{FF2B5EF4-FFF2-40B4-BE49-F238E27FC236}">
                      <a16:creationId xmlns:a16="http://schemas.microsoft.com/office/drawing/2014/main" id="{A739FC5A-048A-4816-9F18-C6403EE925C0}"/>
                    </a:ext>
                  </a:extLst>
                </p:cNvPr>
                <p:cNvSpPr>
                  <a:spLocks/>
                </p:cNvSpPr>
                <p:nvPr/>
              </p:nvSpPr>
              <p:spPr bwMode="auto">
                <a:xfrm>
                  <a:off x="13714142" y="501907"/>
                  <a:ext cx="31750" cy="20637"/>
                </a:xfrm>
                <a:custGeom>
                  <a:avLst/>
                  <a:gdLst/>
                  <a:ahLst/>
                  <a:cxnLst>
                    <a:cxn ang="0">
                      <a:pos x="19" y="6"/>
                    </a:cxn>
                    <a:cxn ang="0">
                      <a:pos x="7" y="0"/>
                    </a:cxn>
                    <a:cxn ang="0">
                      <a:pos x="2" y="13"/>
                    </a:cxn>
                    <a:cxn ang="0">
                      <a:pos x="19" y="6"/>
                    </a:cxn>
                  </a:cxnLst>
                  <a:rect l="0" t="0" r="r" b="b"/>
                  <a:pathLst>
                    <a:path w="19" h="13">
                      <a:moveTo>
                        <a:pt x="19" y="6"/>
                      </a:moveTo>
                      <a:cubicBezTo>
                        <a:pt x="19" y="6"/>
                        <a:pt x="14" y="0"/>
                        <a:pt x="7" y="0"/>
                      </a:cubicBezTo>
                      <a:cubicBezTo>
                        <a:pt x="0" y="0"/>
                        <a:pt x="2" y="13"/>
                        <a:pt x="2" y="13"/>
                      </a:cubicBezTo>
                      <a:lnTo>
                        <a:pt x="19" y="6"/>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48" name="Freeform 344">
                  <a:extLst>
                    <a:ext uri="{FF2B5EF4-FFF2-40B4-BE49-F238E27FC236}">
                      <a16:creationId xmlns:a16="http://schemas.microsoft.com/office/drawing/2014/main" id="{5D473B2E-308A-4B7C-B3AA-AFF398617CCA}"/>
                    </a:ext>
                  </a:extLst>
                </p:cNvPr>
                <p:cNvSpPr>
                  <a:spLocks/>
                </p:cNvSpPr>
                <p:nvPr/>
              </p:nvSpPr>
              <p:spPr bwMode="auto">
                <a:xfrm>
                  <a:off x="13490305" y="546357"/>
                  <a:ext cx="92075" cy="30162"/>
                </a:xfrm>
                <a:custGeom>
                  <a:avLst/>
                  <a:gdLst/>
                  <a:ahLst/>
                  <a:cxnLst>
                    <a:cxn ang="0">
                      <a:pos x="20" y="0"/>
                    </a:cxn>
                    <a:cxn ang="0">
                      <a:pos x="0" y="12"/>
                    </a:cxn>
                    <a:cxn ang="0">
                      <a:pos x="26" y="26"/>
                    </a:cxn>
                    <a:cxn ang="0">
                      <a:pos x="52" y="38"/>
                    </a:cxn>
                    <a:cxn ang="0">
                      <a:pos x="116" y="32"/>
                    </a:cxn>
                    <a:cxn ang="0">
                      <a:pos x="114" y="16"/>
                    </a:cxn>
                    <a:cxn ang="0">
                      <a:pos x="68" y="16"/>
                    </a:cxn>
                    <a:cxn ang="0">
                      <a:pos x="20" y="0"/>
                    </a:cxn>
                  </a:cxnLst>
                  <a:rect l="0" t="0" r="r" b="b"/>
                  <a:pathLst>
                    <a:path w="116" h="38">
                      <a:moveTo>
                        <a:pt x="20" y="0"/>
                      </a:moveTo>
                      <a:lnTo>
                        <a:pt x="0" y="12"/>
                      </a:lnTo>
                      <a:lnTo>
                        <a:pt x="26" y="26"/>
                      </a:lnTo>
                      <a:lnTo>
                        <a:pt x="52" y="38"/>
                      </a:lnTo>
                      <a:lnTo>
                        <a:pt x="116" y="32"/>
                      </a:lnTo>
                      <a:lnTo>
                        <a:pt x="114" y="16"/>
                      </a:lnTo>
                      <a:lnTo>
                        <a:pt x="68" y="16"/>
                      </a:lnTo>
                      <a:lnTo>
                        <a:pt x="20" y="0"/>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49" name="Freeform 345">
                  <a:extLst>
                    <a:ext uri="{FF2B5EF4-FFF2-40B4-BE49-F238E27FC236}">
                      <a16:creationId xmlns:a16="http://schemas.microsoft.com/office/drawing/2014/main" id="{FA200CE9-B561-40C7-9C8A-2131BE1B8531}"/>
                    </a:ext>
                  </a:extLst>
                </p:cNvPr>
                <p:cNvSpPr>
                  <a:spLocks/>
                </p:cNvSpPr>
                <p:nvPr/>
              </p:nvSpPr>
              <p:spPr bwMode="auto">
                <a:xfrm>
                  <a:off x="13625242" y="528895"/>
                  <a:ext cx="69850" cy="30162"/>
                </a:xfrm>
                <a:custGeom>
                  <a:avLst/>
                  <a:gdLst/>
                  <a:ahLst/>
                  <a:cxnLst>
                    <a:cxn ang="0">
                      <a:pos x="76" y="32"/>
                    </a:cxn>
                    <a:cxn ang="0">
                      <a:pos x="88" y="8"/>
                    </a:cxn>
                    <a:cxn ang="0">
                      <a:pos x="30" y="0"/>
                    </a:cxn>
                    <a:cxn ang="0">
                      <a:pos x="0" y="20"/>
                    </a:cxn>
                    <a:cxn ang="0">
                      <a:pos x="6" y="38"/>
                    </a:cxn>
                    <a:cxn ang="0">
                      <a:pos x="76" y="32"/>
                    </a:cxn>
                  </a:cxnLst>
                  <a:rect l="0" t="0" r="r" b="b"/>
                  <a:pathLst>
                    <a:path w="88" h="38">
                      <a:moveTo>
                        <a:pt x="76" y="32"/>
                      </a:moveTo>
                      <a:lnTo>
                        <a:pt x="88" y="8"/>
                      </a:lnTo>
                      <a:lnTo>
                        <a:pt x="30" y="0"/>
                      </a:lnTo>
                      <a:lnTo>
                        <a:pt x="0" y="20"/>
                      </a:lnTo>
                      <a:lnTo>
                        <a:pt x="6" y="38"/>
                      </a:lnTo>
                      <a:lnTo>
                        <a:pt x="76" y="32"/>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50" name="Freeform 346">
                  <a:extLst>
                    <a:ext uri="{FF2B5EF4-FFF2-40B4-BE49-F238E27FC236}">
                      <a16:creationId xmlns:a16="http://schemas.microsoft.com/office/drawing/2014/main" id="{69C47E31-66E3-4CD0-B216-642C77BB564A}"/>
                    </a:ext>
                  </a:extLst>
                </p:cNvPr>
                <p:cNvSpPr>
                  <a:spLocks/>
                </p:cNvSpPr>
                <p:nvPr/>
              </p:nvSpPr>
              <p:spPr bwMode="auto">
                <a:xfrm>
                  <a:off x="13649055" y="495557"/>
                  <a:ext cx="53975" cy="22225"/>
                </a:xfrm>
                <a:custGeom>
                  <a:avLst/>
                  <a:gdLst/>
                  <a:ahLst/>
                  <a:cxnLst>
                    <a:cxn ang="0">
                      <a:pos x="17" y="2"/>
                    </a:cxn>
                    <a:cxn ang="0">
                      <a:pos x="9" y="14"/>
                    </a:cxn>
                    <a:cxn ang="0">
                      <a:pos x="17" y="2"/>
                    </a:cxn>
                  </a:cxnLst>
                  <a:rect l="0" t="0" r="r" b="b"/>
                  <a:pathLst>
                    <a:path w="34" h="14">
                      <a:moveTo>
                        <a:pt x="17" y="2"/>
                      </a:moveTo>
                      <a:cubicBezTo>
                        <a:pt x="0" y="3"/>
                        <a:pt x="9" y="14"/>
                        <a:pt x="9" y="14"/>
                      </a:cubicBezTo>
                      <a:cubicBezTo>
                        <a:pt x="34" y="9"/>
                        <a:pt x="34" y="0"/>
                        <a:pt x="17" y="2"/>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51" name="Freeform 347">
                  <a:extLst>
                    <a:ext uri="{FF2B5EF4-FFF2-40B4-BE49-F238E27FC236}">
                      <a16:creationId xmlns:a16="http://schemas.microsoft.com/office/drawing/2014/main" id="{4EAE2952-BDFA-41C3-903A-9EACEADA28C8}"/>
                    </a:ext>
                  </a:extLst>
                </p:cNvPr>
                <p:cNvSpPr>
                  <a:spLocks/>
                </p:cNvSpPr>
                <p:nvPr/>
              </p:nvSpPr>
              <p:spPr bwMode="auto">
                <a:xfrm>
                  <a:off x="13333142" y="528895"/>
                  <a:ext cx="55562" cy="26987"/>
                </a:xfrm>
                <a:custGeom>
                  <a:avLst/>
                  <a:gdLst/>
                  <a:ahLst/>
                  <a:cxnLst>
                    <a:cxn ang="0">
                      <a:pos x="21" y="17"/>
                    </a:cxn>
                    <a:cxn ang="0">
                      <a:pos x="35" y="7"/>
                    </a:cxn>
                    <a:cxn ang="0">
                      <a:pos x="21" y="17"/>
                    </a:cxn>
                  </a:cxnLst>
                  <a:rect l="0" t="0" r="r" b="b"/>
                  <a:pathLst>
                    <a:path w="35" h="17">
                      <a:moveTo>
                        <a:pt x="21" y="17"/>
                      </a:moveTo>
                      <a:cubicBezTo>
                        <a:pt x="35" y="7"/>
                        <a:pt x="35" y="7"/>
                        <a:pt x="35" y="7"/>
                      </a:cubicBezTo>
                      <a:cubicBezTo>
                        <a:pt x="35" y="7"/>
                        <a:pt x="0" y="0"/>
                        <a:pt x="21" y="17"/>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52" name="Freeform 348">
                  <a:extLst>
                    <a:ext uri="{FF2B5EF4-FFF2-40B4-BE49-F238E27FC236}">
                      <a16:creationId xmlns:a16="http://schemas.microsoft.com/office/drawing/2014/main" id="{86143D1E-83E7-4B71-810C-D3AD98ABD823}"/>
                    </a:ext>
                  </a:extLst>
                </p:cNvPr>
                <p:cNvSpPr>
                  <a:spLocks/>
                </p:cNvSpPr>
                <p:nvPr/>
              </p:nvSpPr>
              <p:spPr bwMode="auto">
                <a:xfrm>
                  <a:off x="13834792" y="736857"/>
                  <a:ext cx="750887" cy="438150"/>
                </a:xfrm>
                <a:custGeom>
                  <a:avLst/>
                  <a:gdLst/>
                  <a:ahLst/>
                  <a:cxnLst>
                    <a:cxn ang="0">
                      <a:pos x="40" y="177"/>
                    </a:cxn>
                    <a:cxn ang="0">
                      <a:pos x="10" y="182"/>
                    </a:cxn>
                    <a:cxn ang="0">
                      <a:pos x="19" y="194"/>
                    </a:cxn>
                    <a:cxn ang="0">
                      <a:pos x="38" y="185"/>
                    </a:cxn>
                    <a:cxn ang="0">
                      <a:pos x="28" y="201"/>
                    </a:cxn>
                    <a:cxn ang="0">
                      <a:pos x="2" y="218"/>
                    </a:cxn>
                    <a:cxn ang="0">
                      <a:pos x="43" y="233"/>
                    </a:cxn>
                    <a:cxn ang="0">
                      <a:pos x="84" y="242"/>
                    </a:cxn>
                    <a:cxn ang="0">
                      <a:pos x="96" y="266"/>
                    </a:cxn>
                    <a:cxn ang="0">
                      <a:pos x="148" y="275"/>
                    </a:cxn>
                    <a:cxn ang="0">
                      <a:pos x="222" y="271"/>
                    </a:cxn>
                    <a:cxn ang="0">
                      <a:pos x="146" y="239"/>
                    </a:cxn>
                    <a:cxn ang="0">
                      <a:pos x="130" y="189"/>
                    </a:cxn>
                    <a:cxn ang="0">
                      <a:pos x="127" y="163"/>
                    </a:cxn>
                    <a:cxn ang="0">
                      <a:pos x="154" y="159"/>
                    </a:cxn>
                    <a:cxn ang="0">
                      <a:pos x="143" y="147"/>
                    </a:cxn>
                    <a:cxn ang="0">
                      <a:pos x="166" y="150"/>
                    </a:cxn>
                    <a:cxn ang="0">
                      <a:pos x="153" y="142"/>
                    </a:cxn>
                    <a:cxn ang="0">
                      <a:pos x="169" y="144"/>
                    </a:cxn>
                    <a:cxn ang="0">
                      <a:pos x="173" y="134"/>
                    </a:cxn>
                    <a:cxn ang="0">
                      <a:pos x="159" y="127"/>
                    </a:cxn>
                    <a:cxn ang="0">
                      <a:pos x="190" y="127"/>
                    </a:cxn>
                    <a:cxn ang="0">
                      <a:pos x="179" y="113"/>
                    </a:cxn>
                    <a:cxn ang="0">
                      <a:pos x="201" y="115"/>
                    </a:cxn>
                    <a:cxn ang="0">
                      <a:pos x="199" y="96"/>
                    </a:cxn>
                    <a:cxn ang="0">
                      <a:pos x="231" y="99"/>
                    </a:cxn>
                    <a:cxn ang="0">
                      <a:pos x="262" y="78"/>
                    </a:cxn>
                    <a:cxn ang="0">
                      <a:pos x="428" y="48"/>
                    </a:cxn>
                    <a:cxn ang="0">
                      <a:pos x="438" y="12"/>
                    </a:cxn>
                    <a:cxn ang="0">
                      <a:pos x="356" y="22"/>
                    </a:cxn>
                    <a:cxn ang="0">
                      <a:pos x="278" y="40"/>
                    </a:cxn>
                    <a:cxn ang="0">
                      <a:pos x="226" y="34"/>
                    </a:cxn>
                    <a:cxn ang="0">
                      <a:pos x="215" y="51"/>
                    </a:cxn>
                    <a:cxn ang="0">
                      <a:pos x="198" y="42"/>
                    </a:cxn>
                    <a:cxn ang="0">
                      <a:pos x="163" y="56"/>
                    </a:cxn>
                    <a:cxn ang="0">
                      <a:pos x="144" y="55"/>
                    </a:cxn>
                    <a:cxn ang="0">
                      <a:pos x="125" y="70"/>
                    </a:cxn>
                    <a:cxn ang="0">
                      <a:pos x="139" y="75"/>
                    </a:cxn>
                    <a:cxn ang="0">
                      <a:pos x="106" y="76"/>
                    </a:cxn>
                    <a:cxn ang="0">
                      <a:pos x="87" y="82"/>
                    </a:cxn>
                    <a:cxn ang="0">
                      <a:pos x="88" y="91"/>
                    </a:cxn>
                    <a:cxn ang="0">
                      <a:pos x="105" y="82"/>
                    </a:cxn>
                    <a:cxn ang="0">
                      <a:pos x="106" y="91"/>
                    </a:cxn>
                    <a:cxn ang="0">
                      <a:pos x="125" y="93"/>
                    </a:cxn>
                    <a:cxn ang="0">
                      <a:pos x="119" y="101"/>
                    </a:cxn>
                    <a:cxn ang="0">
                      <a:pos x="93" y="101"/>
                    </a:cxn>
                    <a:cxn ang="0">
                      <a:pos x="89" y="110"/>
                    </a:cxn>
                    <a:cxn ang="0">
                      <a:pos x="107" y="113"/>
                    </a:cxn>
                    <a:cxn ang="0">
                      <a:pos x="76" y="115"/>
                    </a:cxn>
                    <a:cxn ang="0">
                      <a:pos x="98" y="121"/>
                    </a:cxn>
                    <a:cxn ang="0">
                      <a:pos x="69" y="123"/>
                    </a:cxn>
                    <a:cxn ang="0">
                      <a:pos x="67" y="137"/>
                    </a:cxn>
                    <a:cxn ang="0">
                      <a:pos x="47" y="144"/>
                    </a:cxn>
                    <a:cxn ang="0">
                      <a:pos x="54" y="154"/>
                    </a:cxn>
                    <a:cxn ang="0">
                      <a:pos x="81" y="142"/>
                    </a:cxn>
                    <a:cxn ang="0">
                      <a:pos x="70" y="160"/>
                    </a:cxn>
                    <a:cxn ang="0">
                      <a:pos x="41" y="162"/>
                    </a:cxn>
                    <a:cxn ang="0">
                      <a:pos x="40" y="177"/>
                    </a:cxn>
                  </a:cxnLst>
                  <a:rect l="0" t="0" r="r" b="b"/>
                  <a:pathLst>
                    <a:path w="471" h="275">
                      <a:moveTo>
                        <a:pt x="40" y="177"/>
                      </a:moveTo>
                      <a:cubicBezTo>
                        <a:pt x="10" y="182"/>
                        <a:pt x="10" y="182"/>
                        <a:pt x="10" y="182"/>
                      </a:cubicBezTo>
                      <a:cubicBezTo>
                        <a:pt x="19" y="194"/>
                        <a:pt x="19" y="194"/>
                        <a:pt x="19" y="194"/>
                      </a:cubicBezTo>
                      <a:cubicBezTo>
                        <a:pt x="38" y="185"/>
                        <a:pt x="38" y="185"/>
                        <a:pt x="38" y="185"/>
                      </a:cubicBezTo>
                      <a:cubicBezTo>
                        <a:pt x="28" y="201"/>
                        <a:pt x="28" y="201"/>
                        <a:pt x="28" y="201"/>
                      </a:cubicBezTo>
                      <a:cubicBezTo>
                        <a:pt x="28" y="201"/>
                        <a:pt x="0" y="207"/>
                        <a:pt x="2" y="218"/>
                      </a:cubicBezTo>
                      <a:cubicBezTo>
                        <a:pt x="4" y="229"/>
                        <a:pt x="31" y="233"/>
                        <a:pt x="43" y="233"/>
                      </a:cubicBezTo>
                      <a:cubicBezTo>
                        <a:pt x="56" y="233"/>
                        <a:pt x="73" y="236"/>
                        <a:pt x="84" y="242"/>
                      </a:cubicBezTo>
                      <a:cubicBezTo>
                        <a:pt x="94" y="248"/>
                        <a:pt x="93" y="265"/>
                        <a:pt x="96" y="266"/>
                      </a:cubicBezTo>
                      <a:cubicBezTo>
                        <a:pt x="99" y="268"/>
                        <a:pt x="148" y="275"/>
                        <a:pt x="148" y="275"/>
                      </a:cubicBezTo>
                      <a:cubicBezTo>
                        <a:pt x="222" y="271"/>
                        <a:pt x="222" y="271"/>
                        <a:pt x="222" y="271"/>
                      </a:cubicBezTo>
                      <a:cubicBezTo>
                        <a:pt x="222" y="271"/>
                        <a:pt x="162" y="265"/>
                        <a:pt x="146" y="239"/>
                      </a:cubicBezTo>
                      <a:cubicBezTo>
                        <a:pt x="130" y="213"/>
                        <a:pt x="114" y="213"/>
                        <a:pt x="130" y="189"/>
                      </a:cubicBezTo>
                      <a:cubicBezTo>
                        <a:pt x="146" y="165"/>
                        <a:pt x="127" y="163"/>
                        <a:pt x="127" y="163"/>
                      </a:cubicBezTo>
                      <a:cubicBezTo>
                        <a:pt x="154" y="159"/>
                        <a:pt x="154" y="159"/>
                        <a:pt x="154" y="159"/>
                      </a:cubicBezTo>
                      <a:cubicBezTo>
                        <a:pt x="143" y="147"/>
                        <a:pt x="143" y="147"/>
                        <a:pt x="143" y="147"/>
                      </a:cubicBezTo>
                      <a:cubicBezTo>
                        <a:pt x="166" y="150"/>
                        <a:pt x="166" y="150"/>
                        <a:pt x="166" y="150"/>
                      </a:cubicBezTo>
                      <a:cubicBezTo>
                        <a:pt x="153" y="142"/>
                        <a:pt x="153" y="142"/>
                        <a:pt x="153" y="142"/>
                      </a:cubicBezTo>
                      <a:cubicBezTo>
                        <a:pt x="169" y="144"/>
                        <a:pt x="169" y="144"/>
                        <a:pt x="169" y="144"/>
                      </a:cubicBezTo>
                      <a:cubicBezTo>
                        <a:pt x="173" y="134"/>
                        <a:pt x="173" y="134"/>
                        <a:pt x="173" y="134"/>
                      </a:cubicBezTo>
                      <a:cubicBezTo>
                        <a:pt x="159" y="127"/>
                        <a:pt x="159" y="127"/>
                        <a:pt x="159" y="127"/>
                      </a:cubicBezTo>
                      <a:cubicBezTo>
                        <a:pt x="159" y="127"/>
                        <a:pt x="186" y="131"/>
                        <a:pt x="190" y="127"/>
                      </a:cubicBezTo>
                      <a:cubicBezTo>
                        <a:pt x="194" y="123"/>
                        <a:pt x="179" y="113"/>
                        <a:pt x="179" y="113"/>
                      </a:cubicBezTo>
                      <a:cubicBezTo>
                        <a:pt x="201" y="115"/>
                        <a:pt x="201" y="115"/>
                        <a:pt x="201" y="115"/>
                      </a:cubicBezTo>
                      <a:cubicBezTo>
                        <a:pt x="199" y="96"/>
                        <a:pt x="199" y="96"/>
                        <a:pt x="199" y="96"/>
                      </a:cubicBezTo>
                      <a:cubicBezTo>
                        <a:pt x="199" y="96"/>
                        <a:pt x="213" y="107"/>
                        <a:pt x="231" y="99"/>
                      </a:cubicBezTo>
                      <a:cubicBezTo>
                        <a:pt x="250" y="92"/>
                        <a:pt x="262" y="78"/>
                        <a:pt x="262" y="78"/>
                      </a:cubicBezTo>
                      <a:cubicBezTo>
                        <a:pt x="262" y="78"/>
                        <a:pt x="407" y="57"/>
                        <a:pt x="428" y="48"/>
                      </a:cubicBezTo>
                      <a:cubicBezTo>
                        <a:pt x="450" y="38"/>
                        <a:pt x="471" y="23"/>
                        <a:pt x="438" y="12"/>
                      </a:cubicBezTo>
                      <a:cubicBezTo>
                        <a:pt x="405" y="0"/>
                        <a:pt x="371" y="16"/>
                        <a:pt x="356" y="22"/>
                      </a:cubicBezTo>
                      <a:cubicBezTo>
                        <a:pt x="342" y="28"/>
                        <a:pt x="298" y="43"/>
                        <a:pt x="278" y="40"/>
                      </a:cubicBezTo>
                      <a:cubicBezTo>
                        <a:pt x="257" y="38"/>
                        <a:pt x="226" y="34"/>
                        <a:pt x="226" y="34"/>
                      </a:cubicBezTo>
                      <a:cubicBezTo>
                        <a:pt x="215" y="51"/>
                        <a:pt x="215" y="51"/>
                        <a:pt x="215" y="51"/>
                      </a:cubicBezTo>
                      <a:cubicBezTo>
                        <a:pt x="198" y="42"/>
                        <a:pt x="198" y="42"/>
                        <a:pt x="198" y="42"/>
                      </a:cubicBezTo>
                      <a:cubicBezTo>
                        <a:pt x="163" y="56"/>
                        <a:pt x="163" y="56"/>
                        <a:pt x="163" y="56"/>
                      </a:cubicBezTo>
                      <a:cubicBezTo>
                        <a:pt x="144" y="55"/>
                        <a:pt x="144" y="55"/>
                        <a:pt x="144" y="55"/>
                      </a:cubicBezTo>
                      <a:cubicBezTo>
                        <a:pt x="125" y="70"/>
                        <a:pt x="125" y="70"/>
                        <a:pt x="125" y="70"/>
                      </a:cubicBezTo>
                      <a:cubicBezTo>
                        <a:pt x="139" y="75"/>
                        <a:pt x="139" y="75"/>
                        <a:pt x="139" y="75"/>
                      </a:cubicBezTo>
                      <a:cubicBezTo>
                        <a:pt x="106" y="76"/>
                        <a:pt x="106" y="76"/>
                        <a:pt x="106" y="76"/>
                      </a:cubicBezTo>
                      <a:cubicBezTo>
                        <a:pt x="87" y="82"/>
                        <a:pt x="87" y="82"/>
                        <a:pt x="87" y="82"/>
                      </a:cubicBezTo>
                      <a:cubicBezTo>
                        <a:pt x="88" y="91"/>
                        <a:pt x="88" y="91"/>
                        <a:pt x="88" y="91"/>
                      </a:cubicBezTo>
                      <a:cubicBezTo>
                        <a:pt x="105" y="82"/>
                        <a:pt x="105" y="82"/>
                        <a:pt x="105" y="82"/>
                      </a:cubicBezTo>
                      <a:cubicBezTo>
                        <a:pt x="106" y="91"/>
                        <a:pt x="106" y="91"/>
                        <a:pt x="106" y="91"/>
                      </a:cubicBezTo>
                      <a:cubicBezTo>
                        <a:pt x="125" y="93"/>
                        <a:pt x="125" y="93"/>
                        <a:pt x="125" y="93"/>
                      </a:cubicBezTo>
                      <a:cubicBezTo>
                        <a:pt x="119" y="101"/>
                        <a:pt x="119" y="101"/>
                        <a:pt x="119" y="101"/>
                      </a:cubicBezTo>
                      <a:cubicBezTo>
                        <a:pt x="93" y="101"/>
                        <a:pt x="93" y="101"/>
                        <a:pt x="93" y="101"/>
                      </a:cubicBezTo>
                      <a:cubicBezTo>
                        <a:pt x="89" y="110"/>
                        <a:pt x="89" y="110"/>
                        <a:pt x="89" y="110"/>
                      </a:cubicBezTo>
                      <a:cubicBezTo>
                        <a:pt x="107" y="113"/>
                        <a:pt x="107" y="113"/>
                        <a:pt x="107" y="113"/>
                      </a:cubicBezTo>
                      <a:cubicBezTo>
                        <a:pt x="76" y="115"/>
                        <a:pt x="76" y="115"/>
                        <a:pt x="76" y="115"/>
                      </a:cubicBezTo>
                      <a:cubicBezTo>
                        <a:pt x="98" y="121"/>
                        <a:pt x="98" y="121"/>
                        <a:pt x="98" y="121"/>
                      </a:cubicBezTo>
                      <a:cubicBezTo>
                        <a:pt x="69" y="123"/>
                        <a:pt x="69" y="123"/>
                        <a:pt x="69" y="123"/>
                      </a:cubicBezTo>
                      <a:cubicBezTo>
                        <a:pt x="67" y="137"/>
                        <a:pt x="67" y="137"/>
                        <a:pt x="67" y="137"/>
                      </a:cubicBezTo>
                      <a:cubicBezTo>
                        <a:pt x="47" y="144"/>
                        <a:pt x="47" y="144"/>
                        <a:pt x="47" y="144"/>
                      </a:cubicBezTo>
                      <a:cubicBezTo>
                        <a:pt x="54" y="154"/>
                        <a:pt x="54" y="154"/>
                        <a:pt x="54" y="154"/>
                      </a:cubicBezTo>
                      <a:cubicBezTo>
                        <a:pt x="81" y="142"/>
                        <a:pt x="81" y="142"/>
                        <a:pt x="81" y="142"/>
                      </a:cubicBezTo>
                      <a:cubicBezTo>
                        <a:pt x="70" y="160"/>
                        <a:pt x="70" y="160"/>
                        <a:pt x="70" y="160"/>
                      </a:cubicBezTo>
                      <a:cubicBezTo>
                        <a:pt x="70" y="160"/>
                        <a:pt x="49" y="155"/>
                        <a:pt x="41" y="162"/>
                      </a:cubicBezTo>
                      <a:cubicBezTo>
                        <a:pt x="34" y="169"/>
                        <a:pt x="40" y="177"/>
                        <a:pt x="40" y="177"/>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53" name="Freeform 349">
                  <a:extLst>
                    <a:ext uri="{FF2B5EF4-FFF2-40B4-BE49-F238E27FC236}">
                      <a16:creationId xmlns:a16="http://schemas.microsoft.com/office/drawing/2014/main" id="{2D8E16B6-1B1F-4CA2-8BA9-F55E042D13A5}"/>
                    </a:ext>
                  </a:extLst>
                </p:cNvPr>
                <p:cNvSpPr>
                  <a:spLocks/>
                </p:cNvSpPr>
                <p:nvPr/>
              </p:nvSpPr>
              <p:spPr bwMode="auto">
                <a:xfrm>
                  <a:off x="13774467" y="544770"/>
                  <a:ext cx="87312" cy="20637"/>
                </a:xfrm>
                <a:custGeom>
                  <a:avLst/>
                  <a:gdLst/>
                  <a:ahLst/>
                  <a:cxnLst>
                    <a:cxn ang="0">
                      <a:pos x="12" y="13"/>
                    </a:cxn>
                    <a:cxn ang="0">
                      <a:pos x="49" y="10"/>
                    </a:cxn>
                    <a:cxn ang="0">
                      <a:pos x="31" y="0"/>
                    </a:cxn>
                    <a:cxn ang="0">
                      <a:pos x="0" y="0"/>
                    </a:cxn>
                    <a:cxn ang="0">
                      <a:pos x="12" y="13"/>
                    </a:cxn>
                  </a:cxnLst>
                  <a:rect l="0" t="0" r="r" b="b"/>
                  <a:pathLst>
                    <a:path w="55" h="13">
                      <a:moveTo>
                        <a:pt x="12" y="13"/>
                      </a:moveTo>
                      <a:cubicBezTo>
                        <a:pt x="22" y="13"/>
                        <a:pt x="55" y="11"/>
                        <a:pt x="49" y="10"/>
                      </a:cubicBezTo>
                      <a:cubicBezTo>
                        <a:pt x="43" y="9"/>
                        <a:pt x="31" y="0"/>
                        <a:pt x="31" y="0"/>
                      </a:cubicBezTo>
                      <a:cubicBezTo>
                        <a:pt x="0" y="0"/>
                        <a:pt x="0" y="0"/>
                        <a:pt x="0" y="0"/>
                      </a:cubicBezTo>
                      <a:cubicBezTo>
                        <a:pt x="0" y="0"/>
                        <a:pt x="3" y="13"/>
                        <a:pt x="12" y="13"/>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54" name="Freeform 350">
                  <a:extLst>
                    <a:ext uri="{FF2B5EF4-FFF2-40B4-BE49-F238E27FC236}">
                      <a16:creationId xmlns:a16="http://schemas.microsoft.com/office/drawing/2014/main" id="{D8F869CC-09D2-4DAF-B18A-20F87058541F}"/>
                    </a:ext>
                  </a:extLst>
                </p:cNvPr>
                <p:cNvSpPr>
                  <a:spLocks/>
                </p:cNvSpPr>
                <p:nvPr/>
              </p:nvSpPr>
              <p:spPr bwMode="auto">
                <a:xfrm>
                  <a:off x="14260242" y="1187707"/>
                  <a:ext cx="122237" cy="82550"/>
                </a:xfrm>
                <a:custGeom>
                  <a:avLst/>
                  <a:gdLst/>
                  <a:ahLst/>
                  <a:cxnLst>
                    <a:cxn ang="0">
                      <a:pos x="5" y="10"/>
                    </a:cxn>
                    <a:cxn ang="0">
                      <a:pos x="71" y="36"/>
                    </a:cxn>
                    <a:cxn ang="0">
                      <a:pos x="5" y="10"/>
                    </a:cxn>
                  </a:cxnLst>
                  <a:rect l="0" t="0" r="r" b="b"/>
                  <a:pathLst>
                    <a:path w="77" h="52">
                      <a:moveTo>
                        <a:pt x="5" y="10"/>
                      </a:moveTo>
                      <a:cubicBezTo>
                        <a:pt x="0" y="18"/>
                        <a:pt x="65" y="52"/>
                        <a:pt x="71" y="36"/>
                      </a:cubicBezTo>
                      <a:cubicBezTo>
                        <a:pt x="77" y="20"/>
                        <a:pt x="11" y="0"/>
                        <a:pt x="5" y="10"/>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55" name="Freeform 351">
                  <a:extLst>
                    <a:ext uri="{FF2B5EF4-FFF2-40B4-BE49-F238E27FC236}">
                      <a16:creationId xmlns:a16="http://schemas.microsoft.com/office/drawing/2014/main" id="{3306B486-85D8-4BD1-B508-02D67308DB0C}"/>
                    </a:ext>
                  </a:extLst>
                </p:cNvPr>
                <p:cNvSpPr>
                  <a:spLocks/>
                </p:cNvSpPr>
                <p:nvPr/>
              </p:nvSpPr>
              <p:spPr bwMode="auto">
                <a:xfrm>
                  <a:off x="13720492" y="1251207"/>
                  <a:ext cx="130175" cy="76200"/>
                </a:xfrm>
                <a:custGeom>
                  <a:avLst/>
                  <a:gdLst/>
                  <a:ahLst/>
                  <a:cxnLst>
                    <a:cxn ang="0">
                      <a:pos x="47" y="6"/>
                    </a:cxn>
                    <a:cxn ang="0">
                      <a:pos x="6" y="23"/>
                    </a:cxn>
                    <a:cxn ang="0">
                      <a:pos x="22" y="42"/>
                    </a:cxn>
                    <a:cxn ang="0">
                      <a:pos x="59" y="36"/>
                    </a:cxn>
                    <a:cxn ang="0">
                      <a:pos x="72" y="24"/>
                    </a:cxn>
                    <a:cxn ang="0">
                      <a:pos x="81" y="23"/>
                    </a:cxn>
                    <a:cxn ang="0">
                      <a:pos x="47" y="6"/>
                    </a:cxn>
                  </a:cxnLst>
                  <a:rect l="0" t="0" r="r" b="b"/>
                  <a:pathLst>
                    <a:path w="81" h="47">
                      <a:moveTo>
                        <a:pt x="47" y="6"/>
                      </a:moveTo>
                      <a:cubicBezTo>
                        <a:pt x="21" y="0"/>
                        <a:pt x="6" y="23"/>
                        <a:pt x="6" y="23"/>
                      </a:cubicBezTo>
                      <a:cubicBezTo>
                        <a:pt x="6" y="26"/>
                        <a:pt x="0" y="38"/>
                        <a:pt x="22" y="42"/>
                      </a:cubicBezTo>
                      <a:cubicBezTo>
                        <a:pt x="44" y="47"/>
                        <a:pt x="52" y="40"/>
                        <a:pt x="59" y="36"/>
                      </a:cubicBezTo>
                      <a:cubicBezTo>
                        <a:pt x="66" y="32"/>
                        <a:pt x="72" y="24"/>
                        <a:pt x="72" y="24"/>
                      </a:cubicBezTo>
                      <a:cubicBezTo>
                        <a:pt x="81" y="23"/>
                        <a:pt x="81" y="23"/>
                        <a:pt x="81" y="23"/>
                      </a:cubicBezTo>
                      <a:cubicBezTo>
                        <a:pt x="81" y="23"/>
                        <a:pt x="73" y="12"/>
                        <a:pt x="47" y="6"/>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56" name="Freeform 352">
                  <a:extLst>
                    <a:ext uri="{FF2B5EF4-FFF2-40B4-BE49-F238E27FC236}">
                      <a16:creationId xmlns:a16="http://schemas.microsoft.com/office/drawing/2014/main" id="{F50F2C7B-5CDB-45DF-960A-C217C71D474A}"/>
                    </a:ext>
                  </a:extLst>
                </p:cNvPr>
                <p:cNvSpPr>
                  <a:spLocks/>
                </p:cNvSpPr>
                <p:nvPr/>
              </p:nvSpPr>
              <p:spPr bwMode="auto">
                <a:xfrm>
                  <a:off x="13726842" y="533657"/>
                  <a:ext cx="25400" cy="25400"/>
                </a:xfrm>
                <a:custGeom>
                  <a:avLst/>
                  <a:gdLst/>
                  <a:ahLst/>
                  <a:cxnLst>
                    <a:cxn ang="0">
                      <a:pos x="32" y="6"/>
                    </a:cxn>
                    <a:cxn ang="0">
                      <a:pos x="0" y="0"/>
                    </a:cxn>
                    <a:cxn ang="0">
                      <a:pos x="12" y="32"/>
                    </a:cxn>
                    <a:cxn ang="0">
                      <a:pos x="32" y="6"/>
                    </a:cxn>
                  </a:cxnLst>
                  <a:rect l="0" t="0" r="r" b="b"/>
                  <a:pathLst>
                    <a:path w="32" h="32">
                      <a:moveTo>
                        <a:pt x="32" y="6"/>
                      </a:moveTo>
                      <a:lnTo>
                        <a:pt x="0" y="0"/>
                      </a:lnTo>
                      <a:lnTo>
                        <a:pt x="12" y="32"/>
                      </a:lnTo>
                      <a:lnTo>
                        <a:pt x="32" y="6"/>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57" name="Freeform 353">
                  <a:extLst>
                    <a:ext uri="{FF2B5EF4-FFF2-40B4-BE49-F238E27FC236}">
                      <a16:creationId xmlns:a16="http://schemas.microsoft.com/office/drawing/2014/main" id="{817CB5C1-A648-4950-8F85-329D6AFACE8F}"/>
                    </a:ext>
                  </a:extLst>
                </p:cNvPr>
                <p:cNvSpPr>
                  <a:spLocks/>
                </p:cNvSpPr>
                <p:nvPr/>
              </p:nvSpPr>
              <p:spPr bwMode="auto">
                <a:xfrm>
                  <a:off x="14077680" y="489207"/>
                  <a:ext cx="115887" cy="39687"/>
                </a:xfrm>
                <a:custGeom>
                  <a:avLst/>
                  <a:gdLst/>
                  <a:ahLst/>
                  <a:cxnLst>
                    <a:cxn ang="0">
                      <a:pos x="18" y="22"/>
                    </a:cxn>
                    <a:cxn ang="0">
                      <a:pos x="31" y="17"/>
                    </a:cxn>
                    <a:cxn ang="0">
                      <a:pos x="65" y="18"/>
                    </a:cxn>
                    <a:cxn ang="0">
                      <a:pos x="44" y="0"/>
                    </a:cxn>
                    <a:cxn ang="0">
                      <a:pos x="0" y="17"/>
                    </a:cxn>
                    <a:cxn ang="0">
                      <a:pos x="18" y="22"/>
                    </a:cxn>
                  </a:cxnLst>
                  <a:rect l="0" t="0" r="r" b="b"/>
                  <a:pathLst>
                    <a:path w="72" h="25">
                      <a:moveTo>
                        <a:pt x="18" y="22"/>
                      </a:moveTo>
                      <a:cubicBezTo>
                        <a:pt x="23" y="22"/>
                        <a:pt x="31" y="17"/>
                        <a:pt x="31" y="17"/>
                      </a:cubicBezTo>
                      <a:cubicBezTo>
                        <a:pt x="31" y="17"/>
                        <a:pt x="58" y="25"/>
                        <a:pt x="65" y="18"/>
                      </a:cubicBezTo>
                      <a:cubicBezTo>
                        <a:pt x="72" y="11"/>
                        <a:pt x="66" y="0"/>
                        <a:pt x="44" y="0"/>
                      </a:cubicBezTo>
                      <a:cubicBezTo>
                        <a:pt x="21" y="0"/>
                        <a:pt x="0" y="17"/>
                        <a:pt x="0" y="17"/>
                      </a:cubicBezTo>
                      <a:cubicBezTo>
                        <a:pt x="4" y="22"/>
                        <a:pt x="14" y="22"/>
                        <a:pt x="18" y="22"/>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58" name="Freeform 354">
                  <a:extLst>
                    <a:ext uri="{FF2B5EF4-FFF2-40B4-BE49-F238E27FC236}">
                      <a16:creationId xmlns:a16="http://schemas.microsoft.com/office/drawing/2014/main" id="{F220038A-5A3E-4BC1-852E-838A64C506C3}"/>
                    </a:ext>
                  </a:extLst>
                </p:cNvPr>
                <p:cNvSpPr>
                  <a:spLocks/>
                </p:cNvSpPr>
                <p:nvPr/>
              </p:nvSpPr>
              <p:spPr bwMode="auto">
                <a:xfrm>
                  <a:off x="14001480" y="463807"/>
                  <a:ext cx="103187" cy="20637"/>
                </a:xfrm>
                <a:custGeom>
                  <a:avLst/>
                  <a:gdLst/>
                  <a:ahLst/>
                  <a:cxnLst>
                    <a:cxn ang="0">
                      <a:pos x="41" y="12"/>
                    </a:cxn>
                    <a:cxn ang="0">
                      <a:pos x="58" y="0"/>
                    </a:cxn>
                    <a:cxn ang="0">
                      <a:pos x="3" y="0"/>
                    </a:cxn>
                    <a:cxn ang="0">
                      <a:pos x="0" y="9"/>
                    </a:cxn>
                    <a:cxn ang="0">
                      <a:pos x="27" y="6"/>
                    </a:cxn>
                    <a:cxn ang="0">
                      <a:pos x="41" y="12"/>
                    </a:cxn>
                  </a:cxnLst>
                  <a:rect l="0" t="0" r="r" b="b"/>
                  <a:pathLst>
                    <a:path w="65" h="13">
                      <a:moveTo>
                        <a:pt x="41" y="12"/>
                      </a:moveTo>
                      <a:cubicBezTo>
                        <a:pt x="51" y="10"/>
                        <a:pt x="65" y="0"/>
                        <a:pt x="58" y="0"/>
                      </a:cubicBezTo>
                      <a:cubicBezTo>
                        <a:pt x="51" y="0"/>
                        <a:pt x="3" y="0"/>
                        <a:pt x="3" y="0"/>
                      </a:cubicBezTo>
                      <a:cubicBezTo>
                        <a:pt x="0" y="9"/>
                        <a:pt x="0" y="9"/>
                        <a:pt x="0" y="9"/>
                      </a:cubicBezTo>
                      <a:cubicBezTo>
                        <a:pt x="27" y="6"/>
                        <a:pt x="27" y="6"/>
                        <a:pt x="27" y="6"/>
                      </a:cubicBezTo>
                      <a:cubicBezTo>
                        <a:pt x="27" y="6"/>
                        <a:pt x="31" y="13"/>
                        <a:pt x="41" y="12"/>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59" name="Freeform 357">
                  <a:extLst>
                    <a:ext uri="{FF2B5EF4-FFF2-40B4-BE49-F238E27FC236}">
                      <a16:creationId xmlns:a16="http://schemas.microsoft.com/office/drawing/2014/main" id="{91DF3EF7-BBF8-4FB9-97EB-1B045EF1FB22}"/>
                    </a:ext>
                  </a:extLst>
                </p:cNvPr>
                <p:cNvSpPr>
                  <a:spLocks/>
                </p:cNvSpPr>
                <p:nvPr/>
              </p:nvSpPr>
              <p:spPr bwMode="auto">
                <a:xfrm>
                  <a:off x="13960205" y="498732"/>
                  <a:ext cx="66675" cy="12700"/>
                </a:xfrm>
                <a:custGeom>
                  <a:avLst/>
                  <a:gdLst/>
                  <a:ahLst/>
                  <a:cxnLst>
                    <a:cxn ang="0">
                      <a:pos x="84" y="0"/>
                    </a:cxn>
                    <a:cxn ang="0">
                      <a:pos x="0" y="0"/>
                    </a:cxn>
                    <a:cxn ang="0">
                      <a:pos x="70" y="16"/>
                    </a:cxn>
                    <a:cxn ang="0">
                      <a:pos x="84" y="0"/>
                    </a:cxn>
                  </a:cxnLst>
                  <a:rect l="0" t="0" r="r" b="b"/>
                  <a:pathLst>
                    <a:path w="84" h="16">
                      <a:moveTo>
                        <a:pt x="84" y="0"/>
                      </a:moveTo>
                      <a:lnTo>
                        <a:pt x="0" y="0"/>
                      </a:lnTo>
                      <a:lnTo>
                        <a:pt x="70" y="16"/>
                      </a:lnTo>
                      <a:lnTo>
                        <a:pt x="84" y="0"/>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60" name="Freeform 358">
                  <a:extLst>
                    <a:ext uri="{FF2B5EF4-FFF2-40B4-BE49-F238E27FC236}">
                      <a16:creationId xmlns:a16="http://schemas.microsoft.com/office/drawing/2014/main" id="{EC139CB1-73F7-4234-9F16-D8C05D21F106}"/>
                    </a:ext>
                  </a:extLst>
                </p:cNvPr>
                <p:cNvSpPr>
                  <a:spLocks/>
                </p:cNvSpPr>
                <p:nvPr/>
              </p:nvSpPr>
              <p:spPr bwMode="auto">
                <a:xfrm>
                  <a:off x="13917342" y="551120"/>
                  <a:ext cx="73025" cy="19050"/>
                </a:xfrm>
                <a:custGeom>
                  <a:avLst/>
                  <a:gdLst/>
                  <a:ahLst/>
                  <a:cxnLst>
                    <a:cxn ang="0">
                      <a:pos x="0" y="24"/>
                    </a:cxn>
                    <a:cxn ang="0">
                      <a:pos x="92" y="20"/>
                    </a:cxn>
                    <a:cxn ang="0">
                      <a:pos x="62" y="0"/>
                    </a:cxn>
                    <a:cxn ang="0">
                      <a:pos x="0" y="24"/>
                    </a:cxn>
                  </a:cxnLst>
                  <a:rect l="0" t="0" r="r" b="b"/>
                  <a:pathLst>
                    <a:path w="92" h="24">
                      <a:moveTo>
                        <a:pt x="0" y="24"/>
                      </a:moveTo>
                      <a:lnTo>
                        <a:pt x="92" y="20"/>
                      </a:lnTo>
                      <a:lnTo>
                        <a:pt x="62" y="0"/>
                      </a:lnTo>
                      <a:lnTo>
                        <a:pt x="0" y="24"/>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61" name="Freeform 360">
                  <a:extLst>
                    <a:ext uri="{FF2B5EF4-FFF2-40B4-BE49-F238E27FC236}">
                      <a16:creationId xmlns:a16="http://schemas.microsoft.com/office/drawing/2014/main" id="{4D2BECFE-B90F-4187-931E-BCF971FD82D0}"/>
                    </a:ext>
                  </a:extLst>
                </p:cNvPr>
                <p:cNvSpPr>
                  <a:spLocks/>
                </p:cNvSpPr>
                <p:nvPr/>
              </p:nvSpPr>
              <p:spPr bwMode="auto">
                <a:xfrm>
                  <a:off x="13845905" y="498732"/>
                  <a:ext cx="57150" cy="23812"/>
                </a:xfrm>
                <a:custGeom>
                  <a:avLst/>
                  <a:gdLst/>
                  <a:ahLst/>
                  <a:cxnLst>
                    <a:cxn ang="0">
                      <a:pos x="13" y="14"/>
                    </a:cxn>
                    <a:cxn ang="0">
                      <a:pos x="18" y="0"/>
                    </a:cxn>
                    <a:cxn ang="0">
                      <a:pos x="13" y="14"/>
                    </a:cxn>
                  </a:cxnLst>
                  <a:rect l="0" t="0" r="r" b="b"/>
                  <a:pathLst>
                    <a:path w="36" h="15">
                      <a:moveTo>
                        <a:pt x="13" y="14"/>
                      </a:moveTo>
                      <a:cubicBezTo>
                        <a:pt x="27" y="12"/>
                        <a:pt x="36" y="0"/>
                        <a:pt x="18" y="0"/>
                      </a:cubicBezTo>
                      <a:cubicBezTo>
                        <a:pt x="0" y="0"/>
                        <a:pt x="3" y="15"/>
                        <a:pt x="13" y="14"/>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62" name="Freeform 361">
                  <a:extLst>
                    <a:ext uri="{FF2B5EF4-FFF2-40B4-BE49-F238E27FC236}">
                      <a16:creationId xmlns:a16="http://schemas.microsoft.com/office/drawing/2014/main" id="{16F5E2AD-32B2-46B3-910D-9401BC6D6C2F}"/>
                    </a:ext>
                  </a:extLst>
                </p:cNvPr>
                <p:cNvSpPr>
                  <a:spLocks/>
                </p:cNvSpPr>
                <p:nvPr/>
              </p:nvSpPr>
              <p:spPr bwMode="auto">
                <a:xfrm>
                  <a:off x="13901467" y="489207"/>
                  <a:ext cx="44450" cy="12700"/>
                </a:xfrm>
                <a:custGeom>
                  <a:avLst/>
                  <a:gdLst/>
                  <a:ahLst/>
                  <a:cxnLst>
                    <a:cxn ang="0">
                      <a:pos x="56" y="6"/>
                    </a:cxn>
                    <a:cxn ang="0">
                      <a:pos x="0" y="0"/>
                    </a:cxn>
                    <a:cxn ang="0">
                      <a:pos x="14" y="16"/>
                    </a:cxn>
                    <a:cxn ang="0">
                      <a:pos x="56" y="6"/>
                    </a:cxn>
                  </a:cxnLst>
                  <a:rect l="0" t="0" r="r" b="b"/>
                  <a:pathLst>
                    <a:path w="56" h="16">
                      <a:moveTo>
                        <a:pt x="56" y="6"/>
                      </a:moveTo>
                      <a:lnTo>
                        <a:pt x="0" y="0"/>
                      </a:lnTo>
                      <a:lnTo>
                        <a:pt x="14" y="16"/>
                      </a:lnTo>
                      <a:lnTo>
                        <a:pt x="56" y="6"/>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63" name="Freeform 362">
                  <a:extLst>
                    <a:ext uri="{FF2B5EF4-FFF2-40B4-BE49-F238E27FC236}">
                      <a16:creationId xmlns:a16="http://schemas.microsoft.com/office/drawing/2014/main" id="{7856E8DC-8680-479B-9ECA-30E62EBDE77D}"/>
                    </a:ext>
                  </a:extLst>
                </p:cNvPr>
                <p:cNvSpPr>
                  <a:spLocks/>
                </p:cNvSpPr>
                <p:nvPr/>
              </p:nvSpPr>
              <p:spPr bwMode="auto">
                <a:xfrm>
                  <a:off x="13841142" y="533657"/>
                  <a:ext cx="77787" cy="26987"/>
                </a:xfrm>
                <a:custGeom>
                  <a:avLst/>
                  <a:gdLst/>
                  <a:ahLst/>
                  <a:cxnLst>
                    <a:cxn ang="0">
                      <a:pos x="0" y="3"/>
                    </a:cxn>
                    <a:cxn ang="0">
                      <a:pos x="27" y="10"/>
                    </a:cxn>
                    <a:cxn ang="0">
                      <a:pos x="20" y="0"/>
                    </a:cxn>
                    <a:cxn ang="0">
                      <a:pos x="0" y="3"/>
                    </a:cxn>
                  </a:cxnLst>
                  <a:rect l="0" t="0" r="r" b="b"/>
                  <a:pathLst>
                    <a:path w="49" h="17">
                      <a:moveTo>
                        <a:pt x="0" y="3"/>
                      </a:moveTo>
                      <a:cubicBezTo>
                        <a:pt x="11" y="16"/>
                        <a:pt x="4" y="17"/>
                        <a:pt x="27" y="10"/>
                      </a:cubicBezTo>
                      <a:cubicBezTo>
                        <a:pt x="49" y="3"/>
                        <a:pt x="24" y="0"/>
                        <a:pt x="20" y="0"/>
                      </a:cubicBezTo>
                      <a:cubicBezTo>
                        <a:pt x="16" y="0"/>
                        <a:pt x="0" y="3"/>
                        <a:pt x="0" y="3"/>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64" name="Freeform 363">
                  <a:extLst>
                    <a:ext uri="{FF2B5EF4-FFF2-40B4-BE49-F238E27FC236}">
                      <a16:creationId xmlns:a16="http://schemas.microsoft.com/office/drawing/2014/main" id="{BDF474EE-55E1-42D1-BAEE-EE2D4C2687CC}"/>
                    </a:ext>
                  </a:extLst>
                </p:cNvPr>
                <p:cNvSpPr>
                  <a:spLocks/>
                </p:cNvSpPr>
                <p:nvPr/>
              </p:nvSpPr>
              <p:spPr bwMode="auto">
                <a:xfrm>
                  <a:off x="13825267" y="462220"/>
                  <a:ext cx="55562" cy="17462"/>
                </a:xfrm>
                <a:custGeom>
                  <a:avLst/>
                  <a:gdLst/>
                  <a:ahLst/>
                  <a:cxnLst>
                    <a:cxn ang="0">
                      <a:pos x="34" y="0"/>
                    </a:cxn>
                    <a:cxn ang="0">
                      <a:pos x="0" y="0"/>
                    </a:cxn>
                    <a:cxn ang="0">
                      <a:pos x="0" y="10"/>
                    </a:cxn>
                    <a:cxn ang="0">
                      <a:pos x="21" y="11"/>
                    </a:cxn>
                    <a:cxn ang="0">
                      <a:pos x="34" y="0"/>
                    </a:cxn>
                  </a:cxnLst>
                  <a:rect l="0" t="0" r="r" b="b"/>
                  <a:pathLst>
                    <a:path w="35" h="11">
                      <a:moveTo>
                        <a:pt x="34" y="0"/>
                      </a:moveTo>
                      <a:cubicBezTo>
                        <a:pt x="0" y="0"/>
                        <a:pt x="0" y="0"/>
                        <a:pt x="0" y="0"/>
                      </a:cubicBezTo>
                      <a:cubicBezTo>
                        <a:pt x="0" y="10"/>
                        <a:pt x="0" y="10"/>
                        <a:pt x="0" y="10"/>
                      </a:cubicBezTo>
                      <a:cubicBezTo>
                        <a:pt x="21" y="11"/>
                        <a:pt x="21" y="11"/>
                        <a:pt x="21" y="11"/>
                      </a:cubicBezTo>
                      <a:cubicBezTo>
                        <a:pt x="35" y="10"/>
                        <a:pt x="34" y="0"/>
                        <a:pt x="34" y="0"/>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65" name="Freeform 364">
                  <a:extLst>
                    <a:ext uri="{FF2B5EF4-FFF2-40B4-BE49-F238E27FC236}">
                      <a16:creationId xmlns:a16="http://schemas.microsoft.com/office/drawing/2014/main" id="{68E20646-B9B1-4BA2-8004-5EF03393B390}"/>
                    </a:ext>
                  </a:extLst>
                </p:cNvPr>
                <p:cNvSpPr>
                  <a:spLocks/>
                </p:cNvSpPr>
                <p:nvPr/>
              </p:nvSpPr>
              <p:spPr bwMode="auto">
                <a:xfrm>
                  <a:off x="13803042" y="478095"/>
                  <a:ext cx="36512" cy="26987"/>
                </a:xfrm>
                <a:custGeom>
                  <a:avLst/>
                  <a:gdLst/>
                  <a:ahLst/>
                  <a:cxnLst>
                    <a:cxn ang="0">
                      <a:pos x="0" y="0"/>
                    </a:cxn>
                    <a:cxn ang="0">
                      <a:pos x="0" y="34"/>
                    </a:cxn>
                    <a:cxn ang="0">
                      <a:pos x="46" y="20"/>
                    </a:cxn>
                    <a:cxn ang="0">
                      <a:pos x="0" y="0"/>
                    </a:cxn>
                  </a:cxnLst>
                  <a:rect l="0" t="0" r="r" b="b"/>
                  <a:pathLst>
                    <a:path w="46" h="34">
                      <a:moveTo>
                        <a:pt x="0" y="0"/>
                      </a:moveTo>
                      <a:lnTo>
                        <a:pt x="0" y="34"/>
                      </a:lnTo>
                      <a:lnTo>
                        <a:pt x="46" y="2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66" name="Freeform 365">
                  <a:extLst>
                    <a:ext uri="{FF2B5EF4-FFF2-40B4-BE49-F238E27FC236}">
                      <a16:creationId xmlns:a16="http://schemas.microsoft.com/office/drawing/2014/main" id="{C16233B8-6CDC-45CA-8ECB-A483A35BFABC}"/>
                    </a:ext>
                  </a:extLst>
                </p:cNvPr>
                <p:cNvSpPr>
                  <a:spLocks/>
                </p:cNvSpPr>
                <p:nvPr/>
              </p:nvSpPr>
              <p:spPr bwMode="auto">
                <a:xfrm>
                  <a:off x="13928455" y="513020"/>
                  <a:ext cx="117475" cy="31750"/>
                </a:xfrm>
                <a:custGeom>
                  <a:avLst/>
                  <a:gdLst/>
                  <a:ahLst/>
                  <a:cxnLst>
                    <a:cxn ang="0">
                      <a:pos x="0" y="7"/>
                    </a:cxn>
                    <a:cxn ang="0">
                      <a:pos x="15" y="20"/>
                    </a:cxn>
                    <a:cxn ang="0">
                      <a:pos x="32" y="12"/>
                    </a:cxn>
                    <a:cxn ang="0">
                      <a:pos x="39" y="17"/>
                    </a:cxn>
                    <a:cxn ang="0">
                      <a:pos x="74" y="6"/>
                    </a:cxn>
                    <a:cxn ang="0">
                      <a:pos x="38" y="0"/>
                    </a:cxn>
                    <a:cxn ang="0">
                      <a:pos x="28" y="6"/>
                    </a:cxn>
                    <a:cxn ang="0">
                      <a:pos x="10" y="2"/>
                    </a:cxn>
                    <a:cxn ang="0">
                      <a:pos x="0" y="7"/>
                    </a:cxn>
                  </a:cxnLst>
                  <a:rect l="0" t="0" r="r" b="b"/>
                  <a:pathLst>
                    <a:path w="74" h="20">
                      <a:moveTo>
                        <a:pt x="0" y="7"/>
                      </a:moveTo>
                      <a:cubicBezTo>
                        <a:pt x="13" y="16"/>
                        <a:pt x="15" y="20"/>
                        <a:pt x="15" y="20"/>
                      </a:cubicBezTo>
                      <a:cubicBezTo>
                        <a:pt x="32" y="12"/>
                        <a:pt x="32" y="12"/>
                        <a:pt x="32" y="12"/>
                      </a:cubicBezTo>
                      <a:cubicBezTo>
                        <a:pt x="32" y="12"/>
                        <a:pt x="25" y="17"/>
                        <a:pt x="39" y="17"/>
                      </a:cubicBezTo>
                      <a:cubicBezTo>
                        <a:pt x="53" y="17"/>
                        <a:pt x="74" y="6"/>
                        <a:pt x="74" y="6"/>
                      </a:cubicBezTo>
                      <a:cubicBezTo>
                        <a:pt x="38" y="0"/>
                        <a:pt x="38" y="0"/>
                        <a:pt x="38" y="0"/>
                      </a:cubicBezTo>
                      <a:cubicBezTo>
                        <a:pt x="28" y="6"/>
                        <a:pt x="28" y="6"/>
                        <a:pt x="28" y="6"/>
                      </a:cubicBezTo>
                      <a:cubicBezTo>
                        <a:pt x="28" y="6"/>
                        <a:pt x="14" y="0"/>
                        <a:pt x="10" y="2"/>
                      </a:cubicBezTo>
                      <a:cubicBezTo>
                        <a:pt x="6" y="3"/>
                        <a:pt x="0" y="7"/>
                        <a:pt x="0" y="7"/>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67" name="Freeform 366">
                  <a:extLst>
                    <a:ext uri="{FF2B5EF4-FFF2-40B4-BE49-F238E27FC236}">
                      <a16:creationId xmlns:a16="http://schemas.microsoft.com/office/drawing/2014/main" id="{ADC783DC-50A8-4A28-8AA9-912BC111B05B}"/>
                    </a:ext>
                  </a:extLst>
                </p:cNvPr>
                <p:cNvSpPr>
                  <a:spLocks/>
                </p:cNvSpPr>
                <p:nvPr/>
              </p:nvSpPr>
              <p:spPr bwMode="auto">
                <a:xfrm>
                  <a:off x="13790342" y="505082"/>
                  <a:ext cx="71437" cy="31750"/>
                </a:xfrm>
                <a:custGeom>
                  <a:avLst/>
                  <a:gdLst/>
                  <a:ahLst/>
                  <a:cxnLst>
                    <a:cxn ang="0">
                      <a:pos x="15" y="15"/>
                    </a:cxn>
                    <a:cxn ang="0">
                      <a:pos x="26" y="1"/>
                    </a:cxn>
                    <a:cxn ang="0">
                      <a:pos x="15" y="15"/>
                    </a:cxn>
                  </a:cxnLst>
                  <a:rect l="0" t="0" r="r" b="b"/>
                  <a:pathLst>
                    <a:path w="45" h="20">
                      <a:moveTo>
                        <a:pt x="15" y="15"/>
                      </a:moveTo>
                      <a:cubicBezTo>
                        <a:pt x="31" y="20"/>
                        <a:pt x="45" y="3"/>
                        <a:pt x="26" y="1"/>
                      </a:cubicBezTo>
                      <a:cubicBezTo>
                        <a:pt x="8" y="0"/>
                        <a:pt x="0" y="11"/>
                        <a:pt x="15" y="15"/>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grpSp>
          <p:grpSp>
            <p:nvGrpSpPr>
              <p:cNvPr id="195" name="Gruppieren 387">
                <a:extLst>
                  <a:ext uri="{FF2B5EF4-FFF2-40B4-BE49-F238E27FC236}">
                    <a16:creationId xmlns:a16="http://schemas.microsoft.com/office/drawing/2014/main" id="{423EEF45-D02C-4780-9C10-4599B9136519}"/>
                  </a:ext>
                </a:extLst>
              </p:cNvPr>
              <p:cNvGrpSpPr/>
              <p:nvPr/>
            </p:nvGrpSpPr>
            <p:grpSpPr>
              <a:xfrm>
                <a:off x="9250092" y="543182"/>
                <a:ext cx="5548381" cy="3738563"/>
                <a:chOff x="107706" y="1825625"/>
                <a:chExt cx="5548381" cy="3738563"/>
              </a:xfrm>
              <a:grpFill/>
            </p:grpSpPr>
            <p:sp>
              <p:nvSpPr>
                <p:cNvPr id="196" name="Freeform 359">
                  <a:extLst>
                    <a:ext uri="{FF2B5EF4-FFF2-40B4-BE49-F238E27FC236}">
                      <a16:creationId xmlns:a16="http://schemas.microsoft.com/office/drawing/2014/main" id="{2BD26135-DBD9-4619-A4C3-7924DA72DD20}"/>
                    </a:ext>
                  </a:extLst>
                </p:cNvPr>
                <p:cNvSpPr>
                  <a:spLocks/>
                </p:cNvSpPr>
                <p:nvPr/>
              </p:nvSpPr>
              <p:spPr bwMode="auto">
                <a:xfrm>
                  <a:off x="3109669" y="3640138"/>
                  <a:ext cx="195262" cy="77787"/>
                </a:xfrm>
                <a:custGeom>
                  <a:avLst/>
                  <a:gdLst/>
                  <a:ahLst/>
                  <a:cxnLst>
                    <a:cxn ang="0">
                      <a:pos x="13" y="45"/>
                    </a:cxn>
                    <a:cxn ang="0">
                      <a:pos x="34" y="42"/>
                    </a:cxn>
                    <a:cxn ang="0">
                      <a:pos x="51" y="49"/>
                    </a:cxn>
                    <a:cxn ang="0">
                      <a:pos x="90" y="48"/>
                    </a:cxn>
                    <a:cxn ang="0">
                      <a:pos x="113" y="49"/>
                    </a:cxn>
                    <a:cxn ang="0">
                      <a:pos x="113" y="49"/>
                    </a:cxn>
                    <a:cxn ang="0">
                      <a:pos x="113" y="49"/>
                    </a:cxn>
                    <a:cxn ang="0">
                      <a:pos x="113" y="49"/>
                    </a:cxn>
                    <a:cxn ang="0">
                      <a:pos x="113" y="48"/>
                    </a:cxn>
                    <a:cxn ang="0">
                      <a:pos x="113" y="48"/>
                    </a:cxn>
                    <a:cxn ang="0">
                      <a:pos x="113" y="48"/>
                    </a:cxn>
                    <a:cxn ang="0">
                      <a:pos x="113" y="48"/>
                    </a:cxn>
                    <a:cxn ang="0">
                      <a:pos x="116" y="44"/>
                    </a:cxn>
                    <a:cxn ang="0">
                      <a:pos x="116" y="44"/>
                    </a:cxn>
                    <a:cxn ang="0">
                      <a:pos x="117" y="44"/>
                    </a:cxn>
                    <a:cxn ang="0">
                      <a:pos x="117" y="44"/>
                    </a:cxn>
                    <a:cxn ang="0">
                      <a:pos x="112" y="34"/>
                    </a:cxn>
                    <a:cxn ang="0">
                      <a:pos x="121" y="22"/>
                    </a:cxn>
                    <a:cxn ang="0">
                      <a:pos x="111" y="7"/>
                    </a:cxn>
                    <a:cxn ang="0">
                      <a:pos x="79" y="11"/>
                    </a:cxn>
                    <a:cxn ang="0">
                      <a:pos x="77" y="5"/>
                    </a:cxn>
                    <a:cxn ang="0">
                      <a:pos x="69" y="6"/>
                    </a:cxn>
                    <a:cxn ang="0">
                      <a:pos x="66" y="0"/>
                    </a:cxn>
                    <a:cxn ang="0">
                      <a:pos x="61" y="0"/>
                    </a:cxn>
                    <a:cxn ang="0">
                      <a:pos x="53" y="14"/>
                    </a:cxn>
                    <a:cxn ang="0">
                      <a:pos x="6" y="16"/>
                    </a:cxn>
                    <a:cxn ang="0">
                      <a:pos x="13" y="32"/>
                    </a:cxn>
                    <a:cxn ang="0">
                      <a:pos x="8" y="41"/>
                    </a:cxn>
                    <a:cxn ang="0">
                      <a:pos x="8" y="40"/>
                    </a:cxn>
                    <a:cxn ang="0">
                      <a:pos x="13" y="45"/>
                    </a:cxn>
                  </a:cxnLst>
                  <a:rect l="0" t="0" r="r" b="b"/>
                  <a:pathLst>
                    <a:path w="122" h="49">
                      <a:moveTo>
                        <a:pt x="13" y="45"/>
                      </a:moveTo>
                      <a:cubicBezTo>
                        <a:pt x="13" y="45"/>
                        <a:pt x="25" y="40"/>
                        <a:pt x="34" y="42"/>
                      </a:cubicBezTo>
                      <a:cubicBezTo>
                        <a:pt x="43" y="44"/>
                        <a:pt x="51" y="49"/>
                        <a:pt x="51" y="49"/>
                      </a:cubicBezTo>
                      <a:cubicBezTo>
                        <a:pt x="51" y="49"/>
                        <a:pt x="82" y="47"/>
                        <a:pt x="90" y="48"/>
                      </a:cubicBezTo>
                      <a:cubicBezTo>
                        <a:pt x="98" y="49"/>
                        <a:pt x="113" y="49"/>
                        <a:pt x="113" y="49"/>
                      </a:cubicBezTo>
                      <a:cubicBezTo>
                        <a:pt x="113" y="49"/>
                        <a:pt x="113" y="49"/>
                        <a:pt x="113" y="49"/>
                      </a:cubicBezTo>
                      <a:cubicBezTo>
                        <a:pt x="113" y="49"/>
                        <a:pt x="113" y="49"/>
                        <a:pt x="113" y="49"/>
                      </a:cubicBezTo>
                      <a:cubicBezTo>
                        <a:pt x="113" y="49"/>
                        <a:pt x="113" y="49"/>
                        <a:pt x="113" y="49"/>
                      </a:cubicBezTo>
                      <a:cubicBezTo>
                        <a:pt x="113" y="49"/>
                        <a:pt x="113" y="49"/>
                        <a:pt x="113" y="48"/>
                      </a:cubicBezTo>
                      <a:cubicBezTo>
                        <a:pt x="113" y="48"/>
                        <a:pt x="113" y="48"/>
                        <a:pt x="113" y="48"/>
                      </a:cubicBezTo>
                      <a:cubicBezTo>
                        <a:pt x="113" y="48"/>
                        <a:pt x="113" y="48"/>
                        <a:pt x="113" y="48"/>
                      </a:cubicBezTo>
                      <a:cubicBezTo>
                        <a:pt x="113" y="48"/>
                        <a:pt x="113" y="48"/>
                        <a:pt x="113" y="48"/>
                      </a:cubicBezTo>
                      <a:cubicBezTo>
                        <a:pt x="112" y="47"/>
                        <a:pt x="111" y="44"/>
                        <a:pt x="116" y="44"/>
                      </a:cubicBezTo>
                      <a:cubicBezTo>
                        <a:pt x="116" y="44"/>
                        <a:pt x="116" y="44"/>
                        <a:pt x="116" y="44"/>
                      </a:cubicBezTo>
                      <a:cubicBezTo>
                        <a:pt x="116" y="44"/>
                        <a:pt x="117" y="44"/>
                        <a:pt x="117" y="44"/>
                      </a:cubicBezTo>
                      <a:cubicBezTo>
                        <a:pt x="117" y="44"/>
                        <a:pt x="117" y="44"/>
                        <a:pt x="117" y="44"/>
                      </a:cubicBezTo>
                      <a:cubicBezTo>
                        <a:pt x="112" y="34"/>
                        <a:pt x="112" y="34"/>
                        <a:pt x="112" y="34"/>
                      </a:cubicBezTo>
                      <a:cubicBezTo>
                        <a:pt x="112" y="34"/>
                        <a:pt x="120" y="27"/>
                        <a:pt x="121" y="22"/>
                      </a:cubicBezTo>
                      <a:cubicBezTo>
                        <a:pt x="122" y="17"/>
                        <a:pt x="119" y="6"/>
                        <a:pt x="111" y="7"/>
                      </a:cubicBezTo>
                      <a:cubicBezTo>
                        <a:pt x="103" y="8"/>
                        <a:pt x="79" y="11"/>
                        <a:pt x="79" y="11"/>
                      </a:cubicBezTo>
                      <a:cubicBezTo>
                        <a:pt x="77" y="5"/>
                        <a:pt x="77" y="5"/>
                        <a:pt x="77" y="5"/>
                      </a:cubicBezTo>
                      <a:cubicBezTo>
                        <a:pt x="69" y="6"/>
                        <a:pt x="69" y="6"/>
                        <a:pt x="69" y="6"/>
                      </a:cubicBezTo>
                      <a:cubicBezTo>
                        <a:pt x="66" y="0"/>
                        <a:pt x="66" y="0"/>
                        <a:pt x="66" y="0"/>
                      </a:cubicBezTo>
                      <a:cubicBezTo>
                        <a:pt x="61" y="0"/>
                        <a:pt x="61" y="0"/>
                        <a:pt x="61" y="0"/>
                      </a:cubicBezTo>
                      <a:cubicBezTo>
                        <a:pt x="61" y="5"/>
                        <a:pt x="53" y="14"/>
                        <a:pt x="53" y="14"/>
                      </a:cubicBezTo>
                      <a:cubicBezTo>
                        <a:pt x="53" y="14"/>
                        <a:pt x="12" y="9"/>
                        <a:pt x="6" y="16"/>
                      </a:cubicBezTo>
                      <a:cubicBezTo>
                        <a:pt x="0" y="23"/>
                        <a:pt x="13" y="32"/>
                        <a:pt x="13" y="32"/>
                      </a:cubicBezTo>
                      <a:cubicBezTo>
                        <a:pt x="8" y="41"/>
                        <a:pt x="8" y="41"/>
                        <a:pt x="8" y="41"/>
                      </a:cubicBezTo>
                      <a:cubicBezTo>
                        <a:pt x="8" y="40"/>
                        <a:pt x="8" y="40"/>
                        <a:pt x="8" y="40"/>
                      </a:cubicBezTo>
                      <a:lnTo>
                        <a:pt x="13" y="45"/>
                      </a:ln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grpSp>
              <p:nvGrpSpPr>
                <p:cNvPr id="197" name="Gruppieren 341">
                  <a:extLst>
                    <a:ext uri="{FF2B5EF4-FFF2-40B4-BE49-F238E27FC236}">
                      <a16:creationId xmlns:a16="http://schemas.microsoft.com/office/drawing/2014/main" id="{0E072D3F-5E8C-4030-9FB0-F3962C83796E}"/>
                    </a:ext>
                  </a:extLst>
                </p:cNvPr>
                <p:cNvGrpSpPr/>
                <p:nvPr/>
              </p:nvGrpSpPr>
              <p:grpSpPr>
                <a:xfrm>
                  <a:off x="107706" y="1825625"/>
                  <a:ext cx="5548381" cy="3738563"/>
                  <a:chOff x="107706" y="1825625"/>
                  <a:chExt cx="5548381" cy="3738563"/>
                </a:xfrm>
                <a:grpFill/>
              </p:grpSpPr>
              <p:grpSp>
                <p:nvGrpSpPr>
                  <p:cNvPr id="198" name="Gruppieren 121">
                    <a:extLst>
                      <a:ext uri="{FF2B5EF4-FFF2-40B4-BE49-F238E27FC236}">
                        <a16:creationId xmlns:a16="http://schemas.microsoft.com/office/drawing/2014/main" id="{BECFA789-65DD-4BDD-9A2F-847738D8D0A9}"/>
                      </a:ext>
                    </a:extLst>
                  </p:cNvPr>
                  <p:cNvGrpSpPr/>
                  <p:nvPr/>
                </p:nvGrpSpPr>
                <p:grpSpPr>
                  <a:xfrm>
                    <a:off x="107706" y="1825625"/>
                    <a:ext cx="4381500" cy="3738563"/>
                    <a:chOff x="3264427" y="1825625"/>
                    <a:chExt cx="4381500" cy="3738563"/>
                  </a:xfrm>
                  <a:grpFill/>
                </p:grpSpPr>
                <p:sp>
                  <p:nvSpPr>
                    <p:cNvPr id="200" name="Freeform 428" descr="© INSCALE GmbH, 18.06.2010">
                      <a:hlinkClick r:id="" action="ppaction://noaction"/>
                      <a:extLst>
                        <a:ext uri="{FF2B5EF4-FFF2-40B4-BE49-F238E27FC236}">
                          <a16:creationId xmlns:a16="http://schemas.microsoft.com/office/drawing/2014/main" id="{86D0BA35-376F-45BE-9564-FA29BDB772EE}"/>
                        </a:ext>
                      </a:extLst>
                    </p:cNvPr>
                    <p:cNvSpPr>
                      <a:spLocks/>
                    </p:cNvSpPr>
                    <p:nvPr/>
                  </p:nvSpPr>
                  <p:spPr bwMode="auto">
                    <a:xfrm>
                      <a:off x="6240990" y="4387850"/>
                      <a:ext cx="295275" cy="328613"/>
                    </a:xfrm>
                    <a:custGeom>
                      <a:avLst/>
                      <a:gdLst/>
                      <a:ahLst/>
                      <a:cxnLst>
                        <a:cxn ang="0">
                          <a:pos x="291" y="252"/>
                        </a:cxn>
                        <a:cxn ang="0">
                          <a:pos x="277" y="232"/>
                        </a:cxn>
                        <a:cxn ang="0">
                          <a:pos x="291" y="198"/>
                        </a:cxn>
                        <a:cxn ang="0">
                          <a:pos x="284" y="164"/>
                        </a:cxn>
                        <a:cxn ang="0">
                          <a:pos x="298" y="144"/>
                        </a:cxn>
                        <a:cxn ang="0">
                          <a:pos x="242" y="144"/>
                        </a:cxn>
                        <a:cxn ang="0">
                          <a:pos x="208" y="130"/>
                        </a:cxn>
                        <a:cxn ang="0">
                          <a:pos x="201" y="103"/>
                        </a:cxn>
                        <a:cxn ang="0">
                          <a:pos x="187" y="75"/>
                        </a:cxn>
                        <a:cxn ang="0">
                          <a:pos x="173" y="82"/>
                        </a:cxn>
                        <a:cxn ang="0">
                          <a:pos x="159" y="75"/>
                        </a:cxn>
                        <a:cxn ang="0">
                          <a:pos x="138" y="35"/>
                        </a:cxn>
                        <a:cxn ang="0">
                          <a:pos x="83" y="0"/>
                        </a:cxn>
                        <a:cxn ang="0">
                          <a:pos x="35" y="21"/>
                        </a:cxn>
                        <a:cxn ang="0">
                          <a:pos x="0" y="28"/>
                        </a:cxn>
                        <a:cxn ang="0">
                          <a:pos x="14" y="62"/>
                        </a:cxn>
                        <a:cxn ang="0">
                          <a:pos x="14" y="82"/>
                        </a:cxn>
                        <a:cxn ang="0">
                          <a:pos x="42" y="89"/>
                        </a:cxn>
                        <a:cxn ang="0">
                          <a:pos x="42" y="96"/>
                        </a:cxn>
                        <a:cxn ang="0">
                          <a:pos x="28" y="103"/>
                        </a:cxn>
                        <a:cxn ang="0">
                          <a:pos x="21" y="116"/>
                        </a:cxn>
                        <a:cxn ang="0">
                          <a:pos x="14" y="123"/>
                        </a:cxn>
                        <a:cxn ang="0">
                          <a:pos x="35" y="116"/>
                        </a:cxn>
                        <a:cxn ang="0">
                          <a:pos x="49" y="130"/>
                        </a:cxn>
                        <a:cxn ang="0">
                          <a:pos x="28" y="171"/>
                        </a:cxn>
                        <a:cxn ang="0">
                          <a:pos x="62" y="178"/>
                        </a:cxn>
                        <a:cxn ang="0">
                          <a:pos x="42" y="198"/>
                        </a:cxn>
                        <a:cxn ang="0">
                          <a:pos x="62" y="225"/>
                        </a:cxn>
                        <a:cxn ang="0">
                          <a:pos x="55" y="232"/>
                        </a:cxn>
                        <a:cxn ang="0">
                          <a:pos x="76" y="252"/>
                        </a:cxn>
                        <a:cxn ang="0">
                          <a:pos x="104" y="287"/>
                        </a:cxn>
                        <a:cxn ang="0">
                          <a:pos x="111" y="297"/>
                        </a:cxn>
                        <a:cxn ang="0">
                          <a:pos x="155" y="280"/>
                        </a:cxn>
                        <a:cxn ang="0">
                          <a:pos x="170" y="273"/>
                        </a:cxn>
                        <a:cxn ang="0">
                          <a:pos x="222" y="322"/>
                        </a:cxn>
                        <a:cxn ang="0">
                          <a:pos x="213" y="355"/>
                        </a:cxn>
                        <a:cxn ang="0">
                          <a:pos x="228" y="348"/>
                        </a:cxn>
                        <a:cxn ang="0">
                          <a:pos x="291" y="341"/>
                        </a:cxn>
                        <a:cxn ang="0">
                          <a:pos x="284" y="307"/>
                        </a:cxn>
                        <a:cxn ang="0">
                          <a:pos x="311" y="300"/>
                        </a:cxn>
                        <a:cxn ang="0">
                          <a:pos x="318" y="266"/>
                        </a:cxn>
                      </a:cxnLst>
                      <a:rect l="0" t="0" r="r" b="b"/>
                      <a:pathLst>
                        <a:path w="318" h="355">
                          <a:moveTo>
                            <a:pt x="311" y="259"/>
                          </a:moveTo>
                          <a:cubicBezTo>
                            <a:pt x="291" y="252"/>
                            <a:pt x="291" y="252"/>
                            <a:pt x="291" y="252"/>
                          </a:cubicBezTo>
                          <a:cubicBezTo>
                            <a:pt x="298" y="239"/>
                            <a:pt x="298" y="239"/>
                            <a:pt x="298" y="239"/>
                          </a:cubicBezTo>
                          <a:cubicBezTo>
                            <a:pt x="277" y="232"/>
                            <a:pt x="277" y="232"/>
                            <a:pt x="277" y="232"/>
                          </a:cubicBezTo>
                          <a:cubicBezTo>
                            <a:pt x="277" y="212"/>
                            <a:pt x="277" y="212"/>
                            <a:pt x="277" y="212"/>
                          </a:cubicBezTo>
                          <a:cubicBezTo>
                            <a:pt x="291" y="198"/>
                            <a:pt x="291" y="198"/>
                            <a:pt x="291" y="198"/>
                          </a:cubicBezTo>
                          <a:cubicBezTo>
                            <a:pt x="291" y="171"/>
                            <a:pt x="291" y="171"/>
                            <a:pt x="291" y="171"/>
                          </a:cubicBezTo>
                          <a:cubicBezTo>
                            <a:pt x="284" y="164"/>
                            <a:pt x="284" y="164"/>
                            <a:pt x="284" y="164"/>
                          </a:cubicBezTo>
                          <a:cubicBezTo>
                            <a:pt x="291" y="150"/>
                            <a:pt x="291" y="150"/>
                            <a:pt x="291" y="150"/>
                          </a:cubicBezTo>
                          <a:cubicBezTo>
                            <a:pt x="298" y="144"/>
                            <a:pt x="298" y="144"/>
                            <a:pt x="298" y="144"/>
                          </a:cubicBezTo>
                          <a:cubicBezTo>
                            <a:pt x="270" y="137"/>
                            <a:pt x="270" y="137"/>
                            <a:pt x="270" y="137"/>
                          </a:cubicBezTo>
                          <a:cubicBezTo>
                            <a:pt x="242" y="144"/>
                            <a:pt x="242" y="144"/>
                            <a:pt x="242" y="144"/>
                          </a:cubicBezTo>
                          <a:cubicBezTo>
                            <a:pt x="235" y="137"/>
                            <a:pt x="235" y="137"/>
                            <a:pt x="235" y="137"/>
                          </a:cubicBezTo>
                          <a:cubicBezTo>
                            <a:pt x="208" y="130"/>
                            <a:pt x="208" y="130"/>
                            <a:pt x="208" y="130"/>
                          </a:cubicBezTo>
                          <a:cubicBezTo>
                            <a:pt x="194" y="109"/>
                            <a:pt x="194" y="109"/>
                            <a:pt x="194" y="109"/>
                          </a:cubicBezTo>
                          <a:cubicBezTo>
                            <a:pt x="201" y="103"/>
                            <a:pt x="201" y="103"/>
                            <a:pt x="201" y="103"/>
                          </a:cubicBezTo>
                          <a:cubicBezTo>
                            <a:pt x="201" y="82"/>
                            <a:pt x="201" y="82"/>
                            <a:pt x="201" y="82"/>
                          </a:cubicBezTo>
                          <a:cubicBezTo>
                            <a:pt x="187" y="75"/>
                            <a:pt x="187" y="75"/>
                            <a:pt x="187" y="75"/>
                          </a:cubicBezTo>
                          <a:cubicBezTo>
                            <a:pt x="180" y="75"/>
                            <a:pt x="180" y="75"/>
                            <a:pt x="180" y="75"/>
                          </a:cubicBezTo>
                          <a:cubicBezTo>
                            <a:pt x="173" y="82"/>
                            <a:pt x="173" y="82"/>
                            <a:pt x="173" y="82"/>
                          </a:cubicBezTo>
                          <a:cubicBezTo>
                            <a:pt x="166" y="82"/>
                            <a:pt x="166" y="82"/>
                            <a:pt x="166" y="82"/>
                          </a:cubicBezTo>
                          <a:cubicBezTo>
                            <a:pt x="159" y="75"/>
                            <a:pt x="159" y="75"/>
                            <a:pt x="159" y="75"/>
                          </a:cubicBezTo>
                          <a:cubicBezTo>
                            <a:pt x="145" y="35"/>
                            <a:pt x="145" y="35"/>
                            <a:pt x="145" y="35"/>
                          </a:cubicBezTo>
                          <a:cubicBezTo>
                            <a:pt x="138" y="35"/>
                            <a:pt x="138" y="35"/>
                            <a:pt x="138" y="35"/>
                          </a:cubicBezTo>
                          <a:cubicBezTo>
                            <a:pt x="111" y="14"/>
                            <a:pt x="111" y="14"/>
                            <a:pt x="111" y="14"/>
                          </a:cubicBezTo>
                          <a:cubicBezTo>
                            <a:pt x="83" y="0"/>
                            <a:pt x="83" y="0"/>
                            <a:pt x="83" y="0"/>
                          </a:cubicBezTo>
                          <a:cubicBezTo>
                            <a:pt x="55" y="0"/>
                            <a:pt x="55" y="0"/>
                            <a:pt x="55" y="0"/>
                          </a:cubicBezTo>
                          <a:cubicBezTo>
                            <a:pt x="35" y="21"/>
                            <a:pt x="35" y="21"/>
                            <a:pt x="35" y="21"/>
                          </a:cubicBezTo>
                          <a:cubicBezTo>
                            <a:pt x="7" y="21"/>
                            <a:pt x="7" y="21"/>
                            <a:pt x="7" y="21"/>
                          </a:cubicBezTo>
                          <a:cubicBezTo>
                            <a:pt x="0" y="28"/>
                            <a:pt x="0" y="28"/>
                            <a:pt x="0" y="28"/>
                          </a:cubicBezTo>
                          <a:cubicBezTo>
                            <a:pt x="7" y="28"/>
                            <a:pt x="7" y="28"/>
                            <a:pt x="7" y="28"/>
                          </a:cubicBezTo>
                          <a:cubicBezTo>
                            <a:pt x="14" y="62"/>
                            <a:pt x="14" y="62"/>
                            <a:pt x="14" y="62"/>
                          </a:cubicBezTo>
                          <a:cubicBezTo>
                            <a:pt x="21" y="62"/>
                            <a:pt x="21" y="62"/>
                            <a:pt x="21" y="62"/>
                          </a:cubicBezTo>
                          <a:cubicBezTo>
                            <a:pt x="14" y="82"/>
                            <a:pt x="14" y="82"/>
                            <a:pt x="14" y="82"/>
                          </a:cubicBezTo>
                          <a:cubicBezTo>
                            <a:pt x="28" y="82"/>
                            <a:pt x="28" y="82"/>
                            <a:pt x="28" y="82"/>
                          </a:cubicBezTo>
                          <a:cubicBezTo>
                            <a:pt x="42" y="89"/>
                            <a:pt x="42" y="89"/>
                            <a:pt x="42" y="89"/>
                          </a:cubicBezTo>
                          <a:cubicBezTo>
                            <a:pt x="49" y="89"/>
                            <a:pt x="49" y="89"/>
                            <a:pt x="49" y="89"/>
                          </a:cubicBezTo>
                          <a:cubicBezTo>
                            <a:pt x="42" y="96"/>
                            <a:pt x="42" y="96"/>
                            <a:pt x="42" y="96"/>
                          </a:cubicBezTo>
                          <a:cubicBezTo>
                            <a:pt x="35" y="96"/>
                            <a:pt x="35" y="96"/>
                            <a:pt x="35" y="96"/>
                          </a:cubicBezTo>
                          <a:cubicBezTo>
                            <a:pt x="28" y="103"/>
                            <a:pt x="28" y="103"/>
                            <a:pt x="28" y="103"/>
                          </a:cubicBezTo>
                          <a:cubicBezTo>
                            <a:pt x="21" y="103"/>
                            <a:pt x="21" y="103"/>
                            <a:pt x="21" y="103"/>
                          </a:cubicBezTo>
                          <a:cubicBezTo>
                            <a:pt x="21" y="116"/>
                            <a:pt x="21" y="116"/>
                            <a:pt x="21" y="116"/>
                          </a:cubicBezTo>
                          <a:cubicBezTo>
                            <a:pt x="14" y="116"/>
                            <a:pt x="14" y="116"/>
                            <a:pt x="14" y="116"/>
                          </a:cubicBezTo>
                          <a:cubicBezTo>
                            <a:pt x="14" y="123"/>
                            <a:pt x="14" y="123"/>
                            <a:pt x="14" y="123"/>
                          </a:cubicBezTo>
                          <a:cubicBezTo>
                            <a:pt x="21" y="123"/>
                            <a:pt x="21" y="123"/>
                            <a:pt x="21" y="123"/>
                          </a:cubicBezTo>
                          <a:cubicBezTo>
                            <a:pt x="35" y="116"/>
                            <a:pt x="35" y="116"/>
                            <a:pt x="35" y="116"/>
                          </a:cubicBezTo>
                          <a:cubicBezTo>
                            <a:pt x="49" y="116"/>
                            <a:pt x="49" y="116"/>
                            <a:pt x="49" y="116"/>
                          </a:cubicBezTo>
                          <a:cubicBezTo>
                            <a:pt x="49" y="130"/>
                            <a:pt x="49" y="130"/>
                            <a:pt x="49" y="130"/>
                          </a:cubicBezTo>
                          <a:cubicBezTo>
                            <a:pt x="28" y="150"/>
                            <a:pt x="28" y="150"/>
                            <a:pt x="28" y="150"/>
                          </a:cubicBezTo>
                          <a:cubicBezTo>
                            <a:pt x="28" y="171"/>
                            <a:pt x="28" y="171"/>
                            <a:pt x="28" y="171"/>
                          </a:cubicBezTo>
                          <a:cubicBezTo>
                            <a:pt x="55" y="171"/>
                            <a:pt x="55" y="171"/>
                            <a:pt x="55" y="171"/>
                          </a:cubicBezTo>
                          <a:cubicBezTo>
                            <a:pt x="62" y="178"/>
                            <a:pt x="62" y="178"/>
                            <a:pt x="62" y="178"/>
                          </a:cubicBezTo>
                          <a:cubicBezTo>
                            <a:pt x="69" y="191"/>
                            <a:pt x="69" y="191"/>
                            <a:pt x="69" y="191"/>
                          </a:cubicBezTo>
                          <a:cubicBezTo>
                            <a:pt x="42" y="198"/>
                            <a:pt x="42" y="198"/>
                            <a:pt x="42" y="198"/>
                          </a:cubicBezTo>
                          <a:cubicBezTo>
                            <a:pt x="55" y="212"/>
                            <a:pt x="55" y="212"/>
                            <a:pt x="55" y="212"/>
                          </a:cubicBezTo>
                          <a:cubicBezTo>
                            <a:pt x="62" y="225"/>
                            <a:pt x="62" y="225"/>
                            <a:pt x="62" y="225"/>
                          </a:cubicBezTo>
                          <a:cubicBezTo>
                            <a:pt x="62" y="232"/>
                            <a:pt x="62" y="232"/>
                            <a:pt x="62" y="232"/>
                          </a:cubicBezTo>
                          <a:cubicBezTo>
                            <a:pt x="55" y="232"/>
                            <a:pt x="55" y="232"/>
                            <a:pt x="55" y="232"/>
                          </a:cubicBezTo>
                          <a:cubicBezTo>
                            <a:pt x="55" y="239"/>
                            <a:pt x="55" y="239"/>
                            <a:pt x="55" y="239"/>
                          </a:cubicBezTo>
                          <a:cubicBezTo>
                            <a:pt x="76" y="252"/>
                            <a:pt x="76" y="252"/>
                            <a:pt x="76" y="252"/>
                          </a:cubicBezTo>
                          <a:cubicBezTo>
                            <a:pt x="90" y="266"/>
                            <a:pt x="90" y="266"/>
                            <a:pt x="90" y="266"/>
                          </a:cubicBezTo>
                          <a:cubicBezTo>
                            <a:pt x="104" y="287"/>
                            <a:pt x="104" y="287"/>
                            <a:pt x="104" y="287"/>
                          </a:cubicBezTo>
                          <a:cubicBezTo>
                            <a:pt x="111" y="280"/>
                            <a:pt x="111" y="280"/>
                            <a:pt x="111" y="280"/>
                          </a:cubicBezTo>
                          <a:cubicBezTo>
                            <a:pt x="111" y="297"/>
                            <a:pt x="111" y="297"/>
                            <a:pt x="111" y="297"/>
                          </a:cubicBezTo>
                          <a:cubicBezTo>
                            <a:pt x="122" y="302"/>
                            <a:pt x="134" y="305"/>
                            <a:pt x="142" y="298"/>
                          </a:cubicBezTo>
                          <a:cubicBezTo>
                            <a:pt x="146" y="294"/>
                            <a:pt x="149" y="283"/>
                            <a:pt x="155" y="280"/>
                          </a:cubicBezTo>
                          <a:cubicBezTo>
                            <a:pt x="161" y="278"/>
                            <a:pt x="146" y="270"/>
                            <a:pt x="152" y="264"/>
                          </a:cubicBezTo>
                          <a:cubicBezTo>
                            <a:pt x="157" y="258"/>
                            <a:pt x="157" y="268"/>
                            <a:pt x="170" y="273"/>
                          </a:cubicBezTo>
                          <a:cubicBezTo>
                            <a:pt x="184" y="278"/>
                            <a:pt x="201" y="309"/>
                            <a:pt x="208" y="310"/>
                          </a:cubicBezTo>
                          <a:cubicBezTo>
                            <a:pt x="214" y="310"/>
                            <a:pt x="220" y="313"/>
                            <a:pt x="222" y="322"/>
                          </a:cubicBezTo>
                          <a:cubicBezTo>
                            <a:pt x="225" y="332"/>
                            <a:pt x="212" y="336"/>
                            <a:pt x="212" y="346"/>
                          </a:cubicBezTo>
                          <a:cubicBezTo>
                            <a:pt x="212" y="348"/>
                            <a:pt x="212" y="351"/>
                            <a:pt x="213" y="355"/>
                          </a:cubicBezTo>
                          <a:cubicBezTo>
                            <a:pt x="221" y="355"/>
                            <a:pt x="221" y="355"/>
                            <a:pt x="221" y="355"/>
                          </a:cubicBezTo>
                          <a:cubicBezTo>
                            <a:pt x="228" y="348"/>
                            <a:pt x="228" y="348"/>
                            <a:pt x="228" y="348"/>
                          </a:cubicBezTo>
                          <a:cubicBezTo>
                            <a:pt x="277" y="341"/>
                            <a:pt x="277" y="341"/>
                            <a:pt x="277" y="341"/>
                          </a:cubicBezTo>
                          <a:cubicBezTo>
                            <a:pt x="291" y="341"/>
                            <a:pt x="291" y="341"/>
                            <a:pt x="291" y="341"/>
                          </a:cubicBezTo>
                          <a:cubicBezTo>
                            <a:pt x="291" y="314"/>
                            <a:pt x="291" y="314"/>
                            <a:pt x="291" y="314"/>
                          </a:cubicBezTo>
                          <a:cubicBezTo>
                            <a:pt x="284" y="307"/>
                            <a:pt x="284" y="307"/>
                            <a:pt x="284" y="307"/>
                          </a:cubicBezTo>
                          <a:cubicBezTo>
                            <a:pt x="284" y="300"/>
                            <a:pt x="284" y="300"/>
                            <a:pt x="284" y="300"/>
                          </a:cubicBezTo>
                          <a:cubicBezTo>
                            <a:pt x="311" y="300"/>
                            <a:pt x="311" y="300"/>
                            <a:pt x="311" y="300"/>
                          </a:cubicBezTo>
                          <a:cubicBezTo>
                            <a:pt x="318" y="293"/>
                            <a:pt x="318" y="293"/>
                            <a:pt x="318" y="293"/>
                          </a:cubicBezTo>
                          <a:cubicBezTo>
                            <a:pt x="318" y="266"/>
                            <a:pt x="318" y="266"/>
                            <a:pt x="318" y="266"/>
                          </a:cubicBezTo>
                          <a:lnTo>
                            <a:pt x="311" y="25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01" name="United Kingdom" descr="© INSCALE GmbH, 18.06.2010">
                      <a:hlinkClick r:id="" action="ppaction://noaction"/>
                      <a:extLst>
                        <a:ext uri="{FF2B5EF4-FFF2-40B4-BE49-F238E27FC236}">
                          <a16:creationId xmlns:a16="http://schemas.microsoft.com/office/drawing/2014/main" id="{F2440B58-8CEF-487D-BC1C-6D5D2596CDB0}"/>
                        </a:ext>
                      </a:extLst>
                    </p:cNvPr>
                    <p:cNvSpPr>
                      <a:spLocks noEditPoints="1"/>
                    </p:cNvSpPr>
                    <p:nvPr/>
                  </p:nvSpPr>
                  <p:spPr bwMode="auto">
                    <a:xfrm>
                      <a:off x="4499502" y="3200400"/>
                      <a:ext cx="614363" cy="876300"/>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02" name="Ukraine" descr="© INSCALE GmbH, 18.06.2010">
                      <a:hlinkClick r:id="" action="ppaction://noaction"/>
                      <a:extLst>
                        <a:ext uri="{FF2B5EF4-FFF2-40B4-BE49-F238E27FC236}">
                          <a16:creationId xmlns:a16="http://schemas.microsoft.com/office/drawing/2014/main" id="{863769FE-B0FF-4658-836A-3FAACAD76063}"/>
                        </a:ext>
                      </a:extLst>
                    </p:cNvPr>
                    <p:cNvSpPr>
                      <a:spLocks/>
                    </p:cNvSpPr>
                    <p:nvPr/>
                  </p:nvSpPr>
                  <p:spPr bwMode="auto">
                    <a:xfrm>
                      <a:off x="6456890" y="3876675"/>
                      <a:ext cx="1189037" cy="665163"/>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03" name="Switzerland" descr="© INSCALE GmbH, 18.06.2010">
                      <a:hlinkClick r:id="" action="ppaction://noaction"/>
                      <a:extLst>
                        <a:ext uri="{FF2B5EF4-FFF2-40B4-BE49-F238E27FC236}">
                          <a16:creationId xmlns:a16="http://schemas.microsoft.com/office/drawing/2014/main" id="{3F00209B-B428-4C0B-AFFD-7DA204F528D7}"/>
                        </a:ext>
                      </a:extLst>
                    </p:cNvPr>
                    <p:cNvSpPr>
                      <a:spLocks/>
                    </p:cNvSpPr>
                    <p:nvPr/>
                  </p:nvSpPr>
                  <p:spPr bwMode="auto">
                    <a:xfrm>
                      <a:off x="5380565" y="4246563"/>
                      <a:ext cx="307975" cy="169862"/>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04" name="Sweden" descr="© INSCALE GmbH, 18.06.2010">
                      <a:hlinkClick r:id="" action="ppaction://noaction"/>
                      <a:extLst>
                        <a:ext uri="{FF2B5EF4-FFF2-40B4-BE49-F238E27FC236}">
                          <a16:creationId xmlns:a16="http://schemas.microsoft.com/office/drawing/2014/main" id="{CD0C3C46-DA81-4A96-B106-FC9C410E6405}"/>
                        </a:ext>
                      </a:extLst>
                    </p:cNvPr>
                    <p:cNvSpPr>
                      <a:spLocks noEditPoints="1"/>
                    </p:cNvSpPr>
                    <p:nvPr/>
                  </p:nvSpPr>
                  <p:spPr bwMode="auto">
                    <a:xfrm>
                      <a:off x="5729815" y="2576513"/>
                      <a:ext cx="735012" cy="1050925"/>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05" name="Spain" descr="© INSCALE GmbH, 18.06.2010">
                      <a:hlinkClick r:id="" action="ppaction://noaction"/>
                      <a:extLst>
                        <a:ext uri="{FF2B5EF4-FFF2-40B4-BE49-F238E27FC236}">
                          <a16:creationId xmlns:a16="http://schemas.microsoft.com/office/drawing/2014/main" id="{AB381576-AA2D-47BD-989B-8BCDA150FEBA}"/>
                        </a:ext>
                      </a:extLst>
                    </p:cNvPr>
                    <p:cNvSpPr>
                      <a:spLocks noEditPoints="1"/>
                    </p:cNvSpPr>
                    <p:nvPr/>
                  </p:nvSpPr>
                  <p:spPr bwMode="auto">
                    <a:xfrm>
                      <a:off x="4320115" y="4591050"/>
                      <a:ext cx="931862" cy="65563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06" name="Slovakia" descr="© INSCALE GmbH, 18.06.2010">
                      <a:hlinkClick r:id="" action="ppaction://noaction"/>
                      <a:extLst>
                        <a:ext uri="{FF2B5EF4-FFF2-40B4-BE49-F238E27FC236}">
                          <a16:creationId xmlns:a16="http://schemas.microsoft.com/office/drawing/2014/main" id="{C07AE1D5-F310-4E8A-BAE1-3FB496624138}"/>
                        </a:ext>
                      </a:extLst>
                    </p:cNvPr>
                    <p:cNvSpPr>
                      <a:spLocks/>
                    </p:cNvSpPr>
                    <p:nvPr/>
                  </p:nvSpPr>
                  <p:spPr bwMode="auto">
                    <a:xfrm>
                      <a:off x="6099702" y="4105275"/>
                      <a:ext cx="377825" cy="153988"/>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07" name="Romania" descr="© INSCALE GmbH, 18.06.2010">
                      <a:hlinkClick r:id="" action="ppaction://noaction"/>
                      <a:extLst>
                        <a:ext uri="{FF2B5EF4-FFF2-40B4-BE49-F238E27FC236}">
                          <a16:creationId xmlns:a16="http://schemas.microsoft.com/office/drawing/2014/main" id="{D79AA38F-9281-4E76-80D2-53B0A0E1922C}"/>
                        </a:ext>
                      </a:extLst>
                    </p:cNvPr>
                    <p:cNvSpPr>
                      <a:spLocks/>
                    </p:cNvSpPr>
                    <p:nvPr/>
                  </p:nvSpPr>
                  <p:spPr bwMode="auto">
                    <a:xfrm>
                      <a:off x="6336240" y="4213225"/>
                      <a:ext cx="652462" cy="390525"/>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08" name="Portugal" descr="© INSCALE GmbH, 18.06.2010">
                      <a:hlinkClick r:id="" action="ppaction://noaction"/>
                      <a:extLst>
                        <a:ext uri="{FF2B5EF4-FFF2-40B4-BE49-F238E27FC236}">
                          <a16:creationId xmlns:a16="http://schemas.microsoft.com/office/drawing/2014/main" id="{11770A1A-A002-441F-BE24-28CD73471713}"/>
                        </a:ext>
                      </a:extLst>
                    </p:cNvPr>
                    <p:cNvSpPr>
                      <a:spLocks/>
                    </p:cNvSpPr>
                    <p:nvPr/>
                  </p:nvSpPr>
                  <p:spPr bwMode="auto">
                    <a:xfrm>
                      <a:off x="4282015" y="4732338"/>
                      <a:ext cx="241300" cy="436562"/>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09" name="Poland" descr="© INSCALE GmbH, 18.06.2010">
                      <a:hlinkClick r:id="" action="ppaction://noaction"/>
                      <a:extLst>
                        <a:ext uri="{FF2B5EF4-FFF2-40B4-BE49-F238E27FC236}">
                          <a16:creationId xmlns:a16="http://schemas.microsoft.com/office/drawing/2014/main" id="{BAE65FCA-A6EF-4173-B723-9234024E66C6}"/>
                        </a:ext>
                      </a:extLst>
                    </p:cNvPr>
                    <p:cNvSpPr>
                      <a:spLocks/>
                    </p:cNvSpPr>
                    <p:nvPr/>
                  </p:nvSpPr>
                  <p:spPr bwMode="auto">
                    <a:xfrm>
                      <a:off x="5917140" y="3673475"/>
                      <a:ext cx="665162" cy="477838"/>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10" name="Norway" descr="© INSCALE GmbH, 18.06.2010">
                      <a:hlinkClick r:id="" action="ppaction://noaction"/>
                      <a:extLst>
                        <a:ext uri="{FF2B5EF4-FFF2-40B4-BE49-F238E27FC236}">
                          <a16:creationId xmlns:a16="http://schemas.microsoft.com/office/drawing/2014/main" id="{5B612811-FC49-48A5-ABD6-F287C74F5290}"/>
                        </a:ext>
                      </a:extLst>
                    </p:cNvPr>
                    <p:cNvSpPr>
                      <a:spLocks noEditPoints="1"/>
                    </p:cNvSpPr>
                    <p:nvPr/>
                  </p:nvSpPr>
                  <p:spPr bwMode="auto">
                    <a:xfrm>
                      <a:off x="5355165" y="1825625"/>
                      <a:ext cx="1446212" cy="1590675"/>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11" name="Netherlands" descr="© INSCALE GmbH, 18.06.2010">
                      <a:hlinkClick r:id="" action="ppaction://noaction"/>
                      <a:extLst>
                        <a:ext uri="{FF2B5EF4-FFF2-40B4-BE49-F238E27FC236}">
                          <a16:creationId xmlns:a16="http://schemas.microsoft.com/office/drawing/2014/main" id="{3B32EBFA-746A-4424-8901-77464C13FEB2}"/>
                        </a:ext>
                      </a:extLst>
                    </p:cNvPr>
                    <p:cNvSpPr>
                      <a:spLocks/>
                    </p:cNvSpPr>
                    <p:nvPr/>
                  </p:nvSpPr>
                  <p:spPr bwMode="auto">
                    <a:xfrm>
                      <a:off x="5188477" y="3786188"/>
                      <a:ext cx="287338" cy="223837"/>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12" name="Moldova" descr="© INSCALE GmbH, 18.06.2010">
                      <a:hlinkClick r:id="" action="ppaction://noaction"/>
                      <a:extLst>
                        <a:ext uri="{FF2B5EF4-FFF2-40B4-BE49-F238E27FC236}">
                          <a16:creationId xmlns:a16="http://schemas.microsoft.com/office/drawing/2014/main" id="{9D595647-0641-45DC-8837-09EAC227E30F}"/>
                        </a:ext>
                      </a:extLst>
                    </p:cNvPr>
                    <p:cNvSpPr>
                      <a:spLocks/>
                    </p:cNvSpPr>
                    <p:nvPr/>
                  </p:nvSpPr>
                  <p:spPr bwMode="auto">
                    <a:xfrm>
                      <a:off x="6760102" y="4195763"/>
                      <a:ext cx="228600" cy="254000"/>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13" name="Malta" descr="© INSCALE GmbH, 18.06.2010">
                      <a:hlinkClick r:id="" action="ppaction://noaction"/>
                      <a:extLst>
                        <a:ext uri="{FF2B5EF4-FFF2-40B4-BE49-F238E27FC236}">
                          <a16:creationId xmlns:a16="http://schemas.microsoft.com/office/drawing/2014/main" id="{269EAA41-9674-4B10-A3CB-26300FECCE82}"/>
                        </a:ext>
                      </a:extLst>
                    </p:cNvPr>
                    <p:cNvSpPr>
                      <a:spLocks/>
                    </p:cNvSpPr>
                    <p:nvPr/>
                  </p:nvSpPr>
                  <p:spPr bwMode="auto">
                    <a:xfrm>
                      <a:off x="5940952" y="5233988"/>
                      <a:ext cx="33338" cy="30162"/>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14" name="Macedonia" descr="© INSCALE GmbH, 18.06.2010">
                      <a:hlinkClick r:id="" action="ppaction://noaction"/>
                      <a:extLst>
                        <a:ext uri="{FF2B5EF4-FFF2-40B4-BE49-F238E27FC236}">
                          <a16:creationId xmlns:a16="http://schemas.microsoft.com/office/drawing/2014/main" id="{A2DE5266-C3DC-4859-9086-88A1CC338993}"/>
                        </a:ext>
                      </a:extLst>
                    </p:cNvPr>
                    <p:cNvSpPr>
                      <a:spLocks/>
                    </p:cNvSpPr>
                    <p:nvPr/>
                  </p:nvSpPr>
                  <p:spPr bwMode="auto">
                    <a:xfrm>
                      <a:off x="6374340" y="4703763"/>
                      <a:ext cx="174625" cy="136525"/>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15" name="Luxembourg" descr="© INSCALE GmbH, 18.06.2010">
                      <a:hlinkClick r:id="" action="ppaction://noaction"/>
                      <a:extLst>
                        <a:ext uri="{FF2B5EF4-FFF2-40B4-BE49-F238E27FC236}">
                          <a16:creationId xmlns:a16="http://schemas.microsoft.com/office/drawing/2014/main" id="{947816A5-D305-428A-AD2C-D4A80EBBDB47}"/>
                        </a:ext>
                      </a:extLst>
                    </p:cNvPr>
                    <p:cNvSpPr>
                      <a:spLocks/>
                    </p:cNvSpPr>
                    <p:nvPr/>
                  </p:nvSpPr>
                  <p:spPr bwMode="auto">
                    <a:xfrm>
                      <a:off x="5363102" y="4059238"/>
                      <a:ext cx="53975" cy="46037"/>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16" name="Lithuania" descr="© INSCALE GmbH, 18.06.2010">
                      <a:hlinkClick r:id="" action="ppaction://noaction"/>
                      <a:extLst>
                        <a:ext uri="{FF2B5EF4-FFF2-40B4-BE49-F238E27FC236}">
                          <a16:creationId xmlns:a16="http://schemas.microsoft.com/office/drawing/2014/main" id="{3B876D1E-B7F2-4812-883F-355F2BAA9852}"/>
                        </a:ext>
                      </a:extLst>
                    </p:cNvPr>
                    <p:cNvSpPr>
                      <a:spLocks/>
                    </p:cNvSpPr>
                    <p:nvPr/>
                  </p:nvSpPr>
                  <p:spPr bwMode="auto">
                    <a:xfrm>
                      <a:off x="6344177" y="3540125"/>
                      <a:ext cx="361950" cy="207963"/>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17" name="Liechtenstein" descr="© INSCALE GmbH, 18.06.2010">
                      <a:hlinkClick r:id="" action="ppaction://noaction"/>
                      <a:extLst>
                        <a:ext uri="{FF2B5EF4-FFF2-40B4-BE49-F238E27FC236}">
                          <a16:creationId xmlns:a16="http://schemas.microsoft.com/office/drawing/2014/main" id="{CF0C9887-EE95-4BD9-9138-44040B33EB73}"/>
                        </a:ext>
                      </a:extLst>
                    </p:cNvPr>
                    <p:cNvSpPr>
                      <a:spLocks/>
                    </p:cNvSpPr>
                    <p:nvPr/>
                  </p:nvSpPr>
                  <p:spPr bwMode="auto">
                    <a:xfrm>
                      <a:off x="5604402" y="4292600"/>
                      <a:ext cx="17463" cy="23813"/>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18" name="Latvia" descr="© INSCALE GmbH, 18.06.2010">
                      <a:hlinkClick r:id="" action="ppaction://noaction"/>
                      <a:extLst>
                        <a:ext uri="{FF2B5EF4-FFF2-40B4-BE49-F238E27FC236}">
                          <a16:creationId xmlns:a16="http://schemas.microsoft.com/office/drawing/2014/main" id="{C6C1FF9A-C3E6-4F03-9FE6-34EC957F455A}"/>
                        </a:ext>
                      </a:extLst>
                    </p:cNvPr>
                    <p:cNvSpPr>
                      <a:spLocks/>
                    </p:cNvSpPr>
                    <p:nvPr/>
                  </p:nvSpPr>
                  <p:spPr bwMode="auto">
                    <a:xfrm>
                      <a:off x="6336240" y="3411538"/>
                      <a:ext cx="454025" cy="190500"/>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19" name="Italy" descr="© INSCALE GmbH, 18.06.2010">
                      <a:hlinkClick r:id="" action="ppaction://noaction"/>
                      <a:extLst>
                        <a:ext uri="{FF2B5EF4-FFF2-40B4-BE49-F238E27FC236}">
                          <a16:creationId xmlns:a16="http://schemas.microsoft.com/office/drawing/2014/main" id="{8690F043-2513-4049-A884-A60D50262D10}"/>
                        </a:ext>
                      </a:extLst>
                    </p:cNvPr>
                    <p:cNvSpPr>
                      <a:spLocks noEditPoints="1"/>
                    </p:cNvSpPr>
                    <p:nvPr/>
                  </p:nvSpPr>
                  <p:spPr bwMode="auto">
                    <a:xfrm>
                      <a:off x="5413902" y="4308475"/>
                      <a:ext cx="827088" cy="881063"/>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20" name="Ireland" descr="© INSCALE GmbH, 18.06.2010">
                      <a:hlinkClick r:id="" action="ppaction://noaction"/>
                      <a:extLst>
                        <a:ext uri="{FF2B5EF4-FFF2-40B4-BE49-F238E27FC236}">
                          <a16:creationId xmlns:a16="http://schemas.microsoft.com/office/drawing/2014/main" id="{3F9C0725-0E28-4E2E-8DFC-F11604620F78}"/>
                        </a:ext>
                      </a:extLst>
                    </p:cNvPr>
                    <p:cNvSpPr>
                      <a:spLocks/>
                    </p:cNvSpPr>
                    <p:nvPr/>
                  </p:nvSpPr>
                  <p:spPr bwMode="auto">
                    <a:xfrm>
                      <a:off x="4328052" y="3635375"/>
                      <a:ext cx="300038" cy="315913"/>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21" name="Iceland" descr="© INSCALE GmbH, 18.06.2010">
                      <a:hlinkClick r:id="" action="ppaction://noaction"/>
                      <a:extLst>
                        <a:ext uri="{FF2B5EF4-FFF2-40B4-BE49-F238E27FC236}">
                          <a16:creationId xmlns:a16="http://schemas.microsoft.com/office/drawing/2014/main" id="{1D7A8A89-C883-4457-A424-862C6C0DE29C}"/>
                        </a:ext>
                      </a:extLst>
                    </p:cNvPr>
                    <p:cNvSpPr>
                      <a:spLocks/>
                    </p:cNvSpPr>
                    <p:nvPr/>
                  </p:nvSpPr>
                  <p:spPr bwMode="auto">
                    <a:xfrm>
                      <a:off x="3688290" y="2760663"/>
                      <a:ext cx="606425" cy="236537"/>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22" name="Hungary" descr="© INSCALE GmbH, 18.06.2010">
                      <a:hlinkClick r:id="" action="ppaction://noaction"/>
                      <a:extLst>
                        <a:ext uri="{FF2B5EF4-FFF2-40B4-BE49-F238E27FC236}">
                          <a16:creationId xmlns:a16="http://schemas.microsoft.com/office/drawing/2014/main" id="{FD889483-2042-434A-A498-27E07C2FB118}"/>
                        </a:ext>
                      </a:extLst>
                    </p:cNvPr>
                    <p:cNvSpPr>
                      <a:spLocks/>
                    </p:cNvSpPr>
                    <p:nvPr/>
                  </p:nvSpPr>
                  <p:spPr bwMode="auto">
                    <a:xfrm>
                      <a:off x="6061602" y="4187825"/>
                      <a:ext cx="454025" cy="236538"/>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23" name="Greece" descr="© INSCALE GmbH, 18.06.2010">
                      <a:hlinkClick r:id="" action="ppaction://noaction"/>
                      <a:extLst>
                        <a:ext uri="{FF2B5EF4-FFF2-40B4-BE49-F238E27FC236}">
                          <a16:creationId xmlns:a16="http://schemas.microsoft.com/office/drawing/2014/main" id="{4DE05232-D972-419F-ABA4-0393F221A11E}"/>
                        </a:ext>
                      </a:extLst>
                    </p:cNvPr>
                    <p:cNvSpPr>
                      <a:spLocks noEditPoints="1"/>
                    </p:cNvSpPr>
                    <p:nvPr/>
                  </p:nvSpPr>
                  <p:spPr bwMode="auto">
                    <a:xfrm>
                      <a:off x="6369577" y="4760913"/>
                      <a:ext cx="565150" cy="585787"/>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24" name="Germany" descr="© INSCALE GmbH, 18.06.2010">
                      <a:hlinkClick r:id="" action="ppaction://noaction"/>
                      <a:extLst>
                        <a:ext uri="{FF2B5EF4-FFF2-40B4-BE49-F238E27FC236}">
                          <a16:creationId xmlns:a16="http://schemas.microsoft.com/office/drawing/2014/main" id="{2C2B5D96-44FB-463B-B3AA-19F2123231DD}"/>
                        </a:ext>
                      </a:extLst>
                    </p:cNvPr>
                    <p:cNvSpPr>
                      <a:spLocks/>
                    </p:cNvSpPr>
                    <p:nvPr/>
                  </p:nvSpPr>
                  <p:spPr bwMode="auto">
                    <a:xfrm>
                      <a:off x="5380565" y="3665538"/>
                      <a:ext cx="598487" cy="627062"/>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25" name="France" descr="© INSCALE GmbH, 18.06.2010">
                      <a:hlinkClick r:id="" action="ppaction://noaction"/>
                      <a:extLst>
                        <a:ext uri="{FF2B5EF4-FFF2-40B4-BE49-F238E27FC236}">
                          <a16:creationId xmlns:a16="http://schemas.microsoft.com/office/drawing/2014/main" id="{40517559-62E4-43BB-B5D0-7699AE097179}"/>
                        </a:ext>
                      </a:extLst>
                    </p:cNvPr>
                    <p:cNvSpPr>
                      <a:spLocks noEditPoints="1"/>
                    </p:cNvSpPr>
                    <p:nvPr/>
                  </p:nvSpPr>
                  <p:spPr bwMode="auto">
                    <a:xfrm>
                      <a:off x="4653490" y="3968750"/>
                      <a:ext cx="968375" cy="833438"/>
                    </a:xfrm>
                    <a:custGeom>
                      <a:avLst/>
                      <a:gdLst>
                        <a:gd name="T0" fmla="*/ 589681941 w 230"/>
                        <a:gd name="T1" fmla="*/ 431117225 h 198"/>
                        <a:gd name="T2" fmla="*/ 568990789 w 230"/>
                        <a:gd name="T3" fmla="*/ 446700914 h 198"/>
                        <a:gd name="T4" fmla="*/ 563818806 w 230"/>
                        <a:gd name="T5" fmla="*/ 483059093 h 198"/>
                        <a:gd name="T6" fmla="*/ 563818806 w 230"/>
                        <a:gd name="T7" fmla="*/ 503836808 h 198"/>
                        <a:gd name="T8" fmla="*/ 594853925 w 230"/>
                        <a:gd name="T9" fmla="*/ 498642782 h 198"/>
                        <a:gd name="T10" fmla="*/ 594853925 w 230"/>
                        <a:gd name="T11" fmla="*/ 446700914 h 198"/>
                        <a:gd name="T12" fmla="*/ 496573367 w 230"/>
                        <a:gd name="T13" fmla="*/ 103883762 h 198"/>
                        <a:gd name="T14" fmla="*/ 475883823 w 230"/>
                        <a:gd name="T15" fmla="*/ 88301685 h 198"/>
                        <a:gd name="T16" fmla="*/ 450020688 w 230"/>
                        <a:gd name="T17" fmla="*/ 88301685 h 198"/>
                        <a:gd name="T18" fmla="*/ 418983860 w 230"/>
                        <a:gd name="T19" fmla="*/ 72717996 h 198"/>
                        <a:gd name="T20" fmla="*/ 393120724 w 230"/>
                        <a:gd name="T21" fmla="*/ 62329945 h 198"/>
                        <a:gd name="T22" fmla="*/ 367257589 w 230"/>
                        <a:gd name="T23" fmla="*/ 36359804 h 198"/>
                        <a:gd name="T24" fmla="*/ 325876894 w 230"/>
                        <a:gd name="T25" fmla="*/ 15582083 h 198"/>
                        <a:gd name="T26" fmla="*/ 289668183 w 230"/>
                        <a:gd name="T27" fmla="*/ 5194027 h 198"/>
                        <a:gd name="T28" fmla="*/ 268977031 w 230"/>
                        <a:gd name="T29" fmla="*/ 20776109 h 198"/>
                        <a:gd name="T30" fmla="*/ 268977031 w 230"/>
                        <a:gd name="T31" fmla="*/ 57135919 h 198"/>
                        <a:gd name="T32" fmla="*/ 222424352 w 230"/>
                        <a:gd name="T33" fmla="*/ 88301685 h 198"/>
                        <a:gd name="T34" fmla="*/ 175870015 w 230"/>
                        <a:gd name="T35" fmla="*/ 98689736 h 198"/>
                        <a:gd name="T36" fmla="*/ 144833287 w 230"/>
                        <a:gd name="T37" fmla="*/ 72717996 h 198"/>
                        <a:gd name="T38" fmla="*/ 139661303 w 230"/>
                        <a:gd name="T39" fmla="*/ 88301685 h 198"/>
                        <a:gd name="T40" fmla="*/ 144833287 w 230"/>
                        <a:gd name="T41" fmla="*/ 124659890 h 198"/>
                        <a:gd name="T42" fmla="*/ 98280583 w 230"/>
                        <a:gd name="T43" fmla="*/ 140243578 h 198"/>
                        <a:gd name="T44" fmla="*/ 77589432 w 230"/>
                        <a:gd name="T45" fmla="*/ 119465864 h 198"/>
                        <a:gd name="T46" fmla="*/ 51726283 w 230"/>
                        <a:gd name="T47" fmla="*/ 124659890 h 198"/>
                        <a:gd name="T48" fmla="*/ 15517566 w 230"/>
                        <a:gd name="T49" fmla="*/ 135049553 h 198"/>
                        <a:gd name="T50" fmla="*/ 20691158 w 230"/>
                        <a:gd name="T51" fmla="*/ 145437604 h 198"/>
                        <a:gd name="T52" fmla="*/ 5171985 w 230"/>
                        <a:gd name="T53" fmla="*/ 155825655 h 198"/>
                        <a:gd name="T54" fmla="*/ 31035132 w 230"/>
                        <a:gd name="T55" fmla="*/ 171407732 h 198"/>
                        <a:gd name="T56" fmla="*/ 98280583 w 230"/>
                        <a:gd name="T57" fmla="*/ 197379472 h 198"/>
                        <a:gd name="T58" fmla="*/ 113798168 w 230"/>
                        <a:gd name="T59" fmla="*/ 223349651 h 198"/>
                        <a:gd name="T60" fmla="*/ 150006879 w 230"/>
                        <a:gd name="T61" fmla="*/ 275291519 h 198"/>
                        <a:gd name="T62" fmla="*/ 150006879 w 230"/>
                        <a:gd name="T63" fmla="*/ 306457285 h 198"/>
                        <a:gd name="T64" fmla="*/ 134489320 w 230"/>
                        <a:gd name="T65" fmla="*/ 373981230 h 198"/>
                        <a:gd name="T66" fmla="*/ 124143744 w 230"/>
                        <a:gd name="T67" fmla="*/ 394758945 h 198"/>
                        <a:gd name="T68" fmla="*/ 118970152 w 230"/>
                        <a:gd name="T69" fmla="*/ 415535047 h 198"/>
                        <a:gd name="T70" fmla="*/ 134489320 w 230"/>
                        <a:gd name="T71" fmla="*/ 420729073 h 198"/>
                        <a:gd name="T72" fmla="*/ 170698031 w 230"/>
                        <a:gd name="T73" fmla="*/ 431117225 h 198"/>
                        <a:gd name="T74" fmla="*/ 201733150 w 230"/>
                        <a:gd name="T75" fmla="*/ 446700914 h 198"/>
                        <a:gd name="T76" fmla="*/ 232768320 w 230"/>
                        <a:gd name="T77" fmla="*/ 431117225 h 198"/>
                        <a:gd name="T78" fmla="*/ 248287487 w 230"/>
                        <a:gd name="T79" fmla="*/ 446700914 h 198"/>
                        <a:gd name="T80" fmla="*/ 289668183 w 230"/>
                        <a:gd name="T81" fmla="*/ 457088965 h 198"/>
                        <a:gd name="T82" fmla="*/ 305185742 w 230"/>
                        <a:gd name="T83" fmla="*/ 451894939 h 198"/>
                        <a:gd name="T84" fmla="*/ 336222470 w 230"/>
                        <a:gd name="T85" fmla="*/ 415535047 h 198"/>
                        <a:gd name="T86" fmla="*/ 362085605 w 230"/>
                        <a:gd name="T87" fmla="*/ 394758945 h 198"/>
                        <a:gd name="T88" fmla="*/ 393120724 w 230"/>
                        <a:gd name="T89" fmla="*/ 405146996 h 198"/>
                        <a:gd name="T90" fmla="*/ 439675112 w 230"/>
                        <a:gd name="T91" fmla="*/ 420729073 h 198"/>
                        <a:gd name="T92" fmla="*/ 475883823 w 230"/>
                        <a:gd name="T93" fmla="*/ 415535047 h 198"/>
                        <a:gd name="T94" fmla="*/ 506918943 w 230"/>
                        <a:gd name="T95" fmla="*/ 384369282 h 198"/>
                        <a:gd name="T96" fmla="*/ 496573367 w 230"/>
                        <a:gd name="T97" fmla="*/ 363593179 h 198"/>
                        <a:gd name="T98" fmla="*/ 481055807 w 230"/>
                        <a:gd name="T99" fmla="*/ 353205128 h 198"/>
                        <a:gd name="T100" fmla="*/ 491401383 w 230"/>
                        <a:gd name="T101" fmla="*/ 337623051 h 198"/>
                        <a:gd name="T102" fmla="*/ 470710231 w 230"/>
                        <a:gd name="T103" fmla="*/ 311651311 h 198"/>
                        <a:gd name="T104" fmla="*/ 481055807 w 230"/>
                        <a:gd name="T105" fmla="*/ 280485545 h 198"/>
                        <a:gd name="T106" fmla="*/ 481055807 w 230"/>
                        <a:gd name="T107" fmla="*/ 259709442 h 198"/>
                        <a:gd name="T108" fmla="*/ 455192672 w 230"/>
                        <a:gd name="T109" fmla="*/ 259709442 h 198"/>
                        <a:gd name="T110" fmla="*/ 450020688 w 230"/>
                        <a:gd name="T111" fmla="*/ 244127365 h 198"/>
                        <a:gd name="T112" fmla="*/ 470710231 w 230"/>
                        <a:gd name="T113" fmla="*/ 212961600 h 198"/>
                        <a:gd name="T114" fmla="*/ 496573367 w 230"/>
                        <a:gd name="T115" fmla="*/ 197379472 h 198"/>
                        <a:gd name="T116" fmla="*/ 512090926 w 230"/>
                        <a:gd name="T117" fmla="*/ 155825655 h 198"/>
                        <a:gd name="T118" fmla="*/ 527610094 w 230"/>
                        <a:gd name="T119" fmla="*/ 129855527 h 198"/>
                        <a:gd name="T120" fmla="*/ 512090926 w 230"/>
                        <a:gd name="T121" fmla="*/ 103883762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26" name="Finland" descr="© INSCALE GmbH, 18.06.2010">
                      <a:hlinkClick r:id="" action="ppaction://noaction"/>
                      <a:extLst>
                        <a:ext uri="{FF2B5EF4-FFF2-40B4-BE49-F238E27FC236}">
                          <a16:creationId xmlns:a16="http://schemas.microsoft.com/office/drawing/2014/main" id="{9CB87334-BF2A-4810-94B8-530E102835A8}"/>
                        </a:ext>
                      </a:extLst>
                    </p:cNvPr>
                    <p:cNvSpPr>
                      <a:spLocks/>
                    </p:cNvSpPr>
                    <p:nvPr/>
                  </p:nvSpPr>
                  <p:spPr bwMode="auto">
                    <a:xfrm>
                      <a:off x="6240990" y="2506663"/>
                      <a:ext cx="668337" cy="760412"/>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27" name="Estonia" descr="© INSCALE GmbH, 18.06.2010">
                      <a:hlinkClick r:id="" action="ppaction://noaction"/>
                      <a:extLst>
                        <a:ext uri="{FF2B5EF4-FFF2-40B4-BE49-F238E27FC236}">
                          <a16:creationId xmlns:a16="http://schemas.microsoft.com/office/drawing/2014/main" id="{83755E45-94EA-44D4-85D9-3E03E7BF141F}"/>
                        </a:ext>
                      </a:extLst>
                    </p:cNvPr>
                    <p:cNvSpPr>
                      <a:spLocks noEditPoints="1"/>
                    </p:cNvSpPr>
                    <p:nvPr/>
                  </p:nvSpPr>
                  <p:spPr bwMode="auto">
                    <a:xfrm>
                      <a:off x="6374340" y="3290888"/>
                      <a:ext cx="369887" cy="166687"/>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28" name="Denmark" descr="© INSCALE GmbH, 18.06.2010">
                      <a:hlinkClick r:id="" action="ppaction://noaction"/>
                      <a:extLst>
                        <a:ext uri="{FF2B5EF4-FFF2-40B4-BE49-F238E27FC236}">
                          <a16:creationId xmlns:a16="http://schemas.microsoft.com/office/drawing/2014/main" id="{F23F9B58-7FCF-455A-B22D-898ACA30C370}"/>
                        </a:ext>
                      </a:extLst>
                    </p:cNvPr>
                    <p:cNvSpPr>
                      <a:spLocks noEditPoints="1"/>
                    </p:cNvSpPr>
                    <p:nvPr/>
                  </p:nvSpPr>
                  <p:spPr bwMode="auto">
                    <a:xfrm>
                      <a:off x="5525027" y="3449638"/>
                      <a:ext cx="295275" cy="249237"/>
                    </a:xfrm>
                    <a:custGeom>
                      <a:avLst/>
                      <a:gdLst>
                        <a:gd name="T0" fmla="*/ 106362 w 71"/>
                        <a:gd name="T1" fmla="*/ 73025 h 60"/>
                        <a:gd name="T2" fmla="*/ 109537 w 71"/>
                        <a:gd name="T3" fmla="*/ 68263 h 60"/>
                        <a:gd name="T4" fmla="*/ 106362 w 71"/>
                        <a:gd name="T5" fmla="*/ 68263 h 60"/>
                        <a:gd name="T6" fmla="*/ 98425 w 71"/>
                        <a:gd name="T7" fmla="*/ 60325 h 60"/>
                        <a:gd name="T8" fmla="*/ 101600 w 71"/>
                        <a:gd name="T9" fmla="*/ 57150 h 60"/>
                        <a:gd name="T10" fmla="*/ 106362 w 71"/>
                        <a:gd name="T11" fmla="*/ 46038 h 60"/>
                        <a:gd name="T12" fmla="*/ 98425 w 71"/>
                        <a:gd name="T13" fmla="*/ 46038 h 60"/>
                        <a:gd name="T14" fmla="*/ 95250 w 71"/>
                        <a:gd name="T15" fmla="*/ 53975 h 60"/>
                        <a:gd name="T16" fmla="*/ 90487 w 71"/>
                        <a:gd name="T17" fmla="*/ 53975 h 60"/>
                        <a:gd name="T18" fmla="*/ 87312 w 71"/>
                        <a:gd name="T19" fmla="*/ 49212 h 60"/>
                        <a:gd name="T20" fmla="*/ 71437 w 71"/>
                        <a:gd name="T21" fmla="*/ 60325 h 60"/>
                        <a:gd name="T22" fmla="*/ 79375 w 71"/>
                        <a:gd name="T23" fmla="*/ 65088 h 60"/>
                        <a:gd name="T24" fmla="*/ 79375 w 71"/>
                        <a:gd name="T25" fmla="*/ 73025 h 60"/>
                        <a:gd name="T26" fmla="*/ 76200 w 71"/>
                        <a:gd name="T27" fmla="*/ 76200 h 60"/>
                        <a:gd name="T28" fmla="*/ 79375 w 71"/>
                        <a:gd name="T29" fmla="*/ 79375 h 60"/>
                        <a:gd name="T30" fmla="*/ 87312 w 71"/>
                        <a:gd name="T31" fmla="*/ 76200 h 60"/>
                        <a:gd name="T32" fmla="*/ 90487 w 71"/>
                        <a:gd name="T33" fmla="*/ 79375 h 60"/>
                        <a:gd name="T34" fmla="*/ 95250 w 71"/>
                        <a:gd name="T35" fmla="*/ 87313 h 60"/>
                        <a:gd name="T36" fmla="*/ 98425 w 71"/>
                        <a:gd name="T37" fmla="*/ 84138 h 60"/>
                        <a:gd name="T38" fmla="*/ 112712 w 71"/>
                        <a:gd name="T39" fmla="*/ 84138 h 60"/>
                        <a:gd name="T40" fmla="*/ 98425 w 71"/>
                        <a:gd name="T41" fmla="*/ 87313 h 60"/>
                        <a:gd name="T42" fmla="*/ 90487 w 71"/>
                        <a:gd name="T43" fmla="*/ 92075 h 60"/>
                        <a:gd name="T44" fmla="*/ 87312 w 71"/>
                        <a:gd name="T45" fmla="*/ 87313 h 60"/>
                        <a:gd name="T46" fmla="*/ 71437 w 71"/>
                        <a:gd name="T47" fmla="*/ 84138 h 60"/>
                        <a:gd name="T48" fmla="*/ 79375 w 71"/>
                        <a:gd name="T49" fmla="*/ 92075 h 60"/>
                        <a:gd name="T50" fmla="*/ 87312 w 71"/>
                        <a:gd name="T51" fmla="*/ 95250 h 60"/>
                        <a:gd name="T52" fmla="*/ 95250 w 71"/>
                        <a:gd name="T53" fmla="*/ 95250 h 60"/>
                        <a:gd name="T54" fmla="*/ 109537 w 71"/>
                        <a:gd name="T55" fmla="*/ 92075 h 60"/>
                        <a:gd name="T56" fmla="*/ 112712 w 71"/>
                        <a:gd name="T57" fmla="*/ 92075 h 60"/>
                        <a:gd name="T58" fmla="*/ 112712 w 71"/>
                        <a:gd name="T59" fmla="*/ 84138 h 60"/>
                        <a:gd name="T60" fmla="*/ 57150 w 71"/>
                        <a:gd name="T61" fmla="*/ 11113 h 60"/>
                        <a:gd name="T62" fmla="*/ 57150 w 71"/>
                        <a:gd name="T63" fmla="*/ 0 h 60"/>
                        <a:gd name="T64" fmla="*/ 41275 w 71"/>
                        <a:gd name="T65" fmla="*/ 4763 h 60"/>
                        <a:gd name="T66" fmla="*/ 33337 w 71"/>
                        <a:gd name="T67" fmla="*/ 15875 h 60"/>
                        <a:gd name="T68" fmla="*/ 30162 w 71"/>
                        <a:gd name="T69" fmla="*/ 30163 h 60"/>
                        <a:gd name="T70" fmla="*/ 19050 w 71"/>
                        <a:gd name="T71" fmla="*/ 11113 h 60"/>
                        <a:gd name="T72" fmla="*/ 11112 w 71"/>
                        <a:gd name="T73" fmla="*/ 15875 h 60"/>
                        <a:gd name="T74" fmla="*/ 7937 w 71"/>
                        <a:gd name="T75" fmla="*/ 19050 h 60"/>
                        <a:gd name="T76" fmla="*/ 7937 w 71"/>
                        <a:gd name="T77" fmla="*/ 22225 h 60"/>
                        <a:gd name="T78" fmla="*/ 19050 w 71"/>
                        <a:gd name="T79" fmla="*/ 30163 h 60"/>
                        <a:gd name="T80" fmla="*/ 7937 w 71"/>
                        <a:gd name="T81" fmla="*/ 30163 h 60"/>
                        <a:gd name="T82" fmla="*/ 0 w 71"/>
                        <a:gd name="T83" fmla="*/ 38100 h 60"/>
                        <a:gd name="T84" fmla="*/ 0 w 71"/>
                        <a:gd name="T85" fmla="*/ 46038 h 60"/>
                        <a:gd name="T86" fmla="*/ 7937 w 71"/>
                        <a:gd name="T87" fmla="*/ 53975 h 60"/>
                        <a:gd name="T88" fmla="*/ 11112 w 71"/>
                        <a:gd name="T89" fmla="*/ 53975 h 60"/>
                        <a:gd name="T90" fmla="*/ 3175 w 71"/>
                        <a:gd name="T91" fmla="*/ 65088 h 60"/>
                        <a:gd name="T92" fmla="*/ 11112 w 71"/>
                        <a:gd name="T93" fmla="*/ 68263 h 60"/>
                        <a:gd name="T94" fmla="*/ 7937 w 71"/>
                        <a:gd name="T95" fmla="*/ 84138 h 60"/>
                        <a:gd name="T96" fmla="*/ 26987 w 71"/>
                        <a:gd name="T97" fmla="*/ 84138 h 60"/>
                        <a:gd name="T98" fmla="*/ 38100 w 71"/>
                        <a:gd name="T99" fmla="*/ 87313 h 60"/>
                        <a:gd name="T100" fmla="*/ 41275 w 71"/>
                        <a:gd name="T101" fmla="*/ 87313 h 60"/>
                        <a:gd name="T102" fmla="*/ 38100 w 71"/>
                        <a:gd name="T103" fmla="*/ 76200 h 60"/>
                        <a:gd name="T104" fmla="*/ 38100 w 71"/>
                        <a:gd name="T105" fmla="*/ 65088 h 60"/>
                        <a:gd name="T106" fmla="*/ 33337 w 71"/>
                        <a:gd name="T107" fmla="*/ 60325 h 60"/>
                        <a:gd name="T108" fmla="*/ 49212 w 71"/>
                        <a:gd name="T109" fmla="*/ 53975 h 60"/>
                        <a:gd name="T110" fmla="*/ 52387 w 71"/>
                        <a:gd name="T111" fmla="*/ 41275 h 60"/>
                        <a:gd name="T112" fmla="*/ 65087 w 71"/>
                        <a:gd name="T113" fmla="*/ 30163 h 60"/>
                        <a:gd name="T114" fmla="*/ 49212 w 71"/>
                        <a:gd name="T115" fmla="*/ 19050 h 60"/>
                        <a:gd name="T116" fmla="*/ 49212 w 71"/>
                        <a:gd name="T117" fmla="*/ 76200 h 60"/>
                        <a:gd name="T118" fmla="*/ 57150 w 71"/>
                        <a:gd name="T119" fmla="*/ 84138 h 60"/>
                        <a:gd name="T120" fmla="*/ 52387 w 71"/>
                        <a:gd name="T121" fmla="*/ 65088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29" name="Czech Republic" descr="© INSCALE GmbH, 18.06.2010">
                      <a:hlinkClick r:id="" action="ppaction://noaction"/>
                      <a:extLst>
                        <a:ext uri="{FF2B5EF4-FFF2-40B4-BE49-F238E27FC236}">
                          <a16:creationId xmlns:a16="http://schemas.microsoft.com/office/drawing/2014/main" id="{CB6CB7D1-F5F6-41CC-830C-68F38C070A2B}"/>
                        </a:ext>
                      </a:extLst>
                    </p:cNvPr>
                    <p:cNvSpPr>
                      <a:spLocks/>
                    </p:cNvSpPr>
                    <p:nvPr/>
                  </p:nvSpPr>
                  <p:spPr bwMode="auto">
                    <a:xfrm>
                      <a:off x="5786965" y="3984625"/>
                      <a:ext cx="449262" cy="203200"/>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30" name="Croatia" descr="© INSCALE GmbH, 18.06.2010">
                      <a:hlinkClick r:id="" action="ppaction://noaction"/>
                      <a:extLst>
                        <a:ext uri="{FF2B5EF4-FFF2-40B4-BE49-F238E27FC236}">
                          <a16:creationId xmlns:a16="http://schemas.microsoft.com/office/drawing/2014/main" id="{6DBCA704-145D-469B-A1F6-7600B0A5B4C6}"/>
                        </a:ext>
                      </a:extLst>
                    </p:cNvPr>
                    <p:cNvSpPr>
                      <a:spLocks/>
                    </p:cNvSpPr>
                    <p:nvPr/>
                  </p:nvSpPr>
                  <p:spPr bwMode="auto">
                    <a:xfrm>
                      <a:off x="5896502" y="4362450"/>
                      <a:ext cx="390525" cy="290513"/>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31" name="Bulgaria" descr="© INSCALE GmbH, 18.06.2010">
                      <a:hlinkClick r:id="" action="ppaction://noaction"/>
                      <a:extLst>
                        <a:ext uri="{FF2B5EF4-FFF2-40B4-BE49-F238E27FC236}">
                          <a16:creationId xmlns:a16="http://schemas.microsoft.com/office/drawing/2014/main" id="{F37697D1-BE34-4D95-BCC2-4070B6E618B4}"/>
                        </a:ext>
                      </a:extLst>
                    </p:cNvPr>
                    <p:cNvSpPr>
                      <a:spLocks/>
                    </p:cNvSpPr>
                    <p:nvPr/>
                  </p:nvSpPr>
                  <p:spPr bwMode="auto">
                    <a:xfrm>
                      <a:off x="6498165" y="4557713"/>
                      <a:ext cx="420687" cy="241300"/>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32" name="Bosnia and Herzegovina" descr="© INSCALE GmbH, 18.06.2010">
                      <a:hlinkClick r:id="rId7" action="ppaction://hlinksldjump"/>
                      <a:extLst>
                        <a:ext uri="{FF2B5EF4-FFF2-40B4-BE49-F238E27FC236}">
                          <a16:creationId xmlns:a16="http://schemas.microsoft.com/office/drawing/2014/main" id="{C137DDE4-88E4-4C09-AD13-7AD5CC0A3AF5}"/>
                        </a:ext>
                      </a:extLst>
                    </p:cNvPr>
                    <p:cNvSpPr>
                      <a:spLocks/>
                    </p:cNvSpPr>
                    <p:nvPr/>
                  </p:nvSpPr>
                  <p:spPr bwMode="auto">
                    <a:xfrm>
                      <a:off x="6025090" y="4462463"/>
                      <a:ext cx="282575" cy="249237"/>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33" name="Belgium" descr="© INSCALE GmbH, 18.06.2010">
                      <a:hlinkClick r:id="" action="ppaction://noaction"/>
                      <a:extLst>
                        <a:ext uri="{FF2B5EF4-FFF2-40B4-BE49-F238E27FC236}">
                          <a16:creationId xmlns:a16="http://schemas.microsoft.com/office/drawing/2014/main" id="{2F5241A4-9135-4198-AC6B-F2CFCF30F50C}"/>
                        </a:ext>
                      </a:extLst>
                    </p:cNvPr>
                    <p:cNvSpPr>
                      <a:spLocks/>
                    </p:cNvSpPr>
                    <p:nvPr/>
                  </p:nvSpPr>
                  <p:spPr bwMode="auto">
                    <a:xfrm>
                      <a:off x="5175777" y="3951288"/>
                      <a:ext cx="238125" cy="161925"/>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34" name="Belarus" descr="© INSCALE GmbH, 18.06.2010">
                      <a:hlinkClick r:id="" action="ppaction://noaction"/>
                      <a:extLst>
                        <a:ext uri="{FF2B5EF4-FFF2-40B4-BE49-F238E27FC236}">
                          <a16:creationId xmlns:a16="http://schemas.microsoft.com/office/drawing/2014/main" id="{20DC8CAC-F1EE-4221-A5F6-B180B7EED4D4}"/>
                        </a:ext>
                      </a:extLst>
                    </p:cNvPr>
                    <p:cNvSpPr>
                      <a:spLocks/>
                    </p:cNvSpPr>
                    <p:nvPr/>
                  </p:nvSpPr>
                  <p:spPr bwMode="auto">
                    <a:xfrm>
                      <a:off x="6502927" y="3565525"/>
                      <a:ext cx="606425" cy="393700"/>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35" name="Austria" descr="© INSCALE GmbH, 18.06.2010">
                      <a:hlinkClick r:id="rId7" action="ppaction://hlinksldjump"/>
                      <a:extLst>
                        <a:ext uri="{FF2B5EF4-FFF2-40B4-BE49-F238E27FC236}">
                          <a16:creationId xmlns:a16="http://schemas.microsoft.com/office/drawing/2014/main" id="{E04A9A11-DF3E-48D6-A272-D18EA24B6D3F}"/>
                        </a:ext>
                      </a:extLst>
                    </p:cNvPr>
                    <p:cNvSpPr>
                      <a:spLocks/>
                    </p:cNvSpPr>
                    <p:nvPr/>
                  </p:nvSpPr>
                  <p:spPr bwMode="auto">
                    <a:xfrm>
                      <a:off x="5621865" y="4151313"/>
                      <a:ext cx="485775" cy="215900"/>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36" name="Andorra" descr="© INSCALE GmbH, 18.06.2010">
                      <a:hlinkClick r:id="" action="ppaction://noaction"/>
                      <a:extLst>
                        <a:ext uri="{FF2B5EF4-FFF2-40B4-BE49-F238E27FC236}">
                          <a16:creationId xmlns:a16="http://schemas.microsoft.com/office/drawing/2014/main" id="{1B5D8563-1671-4929-8C39-F8C25309FADB}"/>
                        </a:ext>
                      </a:extLst>
                    </p:cNvPr>
                    <p:cNvSpPr>
                      <a:spLocks/>
                    </p:cNvSpPr>
                    <p:nvPr/>
                  </p:nvSpPr>
                  <p:spPr bwMode="auto">
                    <a:xfrm>
                      <a:off x="5056715" y="4686300"/>
                      <a:ext cx="33337" cy="17463"/>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37" name="Slovenia" descr="© INSCALE GmbH, 18.06.2010">
                      <a:hlinkClick r:id="" action="ppaction://noaction"/>
                      <a:extLst>
                        <a:ext uri="{FF2B5EF4-FFF2-40B4-BE49-F238E27FC236}">
                          <a16:creationId xmlns:a16="http://schemas.microsoft.com/office/drawing/2014/main" id="{C449E492-DC1C-4E4A-90A0-9412B2DAAA27}"/>
                        </a:ext>
                      </a:extLst>
                    </p:cNvPr>
                    <p:cNvSpPr>
                      <a:spLocks/>
                    </p:cNvSpPr>
                    <p:nvPr/>
                  </p:nvSpPr>
                  <p:spPr bwMode="auto">
                    <a:xfrm>
                      <a:off x="5871102" y="4321175"/>
                      <a:ext cx="223838" cy="128588"/>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38" name="Montenegro" descr="© INSCALE GmbH, 18.06.2010">
                      <a:hlinkClick r:id="" action="ppaction://noaction"/>
                      <a:extLst>
                        <a:ext uri="{FF2B5EF4-FFF2-40B4-BE49-F238E27FC236}">
                          <a16:creationId xmlns:a16="http://schemas.microsoft.com/office/drawing/2014/main" id="{05928D63-CF6A-4D60-8F8F-6D5D38644A51}"/>
                        </a:ext>
                      </a:extLst>
                    </p:cNvPr>
                    <p:cNvSpPr>
                      <a:spLocks/>
                    </p:cNvSpPr>
                    <p:nvPr/>
                  </p:nvSpPr>
                  <p:spPr bwMode="auto">
                    <a:xfrm>
                      <a:off x="6223527" y="4603750"/>
                      <a:ext cx="120650" cy="144463"/>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239" name="Freeform 429" descr="© INSCALE GmbH, 18.06.2010">
                      <a:hlinkClick r:id="" action="ppaction://noaction"/>
                      <a:extLst>
                        <a:ext uri="{FF2B5EF4-FFF2-40B4-BE49-F238E27FC236}">
                          <a16:creationId xmlns:a16="http://schemas.microsoft.com/office/drawing/2014/main" id="{0A5A45B0-B475-4358-A856-ECB92E091736}"/>
                        </a:ext>
                      </a:extLst>
                    </p:cNvPr>
                    <p:cNvSpPr>
                      <a:spLocks/>
                    </p:cNvSpPr>
                    <p:nvPr/>
                  </p:nvSpPr>
                  <p:spPr bwMode="auto">
                    <a:xfrm>
                      <a:off x="6344177" y="4627563"/>
                      <a:ext cx="106363" cy="120650"/>
                    </a:xfrm>
                    <a:custGeom>
                      <a:avLst/>
                      <a:gdLst/>
                      <a:ahLst/>
                      <a:cxnLst>
                        <a:cxn ang="0">
                          <a:pos x="111" y="64"/>
                        </a:cxn>
                        <a:cxn ang="0">
                          <a:pos x="97" y="52"/>
                        </a:cxn>
                        <a:cxn ang="0">
                          <a:pos x="59" y="15"/>
                        </a:cxn>
                        <a:cxn ang="0">
                          <a:pos x="41" y="6"/>
                        </a:cxn>
                        <a:cxn ang="0">
                          <a:pos x="44" y="22"/>
                        </a:cxn>
                        <a:cxn ang="0">
                          <a:pos x="31" y="40"/>
                        </a:cxn>
                        <a:cxn ang="0">
                          <a:pos x="0" y="39"/>
                        </a:cxn>
                        <a:cxn ang="0">
                          <a:pos x="0" y="48"/>
                        </a:cxn>
                        <a:cxn ang="0">
                          <a:pos x="0" y="69"/>
                        </a:cxn>
                        <a:cxn ang="0">
                          <a:pos x="14" y="90"/>
                        </a:cxn>
                        <a:cxn ang="0">
                          <a:pos x="27" y="90"/>
                        </a:cxn>
                        <a:cxn ang="0">
                          <a:pos x="34" y="110"/>
                        </a:cxn>
                        <a:cxn ang="0">
                          <a:pos x="34" y="131"/>
                        </a:cxn>
                        <a:cxn ang="0">
                          <a:pos x="55" y="124"/>
                        </a:cxn>
                        <a:cxn ang="0">
                          <a:pos x="62" y="110"/>
                        </a:cxn>
                        <a:cxn ang="0">
                          <a:pos x="71" y="110"/>
                        </a:cxn>
                        <a:cxn ang="0">
                          <a:pos x="90" y="110"/>
                        </a:cxn>
                        <a:cxn ang="0">
                          <a:pos x="90" y="97"/>
                        </a:cxn>
                        <a:cxn ang="0">
                          <a:pos x="102" y="97"/>
                        </a:cxn>
                        <a:cxn ang="0">
                          <a:pos x="101" y="88"/>
                        </a:cxn>
                        <a:cxn ang="0">
                          <a:pos x="111" y="64"/>
                        </a:cxn>
                      </a:cxnLst>
                      <a:rect l="0" t="0" r="r" b="b"/>
                      <a:pathLst>
                        <a:path w="114" h="131">
                          <a:moveTo>
                            <a:pt x="111" y="64"/>
                          </a:moveTo>
                          <a:cubicBezTo>
                            <a:pt x="109" y="55"/>
                            <a:pt x="103" y="52"/>
                            <a:pt x="97" y="52"/>
                          </a:cubicBezTo>
                          <a:cubicBezTo>
                            <a:pt x="90" y="51"/>
                            <a:pt x="73" y="20"/>
                            <a:pt x="59" y="15"/>
                          </a:cubicBezTo>
                          <a:cubicBezTo>
                            <a:pt x="46" y="10"/>
                            <a:pt x="46" y="0"/>
                            <a:pt x="41" y="6"/>
                          </a:cubicBezTo>
                          <a:cubicBezTo>
                            <a:pt x="35" y="12"/>
                            <a:pt x="50" y="20"/>
                            <a:pt x="44" y="22"/>
                          </a:cubicBezTo>
                          <a:cubicBezTo>
                            <a:pt x="38" y="25"/>
                            <a:pt x="35" y="36"/>
                            <a:pt x="31" y="40"/>
                          </a:cubicBezTo>
                          <a:cubicBezTo>
                            <a:pt x="23" y="47"/>
                            <a:pt x="11" y="44"/>
                            <a:pt x="0" y="39"/>
                          </a:cubicBezTo>
                          <a:cubicBezTo>
                            <a:pt x="0" y="48"/>
                            <a:pt x="0" y="48"/>
                            <a:pt x="0" y="48"/>
                          </a:cubicBezTo>
                          <a:cubicBezTo>
                            <a:pt x="0" y="69"/>
                            <a:pt x="0" y="69"/>
                            <a:pt x="0" y="69"/>
                          </a:cubicBezTo>
                          <a:cubicBezTo>
                            <a:pt x="14" y="90"/>
                            <a:pt x="14" y="90"/>
                            <a:pt x="14" y="90"/>
                          </a:cubicBezTo>
                          <a:cubicBezTo>
                            <a:pt x="27" y="90"/>
                            <a:pt x="27" y="90"/>
                            <a:pt x="27" y="90"/>
                          </a:cubicBezTo>
                          <a:cubicBezTo>
                            <a:pt x="34" y="110"/>
                            <a:pt x="34" y="110"/>
                            <a:pt x="34" y="110"/>
                          </a:cubicBezTo>
                          <a:cubicBezTo>
                            <a:pt x="34" y="131"/>
                            <a:pt x="34" y="131"/>
                            <a:pt x="34" y="131"/>
                          </a:cubicBezTo>
                          <a:cubicBezTo>
                            <a:pt x="55" y="124"/>
                            <a:pt x="55" y="124"/>
                            <a:pt x="55" y="124"/>
                          </a:cubicBezTo>
                          <a:cubicBezTo>
                            <a:pt x="62" y="110"/>
                            <a:pt x="62" y="110"/>
                            <a:pt x="62" y="110"/>
                          </a:cubicBezTo>
                          <a:cubicBezTo>
                            <a:pt x="71" y="110"/>
                            <a:pt x="71" y="110"/>
                            <a:pt x="71" y="110"/>
                          </a:cubicBezTo>
                          <a:cubicBezTo>
                            <a:pt x="90" y="110"/>
                            <a:pt x="90" y="110"/>
                            <a:pt x="90" y="110"/>
                          </a:cubicBezTo>
                          <a:cubicBezTo>
                            <a:pt x="90" y="97"/>
                            <a:pt x="90" y="97"/>
                            <a:pt x="90" y="97"/>
                          </a:cubicBezTo>
                          <a:cubicBezTo>
                            <a:pt x="102" y="97"/>
                            <a:pt x="102" y="97"/>
                            <a:pt x="102" y="97"/>
                          </a:cubicBezTo>
                          <a:cubicBezTo>
                            <a:pt x="101" y="93"/>
                            <a:pt x="101" y="90"/>
                            <a:pt x="101" y="88"/>
                          </a:cubicBezTo>
                          <a:cubicBezTo>
                            <a:pt x="101" y="78"/>
                            <a:pt x="114" y="74"/>
                            <a:pt x="111" y="64"/>
                          </a:cubicBez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40" name="Freeform 438">
                      <a:hlinkClick r:id="" action="ppaction://noaction"/>
                      <a:extLst>
                        <a:ext uri="{FF2B5EF4-FFF2-40B4-BE49-F238E27FC236}">
                          <a16:creationId xmlns:a16="http://schemas.microsoft.com/office/drawing/2014/main" id="{1BA03C39-E3A5-4E6E-8DB9-A1D0499D0B40}"/>
                        </a:ext>
                      </a:extLst>
                    </p:cNvPr>
                    <p:cNvSpPr>
                      <a:spLocks noEditPoints="1"/>
                    </p:cNvSpPr>
                    <p:nvPr/>
                  </p:nvSpPr>
                  <p:spPr bwMode="auto">
                    <a:xfrm>
                      <a:off x="3264427" y="4981575"/>
                      <a:ext cx="298450" cy="158750"/>
                    </a:xfrm>
                    <a:custGeom>
                      <a:avLst/>
                      <a:gdLst/>
                      <a:ahLst/>
                      <a:cxnLst>
                        <a:cxn ang="0">
                          <a:pos x="11" y="2"/>
                        </a:cxn>
                        <a:cxn ang="0">
                          <a:pos x="6" y="13"/>
                        </a:cxn>
                        <a:cxn ang="0">
                          <a:pos x="11" y="2"/>
                        </a:cxn>
                        <a:cxn ang="0">
                          <a:pos x="115" y="57"/>
                        </a:cxn>
                        <a:cxn ang="0">
                          <a:pos x="142" y="62"/>
                        </a:cxn>
                        <a:cxn ang="0">
                          <a:pos x="129" y="52"/>
                        </a:cxn>
                        <a:cxn ang="0">
                          <a:pos x="119" y="52"/>
                        </a:cxn>
                        <a:cxn ang="0">
                          <a:pos x="115" y="57"/>
                        </a:cxn>
                        <a:cxn ang="0">
                          <a:pos x="190" y="47"/>
                        </a:cxn>
                        <a:cxn ang="0">
                          <a:pos x="180" y="38"/>
                        </a:cxn>
                        <a:cxn ang="0">
                          <a:pos x="169" y="43"/>
                        </a:cxn>
                        <a:cxn ang="0">
                          <a:pos x="190" y="47"/>
                        </a:cxn>
                        <a:cxn ang="0">
                          <a:pos x="249" y="100"/>
                        </a:cxn>
                        <a:cxn ang="0">
                          <a:pos x="266" y="93"/>
                        </a:cxn>
                        <a:cxn ang="0">
                          <a:pos x="249" y="90"/>
                        </a:cxn>
                        <a:cxn ang="0">
                          <a:pos x="232" y="87"/>
                        </a:cxn>
                        <a:cxn ang="0">
                          <a:pos x="249" y="100"/>
                        </a:cxn>
                        <a:cxn ang="0">
                          <a:pos x="260" y="145"/>
                        </a:cxn>
                        <a:cxn ang="0">
                          <a:pos x="260" y="131"/>
                        </a:cxn>
                        <a:cxn ang="0">
                          <a:pos x="260" y="145"/>
                        </a:cxn>
                      </a:cxnLst>
                      <a:rect l="0" t="0" r="r" b="b"/>
                      <a:pathLst>
                        <a:path w="273" h="146">
                          <a:moveTo>
                            <a:pt x="11" y="2"/>
                          </a:moveTo>
                          <a:cubicBezTo>
                            <a:pt x="15" y="4"/>
                            <a:pt x="12" y="16"/>
                            <a:pt x="6" y="13"/>
                          </a:cubicBezTo>
                          <a:cubicBezTo>
                            <a:pt x="0" y="11"/>
                            <a:pt x="6" y="0"/>
                            <a:pt x="11" y="2"/>
                          </a:cubicBezTo>
                          <a:close/>
                          <a:moveTo>
                            <a:pt x="115" y="57"/>
                          </a:moveTo>
                          <a:cubicBezTo>
                            <a:pt x="121" y="68"/>
                            <a:pt x="142" y="62"/>
                            <a:pt x="142" y="62"/>
                          </a:cubicBezTo>
                          <a:cubicBezTo>
                            <a:pt x="129" y="52"/>
                            <a:pt x="129" y="52"/>
                            <a:pt x="129" y="52"/>
                          </a:cubicBezTo>
                          <a:cubicBezTo>
                            <a:pt x="119" y="52"/>
                            <a:pt x="119" y="52"/>
                            <a:pt x="119" y="52"/>
                          </a:cubicBezTo>
                          <a:lnTo>
                            <a:pt x="115" y="57"/>
                          </a:lnTo>
                          <a:close/>
                          <a:moveTo>
                            <a:pt x="190" y="47"/>
                          </a:moveTo>
                          <a:cubicBezTo>
                            <a:pt x="190" y="47"/>
                            <a:pt x="185" y="39"/>
                            <a:pt x="180" y="38"/>
                          </a:cubicBezTo>
                          <a:cubicBezTo>
                            <a:pt x="175" y="36"/>
                            <a:pt x="169" y="43"/>
                            <a:pt x="169" y="43"/>
                          </a:cubicBezTo>
                          <a:cubicBezTo>
                            <a:pt x="181" y="57"/>
                            <a:pt x="190" y="47"/>
                            <a:pt x="190" y="47"/>
                          </a:cubicBezTo>
                          <a:close/>
                          <a:moveTo>
                            <a:pt x="249" y="100"/>
                          </a:moveTo>
                          <a:cubicBezTo>
                            <a:pt x="256" y="101"/>
                            <a:pt x="267" y="100"/>
                            <a:pt x="266" y="93"/>
                          </a:cubicBezTo>
                          <a:cubicBezTo>
                            <a:pt x="265" y="86"/>
                            <a:pt x="253" y="90"/>
                            <a:pt x="249" y="90"/>
                          </a:cubicBezTo>
                          <a:cubicBezTo>
                            <a:pt x="245" y="91"/>
                            <a:pt x="232" y="87"/>
                            <a:pt x="232" y="87"/>
                          </a:cubicBezTo>
                          <a:cubicBezTo>
                            <a:pt x="226" y="96"/>
                            <a:pt x="241" y="99"/>
                            <a:pt x="249" y="100"/>
                          </a:cubicBezTo>
                          <a:close/>
                          <a:moveTo>
                            <a:pt x="260" y="145"/>
                          </a:moveTo>
                          <a:cubicBezTo>
                            <a:pt x="273" y="146"/>
                            <a:pt x="260" y="131"/>
                            <a:pt x="260" y="131"/>
                          </a:cubicBezTo>
                          <a:cubicBezTo>
                            <a:pt x="259" y="129"/>
                            <a:pt x="248" y="144"/>
                            <a:pt x="260" y="145"/>
                          </a:cubicBezTo>
                          <a:close/>
                        </a:path>
                      </a:pathLst>
                    </a:custGeom>
                    <a:grpFill/>
                    <a:ln w="3175" cap="flat" cmpd="sng">
                      <a:no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41" name="Freeform 441">
                      <a:hlinkClick r:id="" action="ppaction://noaction"/>
                      <a:extLst>
                        <a:ext uri="{FF2B5EF4-FFF2-40B4-BE49-F238E27FC236}">
                          <a16:creationId xmlns:a16="http://schemas.microsoft.com/office/drawing/2014/main" id="{2A605392-6B72-422C-A2E4-A822F83019EE}"/>
                        </a:ext>
                      </a:extLst>
                    </p:cNvPr>
                    <p:cNvSpPr>
                      <a:spLocks noEditPoints="1"/>
                    </p:cNvSpPr>
                    <p:nvPr/>
                  </p:nvSpPr>
                  <p:spPr bwMode="auto">
                    <a:xfrm>
                      <a:off x="3761315" y="5510213"/>
                      <a:ext cx="76200" cy="53975"/>
                    </a:xfrm>
                    <a:custGeom>
                      <a:avLst/>
                      <a:gdLst/>
                      <a:ahLst/>
                      <a:cxnLst>
                        <a:cxn ang="0">
                          <a:pos x="0" y="18"/>
                        </a:cxn>
                        <a:cxn ang="0">
                          <a:pos x="24" y="28"/>
                        </a:cxn>
                        <a:cxn ang="0">
                          <a:pos x="0" y="18"/>
                        </a:cxn>
                        <a:cxn ang="0">
                          <a:pos x="50" y="8"/>
                        </a:cxn>
                        <a:cxn ang="0">
                          <a:pos x="44" y="4"/>
                        </a:cxn>
                        <a:cxn ang="0">
                          <a:pos x="50" y="8"/>
                        </a:cxn>
                      </a:cxnLst>
                      <a:rect l="0" t="0" r="r" b="b"/>
                      <a:pathLst>
                        <a:path w="54" h="38">
                          <a:moveTo>
                            <a:pt x="0" y="18"/>
                          </a:moveTo>
                          <a:cubicBezTo>
                            <a:pt x="6" y="10"/>
                            <a:pt x="32" y="18"/>
                            <a:pt x="24" y="28"/>
                          </a:cubicBezTo>
                          <a:cubicBezTo>
                            <a:pt x="17" y="38"/>
                            <a:pt x="0" y="18"/>
                            <a:pt x="0" y="18"/>
                          </a:cubicBezTo>
                          <a:close/>
                          <a:moveTo>
                            <a:pt x="50" y="8"/>
                          </a:moveTo>
                          <a:cubicBezTo>
                            <a:pt x="54" y="4"/>
                            <a:pt x="48" y="0"/>
                            <a:pt x="44" y="4"/>
                          </a:cubicBezTo>
                          <a:cubicBezTo>
                            <a:pt x="40" y="7"/>
                            <a:pt x="46" y="12"/>
                            <a:pt x="50" y="8"/>
                          </a:cubicBezTo>
                          <a:close/>
                        </a:path>
                      </a:pathLst>
                    </a:custGeom>
                    <a:grpFill/>
                    <a:ln w="3175" cap="flat" cmpd="sng">
                      <a:no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Calibri" pitchFamily="34" charset="0"/>
                        <a:ea typeface="+mn-ea"/>
                        <a:cs typeface="Calibri" pitchFamily="34" charset="0"/>
                      </a:endParaRPr>
                    </a:p>
                  </p:txBody>
                </p:sp>
                <p:sp>
                  <p:nvSpPr>
                    <p:cNvPr id="242" name="Albania" descr="© INSCALE GmbH, 18.06.2010">
                      <a:extLst>
                        <a:ext uri="{FF2B5EF4-FFF2-40B4-BE49-F238E27FC236}">
                          <a16:creationId xmlns:a16="http://schemas.microsoft.com/office/drawing/2014/main" id="{2C7BC32A-C7AE-41B1-8329-8A686B3A2C77}"/>
                        </a:ext>
                      </a:extLst>
                    </p:cNvPr>
                    <p:cNvSpPr>
                      <a:spLocks/>
                    </p:cNvSpPr>
                    <p:nvPr/>
                  </p:nvSpPr>
                  <p:spPr bwMode="auto">
                    <a:xfrm>
                      <a:off x="6266390" y="4686300"/>
                      <a:ext cx="152400" cy="261938"/>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grpSp>
              <p:sp>
                <p:nvSpPr>
                  <p:cNvPr id="199" name="Freeform 18">
                    <a:extLst>
                      <a:ext uri="{FF2B5EF4-FFF2-40B4-BE49-F238E27FC236}">
                        <a16:creationId xmlns:a16="http://schemas.microsoft.com/office/drawing/2014/main" id="{9E1863CD-A0A8-41E9-9B95-09260129126B}"/>
                      </a:ext>
                    </a:extLst>
                  </p:cNvPr>
                  <p:cNvSpPr>
                    <a:spLocks/>
                  </p:cNvSpPr>
                  <p:nvPr/>
                </p:nvSpPr>
                <p:spPr bwMode="auto">
                  <a:xfrm>
                    <a:off x="3515904" y="2501899"/>
                    <a:ext cx="2140183" cy="2308225"/>
                  </a:xfrm>
                  <a:custGeom>
                    <a:avLst/>
                    <a:gdLst/>
                    <a:ahLst/>
                    <a:cxnLst>
                      <a:cxn ang="0">
                        <a:pos x="245" y="173"/>
                      </a:cxn>
                      <a:cxn ang="0">
                        <a:pos x="243" y="72"/>
                      </a:cxn>
                      <a:cxn ang="0">
                        <a:pos x="314" y="12"/>
                      </a:cxn>
                      <a:cxn ang="0">
                        <a:pos x="284" y="5"/>
                      </a:cxn>
                      <a:cxn ang="0">
                        <a:pos x="273" y="17"/>
                      </a:cxn>
                      <a:cxn ang="0">
                        <a:pos x="256" y="14"/>
                      </a:cxn>
                      <a:cxn ang="0">
                        <a:pos x="216" y="22"/>
                      </a:cxn>
                      <a:cxn ang="0">
                        <a:pos x="204" y="21"/>
                      </a:cxn>
                      <a:cxn ang="0">
                        <a:pos x="170" y="29"/>
                      </a:cxn>
                      <a:cxn ang="0">
                        <a:pos x="148" y="25"/>
                      </a:cxn>
                      <a:cxn ang="0">
                        <a:pos x="134" y="19"/>
                      </a:cxn>
                      <a:cxn ang="0">
                        <a:pos x="143" y="37"/>
                      </a:cxn>
                      <a:cxn ang="0">
                        <a:pos x="109" y="50"/>
                      </a:cxn>
                      <a:cxn ang="0">
                        <a:pos x="116" y="66"/>
                      </a:cxn>
                      <a:cxn ang="0">
                        <a:pos x="90" y="61"/>
                      </a:cxn>
                      <a:cxn ang="0">
                        <a:pos x="90" y="67"/>
                      </a:cxn>
                      <a:cxn ang="0">
                        <a:pos x="63" y="67"/>
                      </a:cxn>
                      <a:cxn ang="0">
                        <a:pos x="41" y="40"/>
                      </a:cxn>
                      <a:cxn ang="0">
                        <a:pos x="59" y="41"/>
                      </a:cxn>
                      <a:cxn ang="0">
                        <a:pos x="116" y="38"/>
                      </a:cxn>
                      <a:cxn ang="0">
                        <a:pos x="38" y="8"/>
                      </a:cxn>
                      <a:cxn ang="0">
                        <a:pos x="24" y="2"/>
                      </a:cxn>
                      <a:cxn ang="0">
                        <a:pos x="1" y="14"/>
                      </a:cxn>
                      <a:cxn ang="0">
                        <a:pos x="15" y="30"/>
                      </a:cxn>
                      <a:cxn ang="0">
                        <a:pos x="13" y="43"/>
                      </a:cxn>
                      <a:cxn ang="0">
                        <a:pos x="17" y="58"/>
                      </a:cxn>
                      <a:cxn ang="0">
                        <a:pos x="27" y="69"/>
                      </a:cxn>
                      <a:cxn ang="0">
                        <a:pos x="29" y="96"/>
                      </a:cxn>
                      <a:cxn ang="0">
                        <a:pos x="30" y="120"/>
                      </a:cxn>
                      <a:cxn ang="0">
                        <a:pos x="9" y="132"/>
                      </a:cxn>
                      <a:cxn ang="0">
                        <a:pos x="11" y="152"/>
                      </a:cxn>
                      <a:cxn ang="0">
                        <a:pos x="22" y="168"/>
                      </a:cxn>
                      <a:cxn ang="0">
                        <a:pos x="45" y="177"/>
                      </a:cxn>
                      <a:cxn ang="0">
                        <a:pos x="63" y="198"/>
                      </a:cxn>
                      <a:cxn ang="0">
                        <a:pos x="57" y="205"/>
                      </a:cxn>
                      <a:cxn ang="0">
                        <a:pos x="65" y="217"/>
                      </a:cxn>
                      <a:cxn ang="0">
                        <a:pos x="84" y="224"/>
                      </a:cxn>
                      <a:cxn ang="0">
                        <a:pos x="117" y="242"/>
                      </a:cxn>
                      <a:cxn ang="0">
                        <a:pos x="141" y="248"/>
                      </a:cxn>
                      <a:cxn ang="0">
                        <a:pos x="151" y="261"/>
                      </a:cxn>
                      <a:cxn ang="0">
                        <a:pos x="145" y="274"/>
                      </a:cxn>
                      <a:cxn ang="0">
                        <a:pos x="145" y="282"/>
                      </a:cxn>
                      <a:cxn ang="0">
                        <a:pos x="134" y="299"/>
                      </a:cxn>
                      <a:cxn ang="0">
                        <a:pos x="124" y="311"/>
                      </a:cxn>
                      <a:cxn ang="0">
                        <a:pos x="145" y="321"/>
                      </a:cxn>
                      <a:cxn ang="0">
                        <a:pos x="169" y="331"/>
                      </a:cxn>
                      <a:cxn ang="0">
                        <a:pos x="207" y="343"/>
                      </a:cxn>
                      <a:cxn ang="0">
                        <a:pos x="226" y="349"/>
                      </a:cxn>
                      <a:cxn ang="0">
                        <a:pos x="250" y="362"/>
                      </a:cxn>
                      <a:cxn ang="0">
                        <a:pos x="248" y="345"/>
                      </a:cxn>
                      <a:cxn ang="0">
                        <a:pos x="239" y="325"/>
                      </a:cxn>
                      <a:cxn ang="0">
                        <a:pos x="237" y="306"/>
                      </a:cxn>
                      <a:cxn ang="0">
                        <a:pos x="251" y="294"/>
                      </a:cxn>
                      <a:cxn ang="0">
                        <a:pos x="234" y="276"/>
                      </a:cxn>
                      <a:cxn ang="0">
                        <a:pos x="220" y="254"/>
                      </a:cxn>
                      <a:cxn ang="0">
                        <a:pos x="232" y="246"/>
                      </a:cxn>
                      <a:cxn ang="0">
                        <a:pos x="244" y="232"/>
                      </a:cxn>
                      <a:cxn ang="0">
                        <a:pos x="258" y="227"/>
                      </a:cxn>
                      <a:cxn ang="0">
                        <a:pos x="286" y="231"/>
                      </a:cxn>
                    </a:cxnLst>
                    <a:rect l="0" t="0" r="r" b="b"/>
                    <a:pathLst>
                      <a:path w="334" h="362">
                        <a:moveTo>
                          <a:pt x="287" y="223"/>
                        </a:moveTo>
                        <a:cubicBezTo>
                          <a:pt x="287" y="213"/>
                          <a:pt x="287" y="213"/>
                          <a:pt x="287" y="213"/>
                        </a:cubicBezTo>
                        <a:cubicBezTo>
                          <a:pt x="284" y="205"/>
                          <a:pt x="284" y="205"/>
                          <a:pt x="284" y="205"/>
                        </a:cubicBezTo>
                        <a:cubicBezTo>
                          <a:pt x="285" y="198"/>
                          <a:pt x="285" y="198"/>
                          <a:pt x="285" y="198"/>
                        </a:cubicBezTo>
                        <a:cubicBezTo>
                          <a:pt x="283" y="194"/>
                          <a:pt x="283" y="194"/>
                          <a:pt x="283" y="194"/>
                        </a:cubicBezTo>
                        <a:cubicBezTo>
                          <a:pt x="283" y="194"/>
                          <a:pt x="283" y="197"/>
                          <a:pt x="279" y="198"/>
                        </a:cubicBezTo>
                        <a:cubicBezTo>
                          <a:pt x="275" y="199"/>
                          <a:pt x="278" y="200"/>
                          <a:pt x="272" y="197"/>
                        </a:cubicBezTo>
                        <a:cubicBezTo>
                          <a:pt x="266" y="195"/>
                          <a:pt x="264" y="197"/>
                          <a:pt x="261" y="196"/>
                        </a:cubicBezTo>
                        <a:cubicBezTo>
                          <a:pt x="258" y="196"/>
                          <a:pt x="251" y="193"/>
                          <a:pt x="251" y="193"/>
                        </a:cubicBezTo>
                        <a:cubicBezTo>
                          <a:pt x="246" y="180"/>
                          <a:pt x="246" y="180"/>
                          <a:pt x="246" y="180"/>
                        </a:cubicBezTo>
                        <a:cubicBezTo>
                          <a:pt x="245" y="173"/>
                          <a:pt x="245" y="173"/>
                          <a:pt x="245" y="173"/>
                        </a:cubicBezTo>
                        <a:cubicBezTo>
                          <a:pt x="257" y="175"/>
                          <a:pt x="257" y="175"/>
                          <a:pt x="257" y="175"/>
                        </a:cubicBezTo>
                        <a:cubicBezTo>
                          <a:pt x="257" y="175"/>
                          <a:pt x="262" y="172"/>
                          <a:pt x="261" y="169"/>
                        </a:cubicBezTo>
                        <a:cubicBezTo>
                          <a:pt x="259" y="166"/>
                          <a:pt x="263" y="163"/>
                          <a:pt x="266" y="161"/>
                        </a:cubicBezTo>
                        <a:cubicBezTo>
                          <a:pt x="269" y="159"/>
                          <a:pt x="272" y="160"/>
                          <a:pt x="268" y="154"/>
                        </a:cubicBezTo>
                        <a:cubicBezTo>
                          <a:pt x="265" y="148"/>
                          <a:pt x="260" y="150"/>
                          <a:pt x="257" y="149"/>
                        </a:cubicBezTo>
                        <a:cubicBezTo>
                          <a:pt x="254" y="148"/>
                          <a:pt x="255" y="143"/>
                          <a:pt x="255" y="139"/>
                        </a:cubicBezTo>
                        <a:cubicBezTo>
                          <a:pt x="255" y="135"/>
                          <a:pt x="253" y="131"/>
                          <a:pt x="250" y="128"/>
                        </a:cubicBezTo>
                        <a:cubicBezTo>
                          <a:pt x="247" y="125"/>
                          <a:pt x="241" y="114"/>
                          <a:pt x="241" y="110"/>
                        </a:cubicBezTo>
                        <a:cubicBezTo>
                          <a:pt x="241" y="106"/>
                          <a:pt x="233" y="96"/>
                          <a:pt x="233" y="96"/>
                        </a:cubicBezTo>
                        <a:cubicBezTo>
                          <a:pt x="234" y="85"/>
                          <a:pt x="234" y="85"/>
                          <a:pt x="234" y="85"/>
                        </a:cubicBezTo>
                        <a:cubicBezTo>
                          <a:pt x="234" y="85"/>
                          <a:pt x="240" y="75"/>
                          <a:pt x="243" y="72"/>
                        </a:cubicBezTo>
                        <a:cubicBezTo>
                          <a:pt x="246" y="69"/>
                          <a:pt x="257" y="67"/>
                          <a:pt x="261" y="64"/>
                        </a:cubicBezTo>
                        <a:cubicBezTo>
                          <a:pt x="264" y="61"/>
                          <a:pt x="268" y="64"/>
                          <a:pt x="278" y="63"/>
                        </a:cubicBezTo>
                        <a:cubicBezTo>
                          <a:pt x="288" y="62"/>
                          <a:pt x="280" y="60"/>
                          <a:pt x="282" y="55"/>
                        </a:cubicBezTo>
                        <a:cubicBezTo>
                          <a:pt x="284" y="49"/>
                          <a:pt x="288" y="47"/>
                          <a:pt x="292" y="44"/>
                        </a:cubicBezTo>
                        <a:cubicBezTo>
                          <a:pt x="296" y="41"/>
                          <a:pt x="308" y="40"/>
                          <a:pt x="308" y="40"/>
                        </a:cubicBezTo>
                        <a:cubicBezTo>
                          <a:pt x="308" y="40"/>
                          <a:pt x="313" y="37"/>
                          <a:pt x="317" y="31"/>
                        </a:cubicBezTo>
                        <a:cubicBezTo>
                          <a:pt x="320" y="25"/>
                          <a:pt x="316" y="24"/>
                          <a:pt x="320" y="22"/>
                        </a:cubicBezTo>
                        <a:cubicBezTo>
                          <a:pt x="322" y="22"/>
                          <a:pt x="328" y="18"/>
                          <a:pt x="334" y="16"/>
                        </a:cubicBezTo>
                        <a:cubicBezTo>
                          <a:pt x="328" y="14"/>
                          <a:pt x="328" y="14"/>
                          <a:pt x="328" y="14"/>
                        </a:cubicBezTo>
                        <a:cubicBezTo>
                          <a:pt x="324" y="12"/>
                          <a:pt x="324" y="12"/>
                          <a:pt x="324" y="12"/>
                        </a:cubicBezTo>
                        <a:cubicBezTo>
                          <a:pt x="314" y="12"/>
                          <a:pt x="314" y="12"/>
                          <a:pt x="314" y="12"/>
                        </a:cubicBezTo>
                        <a:cubicBezTo>
                          <a:pt x="311" y="9"/>
                          <a:pt x="311" y="9"/>
                          <a:pt x="311" y="9"/>
                        </a:cubicBezTo>
                        <a:cubicBezTo>
                          <a:pt x="310" y="12"/>
                          <a:pt x="310" y="12"/>
                          <a:pt x="310" y="12"/>
                        </a:cubicBezTo>
                        <a:cubicBezTo>
                          <a:pt x="306" y="8"/>
                          <a:pt x="306" y="8"/>
                          <a:pt x="306" y="8"/>
                        </a:cubicBezTo>
                        <a:cubicBezTo>
                          <a:pt x="305" y="8"/>
                          <a:pt x="305" y="8"/>
                          <a:pt x="305" y="8"/>
                        </a:cubicBezTo>
                        <a:cubicBezTo>
                          <a:pt x="304" y="7"/>
                          <a:pt x="304" y="7"/>
                          <a:pt x="304" y="7"/>
                        </a:cubicBezTo>
                        <a:cubicBezTo>
                          <a:pt x="302" y="6"/>
                          <a:pt x="302" y="6"/>
                          <a:pt x="302" y="6"/>
                        </a:cubicBezTo>
                        <a:cubicBezTo>
                          <a:pt x="299" y="6"/>
                          <a:pt x="299" y="6"/>
                          <a:pt x="299" y="6"/>
                        </a:cubicBezTo>
                        <a:cubicBezTo>
                          <a:pt x="295" y="4"/>
                          <a:pt x="295" y="4"/>
                          <a:pt x="295" y="4"/>
                        </a:cubicBezTo>
                        <a:cubicBezTo>
                          <a:pt x="291" y="4"/>
                          <a:pt x="291" y="4"/>
                          <a:pt x="291" y="4"/>
                        </a:cubicBezTo>
                        <a:cubicBezTo>
                          <a:pt x="289" y="5"/>
                          <a:pt x="289" y="5"/>
                          <a:pt x="289" y="5"/>
                        </a:cubicBezTo>
                        <a:cubicBezTo>
                          <a:pt x="284" y="5"/>
                          <a:pt x="284" y="5"/>
                          <a:pt x="284" y="5"/>
                        </a:cubicBezTo>
                        <a:cubicBezTo>
                          <a:pt x="282" y="4"/>
                          <a:pt x="282" y="4"/>
                          <a:pt x="282" y="4"/>
                        </a:cubicBezTo>
                        <a:cubicBezTo>
                          <a:pt x="273" y="4"/>
                          <a:pt x="273" y="4"/>
                          <a:pt x="273" y="4"/>
                        </a:cubicBezTo>
                        <a:cubicBezTo>
                          <a:pt x="272" y="5"/>
                          <a:pt x="272" y="5"/>
                          <a:pt x="272" y="5"/>
                        </a:cubicBezTo>
                        <a:cubicBezTo>
                          <a:pt x="271" y="5"/>
                          <a:pt x="271" y="5"/>
                          <a:pt x="271" y="5"/>
                        </a:cubicBezTo>
                        <a:cubicBezTo>
                          <a:pt x="270" y="6"/>
                          <a:pt x="270" y="6"/>
                          <a:pt x="270" y="6"/>
                        </a:cubicBezTo>
                        <a:cubicBezTo>
                          <a:pt x="270" y="7"/>
                          <a:pt x="270" y="7"/>
                          <a:pt x="270" y="7"/>
                        </a:cubicBezTo>
                        <a:cubicBezTo>
                          <a:pt x="272" y="9"/>
                          <a:pt x="272" y="9"/>
                          <a:pt x="272" y="9"/>
                        </a:cubicBezTo>
                        <a:cubicBezTo>
                          <a:pt x="274" y="10"/>
                          <a:pt x="274" y="10"/>
                          <a:pt x="274" y="10"/>
                        </a:cubicBezTo>
                        <a:cubicBezTo>
                          <a:pt x="276" y="12"/>
                          <a:pt x="276" y="12"/>
                          <a:pt x="276" y="12"/>
                        </a:cubicBezTo>
                        <a:cubicBezTo>
                          <a:pt x="277" y="12"/>
                          <a:pt x="277" y="12"/>
                          <a:pt x="277" y="12"/>
                        </a:cubicBezTo>
                        <a:cubicBezTo>
                          <a:pt x="273" y="17"/>
                          <a:pt x="273" y="17"/>
                          <a:pt x="273" y="17"/>
                        </a:cubicBezTo>
                        <a:cubicBezTo>
                          <a:pt x="271" y="15"/>
                          <a:pt x="271" y="15"/>
                          <a:pt x="271" y="15"/>
                        </a:cubicBezTo>
                        <a:cubicBezTo>
                          <a:pt x="271" y="20"/>
                          <a:pt x="271" y="20"/>
                          <a:pt x="271" y="20"/>
                        </a:cubicBezTo>
                        <a:cubicBezTo>
                          <a:pt x="269" y="20"/>
                          <a:pt x="269" y="20"/>
                          <a:pt x="269" y="20"/>
                        </a:cubicBezTo>
                        <a:cubicBezTo>
                          <a:pt x="267" y="19"/>
                          <a:pt x="267" y="19"/>
                          <a:pt x="267" y="19"/>
                        </a:cubicBezTo>
                        <a:cubicBezTo>
                          <a:pt x="266" y="19"/>
                          <a:pt x="266" y="19"/>
                          <a:pt x="266" y="19"/>
                        </a:cubicBezTo>
                        <a:cubicBezTo>
                          <a:pt x="265" y="18"/>
                          <a:pt x="265" y="18"/>
                          <a:pt x="265" y="18"/>
                        </a:cubicBezTo>
                        <a:cubicBezTo>
                          <a:pt x="265" y="13"/>
                          <a:pt x="265" y="13"/>
                          <a:pt x="265" y="13"/>
                        </a:cubicBezTo>
                        <a:cubicBezTo>
                          <a:pt x="264" y="12"/>
                          <a:pt x="264" y="12"/>
                          <a:pt x="264" y="12"/>
                        </a:cubicBezTo>
                        <a:cubicBezTo>
                          <a:pt x="261" y="12"/>
                          <a:pt x="261" y="12"/>
                          <a:pt x="261" y="12"/>
                        </a:cubicBezTo>
                        <a:cubicBezTo>
                          <a:pt x="259" y="13"/>
                          <a:pt x="259" y="13"/>
                          <a:pt x="259" y="13"/>
                        </a:cubicBezTo>
                        <a:cubicBezTo>
                          <a:pt x="256" y="14"/>
                          <a:pt x="256" y="14"/>
                          <a:pt x="256" y="14"/>
                        </a:cubicBezTo>
                        <a:cubicBezTo>
                          <a:pt x="254" y="16"/>
                          <a:pt x="254" y="16"/>
                          <a:pt x="254" y="16"/>
                        </a:cubicBezTo>
                        <a:cubicBezTo>
                          <a:pt x="250" y="18"/>
                          <a:pt x="250" y="18"/>
                          <a:pt x="250" y="18"/>
                        </a:cubicBezTo>
                        <a:cubicBezTo>
                          <a:pt x="247" y="18"/>
                          <a:pt x="247" y="18"/>
                          <a:pt x="247" y="18"/>
                        </a:cubicBezTo>
                        <a:cubicBezTo>
                          <a:pt x="243" y="16"/>
                          <a:pt x="243" y="16"/>
                          <a:pt x="243" y="16"/>
                        </a:cubicBezTo>
                        <a:cubicBezTo>
                          <a:pt x="240" y="16"/>
                          <a:pt x="240" y="16"/>
                          <a:pt x="240" y="16"/>
                        </a:cubicBezTo>
                        <a:cubicBezTo>
                          <a:pt x="236" y="17"/>
                          <a:pt x="236" y="17"/>
                          <a:pt x="236" y="17"/>
                        </a:cubicBezTo>
                        <a:cubicBezTo>
                          <a:pt x="233" y="18"/>
                          <a:pt x="233" y="18"/>
                          <a:pt x="233" y="18"/>
                        </a:cubicBezTo>
                        <a:cubicBezTo>
                          <a:pt x="230" y="20"/>
                          <a:pt x="230" y="20"/>
                          <a:pt x="230" y="20"/>
                        </a:cubicBezTo>
                        <a:cubicBezTo>
                          <a:pt x="228" y="21"/>
                          <a:pt x="228" y="21"/>
                          <a:pt x="228" y="21"/>
                        </a:cubicBezTo>
                        <a:cubicBezTo>
                          <a:pt x="227" y="22"/>
                          <a:pt x="227" y="22"/>
                          <a:pt x="227" y="22"/>
                        </a:cubicBezTo>
                        <a:cubicBezTo>
                          <a:pt x="216" y="22"/>
                          <a:pt x="216" y="22"/>
                          <a:pt x="216" y="22"/>
                        </a:cubicBezTo>
                        <a:cubicBezTo>
                          <a:pt x="218" y="18"/>
                          <a:pt x="218" y="18"/>
                          <a:pt x="218" y="18"/>
                        </a:cubicBezTo>
                        <a:cubicBezTo>
                          <a:pt x="218" y="12"/>
                          <a:pt x="218" y="12"/>
                          <a:pt x="218" y="12"/>
                        </a:cubicBezTo>
                        <a:cubicBezTo>
                          <a:pt x="216" y="12"/>
                          <a:pt x="216" y="12"/>
                          <a:pt x="216" y="12"/>
                        </a:cubicBezTo>
                        <a:cubicBezTo>
                          <a:pt x="214" y="13"/>
                          <a:pt x="214" y="13"/>
                          <a:pt x="214" y="13"/>
                        </a:cubicBezTo>
                        <a:cubicBezTo>
                          <a:pt x="211" y="14"/>
                          <a:pt x="211" y="14"/>
                          <a:pt x="211" y="14"/>
                        </a:cubicBezTo>
                        <a:cubicBezTo>
                          <a:pt x="209" y="14"/>
                          <a:pt x="209" y="14"/>
                          <a:pt x="209" y="14"/>
                        </a:cubicBezTo>
                        <a:cubicBezTo>
                          <a:pt x="207" y="16"/>
                          <a:pt x="207" y="16"/>
                          <a:pt x="207" y="16"/>
                        </a:cubicBezTo>
                        <a:cubicBezTo>
                          <a:pt x="207" y="18"/>
                          <a:pt x="207" y="18"/>
                          <a:pt x="207" y="18"/>
                        </a:cubicBezTo>
                        <a:cubicBezTo>
                          <a:pt x="208" y="19"/>
                          <a:pt x="208" y="19"/>
                          <a:pt x="208" y="19"/>
                        </a:cubicBezTo>
                        <a:cubicBezTo>
                          <a:pt x="208" y="20"/>
                          <a:pt x="208" y="20"/>
                          <a:pt x="208" y="20"/>
                        </a:cubicBezTo>
                        <a:cubicBezTo>
                          <a:pt x="204" y="21"/>
                          <a:pt x="204" y="21"/>
                          <a:pt x="204" y="21"/>
                        </a:cubicBezTo>
                        <a:cubicBezTo>
                          <a:pt x="204" y="17"/>
                          <a:pt x="204" y="17"/>
                          <a:pt x="204" y="17"/>
                        </a:cubicBezTo>
                        <a:cubicBezTo>
                          <a:pt x="200" y="18"/>
                          <a:pt x="200" y="18"/>
                          <a:pt x="200" y="18"/>
                        </a:cubicBezTo>
                        <a:cubicBezTo>
                          <a:pt x="191" y="19"/>
                          <a:pt x="191" y="19"/>
                          <a:pt x="191" y="19"/>
                        </a:cubicBezTo>
                        <a:cubicBezTo>
                          <a:pt x="184" y="24"/>
                          <a:pt x="184" y="24"/>
                          <a:pt x="184" y="24"/>
                        </a:cubicBezTo>
                        <a:cubicBezTo>
                          <a:pt x="176" y="25"/>
                          <a:pt x="176" y="25"/>
                          <a:pt x="176" y="25"/>
                        </a:cubicBezTo>
                        <a:cubicBezTo>
                          <a:pt x="178" y="28"/>
                          <a:pt x="178" y="28"/>
                          <a:pt x="178" y="28"/>
                        </a:cubicBezTo>
                        <a:cubicBezTo>
                          <a:pt x="176" y="28"/>
                          <a:pt x="176" y="28"/>
                          <a:pt x="176" y="28"/>
                        </a:cubicBezTo>
                        <a:cubicBezTo>
                          <a:pt x="174" y="27"/>
                          <a:pt x="174" y="27"/>
                          <a:pt x="174" y="27"/>
                        </a:cubicBezTo>
                        <a:cubicBezTo>
                          <a:pt x="173" y="27"/>
                          <a:pt x="173" y="27"/>
                          <a:pt x="173" y="27"/>
                        </a:cubicBezTo>
                        <a:cubicBezTo>
                          <a:pt x="171" y="28"/>
                          <a:pt x="171" y="28"/>
                          <a:pt x="171" y="28"/>
                        </a:cubicBezTo>
                        <a:cubicBezTo>
                          <a:pt x="170" y="29"/>
                          <a:pt x="170" y="29"/>
                          <a:pt x="170" y="29"/>
                        </a:cubicBezTo>
                        <a:cubicBezTo>
                          <a:pt x="170" y="36"/>
                          <a:pt x="170" y="36"/>
                          <a:pt x="170" y="36"/>
                        </a:cubicBezTo>
                        <a:cubicBezTo>
                          <a:pt x="158" y="37"/>
                          <a:pt x="158" y="37"/>
                          <a:pt x="158" y="37"/>
                        </a:cubicBezTo>
                        <a:cubicBezTo>
                          <a:pt x="157" y="36"/>
                          <a:pt x="157" y="36"/>
                          <a:pt x="157" y="36"/>
                        </a:cubicBezTo>
                        <a:cubicBezTo>
                          <a:pt x="155" y="35"/>
                          <a:pt x="155" y="35"/>
                          <a:pt x="155" y="35"/>
                        </a:cubicBezTo>
                        <a:cubicBezTo>
                          <a:pt x="154" y="34"/>
                          <a:pt x="154" y="34"/>
                          <a:pt x="154" y="34"/>
                        </a:cubicBezTo>
                        <a:cubicBezTo>
                          <a:pt x="147" y="34"/>
                          <a:pt x="147" y="34"/>
                          <a:pt x="147" y="34"/>
                        </a:cubicBezTo>
                        <a:cubicBezTo>
                          <a:pt x="146" y="33"/>
                          <a:pt x="146" y="33"/>
                          <a:pt x="146" y="33"/>
                        </a:cubicBezTo>
                        <a:cubicBezTo>
                          <a:pt x="146" y="28"/>
                          <a:pt x="146" y="28"/>
                          <a:pt x="146" y="28"/>
                        </a:cubicBezTo>
                        <a:cubicBezTo>
                          <a:pt x="147" y="27"/>
                          <a:pt x="147" y="27"/>
                          <a:pt x="147" y="27"/>
                        </a:cubicBezTo>
                        <a:cubicBezTo>
                          <a:pt x="147" y="26"/>
                          <a:pt x="147" y="26"/>
                          <a:pt x="147" y="26"/>
                        </a:cubicBezTo>
                        <a:cubicBezTo>
                          <a:pt x="148" y="25"/>
                          <a:pt x="148" y="25"/>
                          <a:pt x="148" y="25"/>
                        </a:cubicBezTo>
                        <a:cubicBezTo>
                          <a:pt x="150" y="26"/>
                          <a:pt x="150" y="26"/>
                          <a:pt x="150" y="26"/>
                        </a:cubicBezTo>
                        <a:cubicBezTo>
                          <a:pt x="160" y="26"/>
                          <a:pt x="160" y="26"/>
                          <a:pt x="160" y="26"/>
                        </a:cubicBezTo>
                        <a:cubicBezTo>
                          <a:pt x="158" y="25"/>
                          <a:pt x="158" y="25"/>
                          <a:pt x="158" y="25"/>
                        </a:cubicBezTo>
                        <a:cubicBezTo>
                          <a:pt x="157" y="23"/>
                          <a:pt x="157" y="23"/>
                          <a:pt x="157" y="23"/>
                        </a:cubicBezTo>
                        <a:cubicBezTo>
                          <a:pt x="155" y="22"/>
                          <a:pt x="155" y="22"/>
                          <a:pt x="155" y="22"/>
                        </a:cubicBezTo>
                        <a:cubicBezTo>
                          <a:pt x="153" y="20"/>
                          <a:pt x="153" y="20"/>
                          <a:pt x="153" y="20"/>
                        </a:cubicBezTo>
                        <a:cubicBezTo>
                          <a:pt x="151" y="19"/>
                          <a:pt x="151" y="19"/>
                          <a:pt x="151" y="19"/>
                        </a:cubicBezTo>
                        <a:cubicBezTo>
                          <a:pt x="149" y="17"/>
                          <a:pt x="149" y="17"/>
                          <a:pt x="149" y="17"/>
                        </a:cubicBezTo>
                        <a:cubicBezTo>
                          <a:pt x="128" y="17"/>
                          <a:pt x="128" y="17"/>
                          <a:pt x="128" y="17"/>
                        </a:cubicBezTo>
                        <a:cubicBezTo>
                          <a:pt x="130" y="19"/>
                          <a:pt x="130" y="19"/>
                          <a:pt x="130" y="19"/>
                        </a:cubicBezTo>
                        <a:cubicBezTo>
                          <a:pt x="134" y="19"/>
                          <a:pt x="134" y="19"/>
                          <a:pt x="134" y="19"/>
                        </a:cubicBezTo>
                        <a:cubicBezTo>
                          <a:pt x="136" y="20"/>
                          <a:pt x="136" y="20"/>
                          <a:pt x="136" y="20"/>
                        </a:cubicBezTo>
                        <a:cubicBezTo>
                          <a:pt x="136" y="23"/>
                          <a:pt x="136" y="23"/>
                          <a:pt x="136" y="23"/>
                        </a:cubicBezTo>
                        <a:cubicBezTo>
                          <a:pt x="135" y="26"/>
                          <a:pt x="135" y="26"/>
                          <a:pt x="135" y="26"/>
                        </a:cubicBezTo>
                        <a:cubicBezTo>
                          <a:pt x="135" y="28"/>
                          <a:pt x="135" y="28"/>
                          <a:pt x="135" y="28"/>
                        </a:cubicBezTo>
                        <a:cubicBezTo>
                          <a:pt x="134" y="31"/>
                          <a:pt x="134" y="31"/>
                          <a:pt x="134" y="31"/>
                        </a:cubicBezTo>
                        <a:cubicBezTo>
                          <a:pt x="134" y="35"/>
                          <a:pt x="134" y="35"/>
                          <a:pt x="134" y="35"/>
                        </a:cubicBezTo>
                        <a:cubicBezTo>
                          <a:pt x="135" y="35"/>
                          <a:pt x="135" y="35"/>
                          <a:pt x="135" y="35"/>
                        </a:cubicBezTo>
                        <a:cubicBezTo>
                          <a:pt x="137" y="36"/>
                          <a:pt x="137" y="36"/>
                          <a:pt x="137" y="36"/>
                        </a:cubicBezTo>
                        <a:cubicBezTo>
                          <a:pt x="141" y="36"/>
                          <a:pt x="141" y="36"/>
                          <a:pt x="141" y="36"/>
                        </a:cubicBezTo>
                        <a:cubicBezTo>
                          <a:pt x="142" y="37"/>
                          <a:pt x="142" y="37"/>
                          <a:pt x="142" y="37"/>
                        </a:cubicBezTo>
                        <a:cubicBezTo>
                          <a:pt x="143" y="37"/>
                          <a:pt x="143" y="37"/>
                          <a:pt x="143" y="37"/>
                        </a:cubicBezTo>
                        <a:cubicBezTo>
                          <a:pt x="142" y="43"/>
                          <a:pt x="142" y="43"/>
                          <a:pt x="142" y="43"/>
                        </a:cubicBezTo>
                        <a:cubicBezTo>
                          <a:pt x="144" y="48"/>
                          <a:pt x="144" y="48"/>
                          <a:pt x="144" y="48"/>
                        </a:cubicBezTo>
                        <a:cubicBezTo>
                          <a:pt x="138" y="44"/>
                          <a:pt x="138" y="44"/>
                          <a:pt x="138" y="44"/>
                        </a:cubicBezTo>
                        <a:cubicBezTo>
                          <a:pt x="135" y="48"/>
                          <a:pt x="135" y="48"/>
                          <a:pt x="135" y="48"/>
                        </a:cubicBezTo>
                        <a:cubicBezTo>
                          <a:pt x="134" y="43"/>
                          <a:pt x="134" y="43"/>
                          <a:pt x="134" y="43"/>
                        </a:cubicBezTo>
                        <a:cubicBezTo>
                          <a:pt x="122" y="40"/>
                          <a:pt x="122" y="40"/>
                          <a:pt x="122" y="40"/>
                        </a:cubicBezTo>
                        <a:cubicBezTo>
                          <a:pt x="117" y="46"/>
                          <a:pt x="117" y="46"/>
                          <a:pt x="117" y="46"/>
                        </a:cubicBezTo>
                        <a:cubicBezTo>
                          <a:pt x="113" y="46"/>
                          <a:pt x="113" y="46"/>
                          <a:pt x="113" y="46"/>
                        </a:cubicBezTo>
                        <a:cubicBezTo>
                          <a:pt x="112" y="48"/>
                          <a:pt x="112" y="48"/>
                          <a:pt x="112" y="48"/>
                        </a:cubicBezTo>
                        <a:cubicBezTo>
                          <a:pt x="110" y="49"/>
                          <a:pt x="110" y="49"/>
                          <a:pt x="110" y="49"/>
                        </a:cubicBezTo>
                        <a:cubicBezTo>
                          <a:pt x="109" y="50"/>
                          <a:pt x="109" y="50"/>
                          <a:pt x="109" y="50"/>
                        </a:cubicBezTo>
                        <a:cubicBezTo>
                          <a:pt x="107" y="51"/>
                          <a:pt x="107" y="51"/>
                          <a:pt x="107" y="51"/>
                        </a:cubicBezTo>
                        <a:cubicBezTo>
                          <a:pt x="105" y="51"/>
                          <a:pt x="105" y="51"/>
                          <a:pt x="105" y="51"/>
                        </a:cubicBezTo>
                        <a:cubicBezTo>
                          <a:pt x="103" y="52"/>
                          <a:pt x="103" y="52"/>
                          <a:pt x="103" y="52"/>
                        </a:cubicBezTo>
                        <a:cubicBezTo>
                          <a:pt x="103" y="54"/>
                          <a:pt x="103" y="54"/>
                          <a:pt x="103" y="54"/>
                        </a:cubicBezTo>
                        <a:cubicBezTo>
                          <a:pt x="104" y="55"/>
                          <a:pt x="104" y="55"/>
                          <a:pt x="104" y="55"/>
                        </a:cubicBezTo>
                        <a:cubicBezTo>
                          <a:pt x="106" y="56"/>
                          <a:pt x="106" y="56"/>
                          <a:pt x="106" y="56"/>
                        </a:cubicBezTo>
                        <a:cubicBezTo>
                          <a:pt x="108" y="58"/>
                          <a:pt x="108" y="58"/>
                          <a:pt x="108" y="58"/>
                        </a:cubicBezTo>
                        <a:cubicBezTo>
                          <a:pt x="110" y="59"/>
                          <a:pt x="110" y="59"/>
                          <a:pt x="110" y="59"/>
                        </a:cubicBezTo>
                        <a:cubicBezTo>
                          <a:pt x="111" y="60"/>
                          <a:pt x="111" y="60"/>
                          <a:pt x="111" y="60"/>
                        </a:cubicBezTo>
                        <a:cubicBezTo>
                          <a:pt x="113" y="61"/>
                          <a:pt x="113" y="61"/>
                          <a:pt x="113" y="61"/>
                        </a:cubicBezTo>
                        <a:cubicBezTo>
                          <a:pt x="116" y="66"/>
                          <a:pt x="116" y="66"/>
                          <a:pt x="116" y="66"/>
                        </a:cubicBezTo>
                        <a:cubicBezTo>
                          <a:pt x="111" y="63"/>
                          <a:pt x="111" y="63"/>
                          <a:pt x="111" y="63"/>
                        </a:cubicBezTo>
                        <a:cubicBezTo>
                          <a:pt x="109" y="64"/>
                          <a:pt x="109" y="64"/>
                          <a:pt x="109" y="64"/>
                        </a:cubicBezTo>
                        <a:cubicBezTo>
                          <a:pt x="108" y="65"/>
                          <a:pt x="108" y="65"/>
                          <a:pt x="108" y="65"/>
                        </a:cubicBezTo>
                        <a:cubicBezTo>
                          <a:pt x="106" y="65"/>
                          <a:pt x="106" y="65"/>
                          <a:pt x="106" y="65"/>
                        </a:cubicBezTo>
                        <a:cubicBezTo>
                          <a:pt x="104" y="64"/>
                          <a:pt x="104" y="64"/>
                          <a:pt x="104" y="64"/>
                        </a:cubicBezTo>
                        <a:cubicBezTo>
                          <a:pt x="102" y="64"/>
                          <a:pt x="102" y="64"/>
                          <a:pt x="102" y="64"/>
                        </a:cubicBezTo>
                        <a:cubicBezTo>
                          <a:pt x="99" y="63"/>
                          <a:pt x="99" y="63"/>
                          <a:pt x="99" y="63"/>
                        </a:cubicBezTo>
                        <a:cubicBezTo>
                          <a:pt x="97" y="62"/>
                          <a:pt x="97" y="62"/>
                          <a:pt x="97" y="62"/>
                        </a:cubicBezTo>
                        <a:cubicBezTo>
                          <a:pt x="94" y="62"/>
                          <a:pt x="94" y="62"/>
                          <a:pt x="94" y="62"/>
                        </a:cubicBezTo>
                        <a:cubicBezTo>
                          <a:pt x="92" y="61"/>
                          <a:pt x="92" y="61"/>
                          <a:pt x="92" y="61"/>
                        </a:cubicBezTo>
                        <a:cubicBezTo>
                          <a:pt x="90" y="61"/>
                          <a:pt x="90" y="61"/>
                          <a:pt x="90" y="61"/>
                        </a:cubicBezTo>
                        <a:cubicBezTo>
                          <a:pt x="89" y="60"/>
                          <a:pt x="89" y="60"/>
                          <a:pt x="89" y="60"/>
                        </a:cubicBezTo>
                        <a:cubicBezTo>
                          <a:pt x="89" y="58"/>
                          <a:pt x="89" y="58"/>
                          <a:pt x="89" y="58"/>
                        </a:cubicBezTo>
                        <a:cubicBezTo>
                          <a:pt x="87" y="57"/>
                          <a:pt x="87" y="57"/>
                          <a:pt x="87" y="57"/>
                        </a:cubicBezTo>
                        <a:cubicBezTo>
                          <a:pt x="84" y="57"/>
                          <a:pt x="84" y="57"/>
                          <a:pt x="84" y="57"/>
                        </a:cubicBezTo>
                        <a:cubicBezTo>
                          <a:pt x="80" y="59"/>
                          <a:pt x="80" y="59"/>
                          <a:pt x="80" y="59"/>
                        </a:cubicBezTo>
                        <a:cubicBezTo>
                          <a:pt x="79" y="60"/>
                          <a:pt x="79" y="60"/>
                          <a:pt x="79" y="60"/>
                        </a:cubicBezTo>
                        <a:cubicBezTo>
                          <a:pt x="76" y="60"/>
                          <a:pt x="76" y="60"/>
                          <a:pt x="76" y="60"/>
                        </a:cubicBezTo>
                        <a:cubicBezTo>
                          <a:pt x="83" y="66"/>
                          <a:pt x="83" y="66"/>
                          <a:pt x="83" y="66"/>
                        </a:cubicBezTo>
                        <a:cubicBezTo>
                          <a:pt x="86" y="66"/>
                          <a:pt x="86" y="66"/>
                          <a:pt x="86" y="66"/>
                        </a:cubicBezTo>
                        <a:cubicBezTo>
                          <a:pt x="88" y="67"/>
                          <a:pt x="88" y="67"/>
                          <a:pt x="88" y="67"/>
                        </a:cubicBezTo>
                        <a:cubicBezTo>
                          <a:pt x="90" y="67"/>
                          <a:pt x="90" y="67"/>
                          <a:pt x="90" y="67"/>
                        </a:cubicBezTo>
                        <a:cubicBezTo>
                          <a:pt x="92" y="68"/>
                          <a:pt x="92" y="68"/>
                          <a:pt x="92" y="68"/>
                        </a:cubicBezTo>
                        <a:cubicBezTo>
                          <a:pt x="93" y="68"/>
                          <a:pt x="93" y="68"/>
                          <a:pt x="93" y="68"/>
                        </a:cubicBezTo>
                        <a:cubicBezTo>
                          <a:pt x="93" y="69"/>
                          <a:pt x="93" y="69"/>
                          <a:pt x="93" y="69"/>
                        </a:cubicBezTo>
                        <a:cubicBezTo>
                          <a:pt x="92" y="71"/>
                          <a:pt x="92" y="71"/>
                          <a:pt x="92" y="71"/>
                        </a:cubicBezTo>
                        <a:cubicBezTo>
                          <a:pt x="90" y="72"/>
                          <a:pt x="90" y="72"/>
                          <a:pt x="90" y="72"/>
                        </a:cubicBezTo>
                        <a:cubicBezTo>
                          <a:pt x="89" y="73"/>
                          <a:pt x="89" y="73"/>
                          <a:pt x="89" y="73"/>
                        </a:cubicBezTo>
                        <a:cubicBezTo>
                          <a:pt x="78" y="70"/>
                          <a:pt x="78" y="70"/>
                          <a:pt x="78" y="70"/>
                        </a:cubicBezTo>
                        <a:cubicBezTo>
                          <a:pt x="76" y="69"/>
                          <a:pt x="76" y="69"/>
                          <a:pt x="76" y="69"/>
                        </a:cubicBezTo>
                        <a:cubicBezTo>
                          <a:pt x="75" y="68"/>
                          <a:pt x="75" y="68"/>
                          <a:pt x="75" y="68"/>
                        </a:cubicBezTo>
                        <a:cubicBezTo>
                          <a:pt x="73" y="67"/>
                          <a:pt x="73" y="67"/>
                          <a:pt x="73" y="67"/>
                        </a:cubicBezTo>
                        <a:cubicBezTo>
                          <a:pt x="63" y="67"/>
                          <a:pt x="63" y="67"/>
                          <a:pt x="63" y="67"/>
                        </a:cubicBezTo>
                        <a:cubicBezTo>
                          <a:pt x="62" y="66"/>
                          <a:pt x="62" y="66"/>
                          <a:pt x="62" y="66"/>
                        </a:cubicBezTo>
                        <a:cubicBezTo>
                          <a:pt x="62" y="58"/>
                          <a:pt x="62" y="58"/>
                          <a:pt x="62" y="58"/>
                        </a:cubicBezTo>
                        <a:cubicBezTo>
                          <a:pt x="59" y="56"/>
                          <a:pt x="59" y="56"/>
                          <a:pt x="59" y="56"/>
                        </a:cubicBezTo>
                        <a:cubicBezTo>
                          <a:pt x="61" y="54"/>
                          <a:pt x="61" y="54"/>
                          <a:pt x="61" y="54"/>
                        </a:cubicBezTo>
                        <a:cubicBezTo>
                          <a:pt x="62" y="52"/>
                          <a:pt x="62" y="52"/>
                          <a:pt x="62" y="52"/>
                        </a:cubicBezTo>
                        <a:cubicBezTo>
                          <a:pt x="62" y="49"/>
                          <a:pt x="62" y="49"/>
                          <a:pt x="62" y="49"/>
                        </a:cubicBezTo>
                        <a:cubicBezTo>
                          <a:pt x="59" y="47"/>
                          <a:pt x="59" y="47"/>
                          <a:pt x="59" y="47"/>
                        </a:cubicBezTo>
                        <a:cubicBezTo>
                          <a:pt x="53" y="45"/>
                          <a:pt x="53" y="45"/>
                          <a:pt x="53" y="45"/>
                        </a:cubicBezTo>
                        <a:cubicBezTo>
                          <a:pt x="48" y="44"/>
                          <a:pt x="48" y="44"/>
                          <a:pt x="48" y="44"/>
                        </a:cubicBezTo>
                        <a:cubicBezTo>
                          <a:pt x="46" y="43"/>
                          <a:pt x="46" y="43"/>
                          <a:pt x="46" y="43"/>
                        </a:cubicBezTo>
                        <a:cubicBezTo>
                          <a:pt x="41" y="40"/>
                          <a:pt x="41" y="40"/>
                          <a:pt x="41" y="40"/>
                        </a:cubicBezTo>
                        <a:cubicBezTo>
                          <a:pt x="37" y="37"/>
                          <a:pt x="37" y="37"/>
                          <a:pt x="37" y="37"/>
                        </a:cubicBezTo>
                        <a:cubicBezTo>
                          <a:pt x="36" y="34"/>
                          <a:pt x="36" y="34"/>
                          <a:pt x="36" y="34"/>
                        </a:cubicBezTo>
                        <a:cubicBezTo>
                          <a:pt x="41" y="34"/>
                          <a:pt x="41" y="34"/>
                          <a:pt x="41" y="34"/>
                        </a:cubicBezTo>
                        <a:cubicBezTo>
                          <a:pt x="41" y="36"/>
                          <a:pt x="41" y="36"/>
                          <a:pt x="41" y="36"/>
                        </a:cubicBezTo>
                        <a:cubicBezTo>
                          <a:pt x="43" y="36"/>
                          <a:pt x="43" y="36"/>
                          <a:pt x="43" y="36"/>
                        </a:cubicBezTo>
                        <a:cubicBezTo>
                          <a:pt x="45" y="37"/>
                          <a:pt x="45" y="37"/>
                          <a:pt x="45" y="37"/>
                        </a:cubicBezTo>
                        <a:cubicBezTo>
                          <a:pt x="48" y="37"/>
                          <a:pt x="48" y="37"/>
                          <a:pt x="48" y="37"/>
                        </a:cubicBezTo>
                        <a:cubicBezTo>
                          <a:pt x="51" y="38"/>
                          <a:pt x="51" y="38"/>
                          <a:pt x="51" y="38"/>
                        </a:cubicBezTo>
                        <a:cubicBezTo>
                          <a:pt x="56" y="38"/>
                          <a:pt x="56" y="38"/>
                          <a:pt x="56" y="38"/>
                        </a:cubicBezTo>
                        <a:cubicBezTo>
                          <a:pt x="58" y="39"/>
                          <a:pt x="58" y="39"/>
                          <a:pt x="58" y="39"/>
                        </a:cubicBezTo>
                        <a:cubicBezTo>
                          <a:pt x="59" y="41"/>
                          <a:pt x="59" y="41"/>
                          <a:pt x="59" y="41"/>
                        </a:cubicBezTo>
                        <a:cubicBezTo>
                          <a:pt x="63" y="43"/>
                          <a:pt x="63" y="43"/>
                          <a:pt x="63" y="43"/>
                        </a:cubicBezTo>
                        <a:cubicBezTo>
                          <a:pt x="72" y="43"/>
                          <a:pt x="72" y="43"/>
                          <a:pt x="72" y="43"/>
                        </a:cubicBezTo>
                        <a:cubicBezTo>
                          <a:pt x="77" y="44"/>
                          <a:pt x="77" y="44"/>
                          <a:pt x="77" y="44"/>
                        </a:cubicBezTo>
                        <a:cubicBezTo>
                          <a:pt x="79" y="44"/>
                          <a:pt x="79" y="44"/>
                          <a:pt x="79" y="44"/>
                        </a:cubicBezTo>
                        <a:cubicBezTo>
                          <a:pt x="81" y="45"/>
                          <a:pt x="81" y="45"/>
                          <a:pt x="81" y="45"/>
                        </a:cubicBezTo>
                        <a:cubicBezTo>
                          <a:pt x="85" y="46"/>
                          <a:pt x="85" y="46"/>
                          <a:pt x="85" y="46"/>
                        </a:cubicBezTo>
                        <a:cubicBezTo>
                          <a:pt x="91" y="47"/>
                          <a:pt x="91" y="47"/>
                          <a:pt x="91" y="47"/>
                        </a:cubicBezTo>
                        <a:cubicBezTo>
                          <a:pt x="99" y="46"/>
                          <a:pt x="99" y="46"/>
                          <a:pt x="99" y="46"/>
                        </a:cubicBezTo>
                        <a:cubicBezTo>
                          <a:pt x="107" y="44"/>
                          <a:pt x="107" y="44"/>
                          <a:pt x="107" y="44"/>
                        </a:cubicBezTo>
                        <a:cubicBezTo>
                          <a:pt x="113" y="41"/>
                          <a:pt x="113" y="41"/>
                          <a:pt x="113" y="41"/>
                        </a:cubicBezTo>
                        <a:cubicBezTo>
                          <a:pt x="116" y="38"/>
                          <a:pt x="116" y="38"/>
                          <a:pt x="116" y="38"/>
                        </a:cubicBezTo>
                        <a:cubicBezTo>
                          <a:pt x="115" y="34"/>
                          <a:pt x="115" y="34"/>
                          <a:pt x="115" y="34"/>
                        </a:cubicBezTo>
                        <a:cubicBezTo>
                          <a:pt x="108" y="27"/>
                          <a:pt x="108" y="27"/>
                          <a:pt x="108" y="27"/>
                        </a:cubicBezTo>
                        <a:cubicBezTo>
                          <a:pt x="105" y="25"/>
                          <a:pt x="105" y="25"/>
                          <a:pt x="105" y="25"/>
                        </a:cubicBezTo>
                        <a:cubicBezTo>
                          <a:pt x="102" y="24"/>
                          <a:pt x="102" y="24"/>
                          <a:pt x="102" y="24"/>
                        </a:cubicBezTo>
                        <a:cubicBezTo>
                          <a:pt x="94" y="22"/>
                          <a:pt x="94" y="22"/>
                          <a:pt x="94" y="22"/>
                        </a:cubicBezTo>
                        <a:cubicBezTo>
                          <a:pt x="86" y="19"/>
                          <a:pt x="86" y="19"/>
                          <a:pt x="86" y="19"/>
                        </a:cubicBezTo>
                        <a:cubicBezTo>
                          <a:pt x="74" y="15"/>
                          <a:pt x="74" y="15"/>
                          <a:pt x="74" y="15"/>
                        </a:cubicBezTo>
                        <a:cubicBezTo>
                          <a:pt x="68" y="12"/>
                          <a:pt x="68" y="12"/>
                          <a:pt x="68" y="12"/>
                        </a:cubicBezTo>
                        <a:cubicBezTo>
                          <a:pt x="62" y="11"/>
                          <a:pt x="62" y="11"/>
                          <a:pt x="62" y="11"/>
                        </a:cubicBezTo>
                        <a:cubicBezTo>
                          <a:pt x="40" y="11"/>
                          <a:pt x="40" y="11"/>
                          <a:pt x="40" y="11"/>
                        </a:cubicBezTo>
                        <a:cubicBezTo>
                          <a:pt x="38" y="8"/>
                          <a:pt x="38" y="8"/>
                          <a:pt x="38" y="8"/>
                        </a:cubicBezTo>
                        <a:cubicBezTo>
                          <a:pt x="35" y="9"/>
                          <a:pt x="35" y="9"/>
                          <a:pt x="35" y="9"/>
                        </a:cubicBezTo>
                        <a:cubicBezTo>
                          <a:pt x="29" y="6"/>
                          <a:pt x="29" y="6"/>
                          <a:pt x="29" y="6"/>
                        </a:cubicBezTo>
                        <a:cubicBezTo>
                          <a:pt x="35" y="5"/>
                          <a:pt x="35" y="5"/>
                          <a:pt x="35" y="5"/>
                        </a:cubicBezTo>
                        <a:cubicBezTo>
                          <a:pt x="37" y="3"/>
                          <a:pt x="37" y="3"/>
                          <a:pt x="37" y="3"/>
                        </a:cubicBezTo>
                        <a:cubicBezTo>
                          <a:pt x="37" y="3"/>
                          <a:pt x="37" y="3"/>
                          <a:pt x="37" y="3"/>
                        </a:cubicBezTo>
                        <a:cubicBezTo>
                          <a:pt x="36" y="2"/>
                          <a:pt x="36" y="2"/>
                          <a:pt x="36" y="2"/>
                        </a:cubicBezTo>
                        <a:cubicBezTo>
                          <a:pt x="34" y="2"/>
                          <a:pt x="34" y="2"/>
                          <a:pt x="34" y="2"/>
                        </a:cubicBezTo>
                        <a:cubicBezTo>
                          <a:pt x="31" y="1"/>
                          <a:pt x="31" y="1"/>
                          <a:pt x="31" y="1"/>
                        </a:cubicBezTo>
                        <a:cubicBezTo>
                          <a:pt x="28" y="1"/>
                          <a:pt x="28" y="1"/>
                          <a:pt x="28" y="1"/>
                        </a:cubicBezTo>
                        <a:cubicBezTo>
                          <a:pt x="26" y="0"/>
                          <a:pt x="26" y="0"/>
                          <a:pt x="26" y="0"/>
                        </a:cubicBezTo>
                        <a:cubicBezTo>
                          <a:pt x="24" y="2"/>
                          <a:pt x="24" y="2"/>
                          <a:pt x="24" y="2"/>
                        </a:cubicBezTo>
                        <a:cubicBezTo>
                          <a:pt x="24" y="3"/>
                          <a:pt x="24" y="3"/>
                          <a:pt x="24" y="3"/>
                        </a:cubicBezTo>
                        <a:cubicBezTo>
                          <a:pt x="23" y="4"/>
                          <a:pt x="23" y="4"/>
                          <a:pt x="23" y="4"/>
                        </a:cubicBezTo>
                        <a:cubicBezTo>
                          <a:pt x="20" y="4"/>
                          <a:pt x="20" y="4"/>
                          <a:pt x="20" y="4"/>
                        </a:cubicBezTo>
                        <a:cubicBezTo>
                          <a:pt x="18" y="6"/>
                          <a:pt x="18" y="6"/>
                          <a:pt x="18" y="6"/>
                        </a:cubicBezTo>
                        <a:cubicBezTo>
                          <a:pt x="12" y="6"/>
                          <a:pt x="12" y="6"/>
                          <a:pt x="12" y="6"/>
                        </a:cubicBezTo>
                        <a:cubicBezTo>
                          <a:pt x="11" y="8"/>
                          <a:pt x="11" y="8"/>
                          <a:pt x="11" y="8"/>
                        </a:cubicBezTo>
                        <a:cubicBezTo>
                          <a:pt x="7" y="9"/>
                          <a:pt x="7" y="9"/>
                          <a:pt x="7" y="9"/>
                        </a:cubicBezTo>
                        <a:cubicBezTo>
                          <a:pt x="7" y="10"/>
                          <a:pt x="7" y="10"/>
                          <a:pt x="7" y="10"/>
                        </a:cubicBezTo>
                        <a:cubicBezTo>
                          <a:pt x="6" y="12"/>
                          <a:pt x="6" y="12"/>
                          <a:pt x="6" y="12"/>
                        </a:cubicBezTo>
                        <a:cubicBezTo>
                          <a:pt x="2" y="12"/>
                          <a:pt x="2" y="12"/>
                          <a:pt x="2" y="12"/>
                        </a:cubicBezTo>
                        <a:cubicBezTo>
                          <a:pt x="1" y="14"/>
                          <a:pt x="1" y="14"/>
                          <a:pt x="1" y="14"/>
                        </a:cubicBezTo>
                        <a:cubicBezTo>
                          <a:pt x="3" y="16"/>
                          <a:pt x="3" y="16"/>
                          <a:pt x="3" y="16"/>
                        </a:cubicBezTo>
                        <a:cubicBezTo>
                          <a:pt x="3" y="17"/>
                          <a:pt x="3" y="17"/>
                          <a:pt x="3" y="17"/>
                        </a:cubicBezTo>
                        <a:cubicBezTo>
                          <a:pt x="0" y="17"/>
                          <a:pt x="0" y="17"/>
                          <a:pt x="0" y="17"/>
                        </a:cubicBezTo>
                        <a:cubicBezTo>
                          <a:pt x="0" y="19"/>
                          <a:pt x="0" y="19"/>
                          <a:pt x="0" y="19"/>
                        </a:cubicBezTo>
                        <a:cubicBezTo>
                          <a:pt x="1" y="21"/>
                          <a:pt x="1" y="21"/>
                          <a:pt x="1" y="21"/>
                        </a:cubicBezTo>
                        <a:cubicBezTo>
                          <a:pt x="1" y="22"/>
                          <a:pt x="1" y="22"/>
                          <a:pt x="1" y="22"/>
                        </a:cubicBezTo>
                        <a:cubicBezTo>
                          <a:pt x="2" y="23"/>
                          <a:pt x="2" y="23"/>
                          <a:pt x="2" y="23"/>
                        </a:cubicBezTo>
                        <a:cubicBezTo>
                          <a:pt x="3" y="23"/>
                          <a:pt x="3" y="23"/>
                          <a:pt x="3" y="23"/>
                        </a:cubicBezTo>
                        <a:cubicBezTo>
                          <a:pt x="4" y="22"/>
                          <a:pt x="4" y="22"/>
                          <a:pt x="4" y="22"/>
                        </a:cubicBezTo>
                        <a:cubicBezTo>
                          <a:pt x="7" y="22"/>
                          <a:pt x="7" y="22"/>
                          <a:pt x="7" y="22"/>
                        </a:cubicBezTo>
                        <a:cubicBezTo>
                          <a:pt x="15" y="30"/>
                          <a:pt x="15" y="30"/>
                          <a:pt x="15" y="30"/>
                        </a:cubicBezTo>
                        <a:cubicBezTo>
                          <a:pt x="15" y="32"/>
                          <a:pt x="15" y="32"/>
                          <a:pt x="15" y="32"/>
                        </a:cubicBezTo>
                        <a:cubicBezTo>
                          <a:pt x="14" y="32"/>
                          <a:pt x="14" y="32"/>
                          <a:pt x="14" y="32"/>
                        </a:cubicBezTo>
                        <a:cubicBezTo>
                          <a:pt x="12" y="33"/>
                          <a:pt x="12" y="33"/>
                          <a:pt x="12" y="33"/>
                        </a:cubicBezTo>
                        <a:cubicBezTo>
                          <a:pt x="11" y="33"/>
                          <a:pt x="11" y="33"/>
                          <a:pt x="11" y="33"/>
                        </a:cubicBezTo>
                        <a:cubicBezTo>
                          <a:pt x="11" y="35"/>
                          <a:pt x="11" y="35"/>
                          <a:pt x="11" y="35"/>
                        </a:cubicBezTo>
                        <a:cubicBezTo>
                          <a:pt x="10" y="35"/>
                          <a:pt x="10" y="35"/>
                          <a:pt x="10" y="35"/>
                        </a:cubicBezTo>
                        <a:cubicBezTo>
                          <a:pt x="8" y="36"/>
                          <a:pt x="8" y="36"/>
                          <a:pt x="8" y="36"/>
                        </a:cubicBezTo>
                        <a:cubicBezTo>
                          <a:pt x="7" y="37"/>
                          <a:pt x="7" y="37"/>
                          <a:pt x="7" y="37"/>
                        </a:cubicBezTo>
                        <a:cubicBezTo>
                          <a:pt x="10" y="40"/>
                          <a:pt x="10" y="40"/>
                          <a:pt x="10" y="40"/>
                        </a:cubicBezTo>
                        <a:cubicBezTo>
                          <a:pt x="12" y="41"/>
                          <a:pt x="12" y="41"/>
                          <a:pt x="12" y="41"/>
                        </a:cubicBezTo>
                        <a:cubicBezTo>
                          <a:pt x="13" y="43"/>
                          <a:pt x="13" y="43"/>
                          <a:pt x="13" y="43"/>
                        </a:cubicBezTo>
                        <a:cubicBezTo>
                          <a:pt x="15" y="44"/>
                          <a:pt x="15" y="44"/>
                          <a:pt x="15" y="44"/>
                        </a:cubicBezTo>
                        <a:cubicBezTo>
                          <a:pt x="19" y="48"/>
                          <a:pt x="19" y="48"/>
                          <a:pt x="19" y="48"/>
                        </a:cubicBezTo>
                        <a:cubicBezTo>
                          <a:pt x="21" y="49"/>
                          <a:pt x="21" y="49"/>
                          <a:pt x="21" y="49"/>
                        </a:cubicBezTo>
                        <a:cubicBezTo>
                          <a:pt x="22" y="50"/>
                          <a:pt x="22" y="50"/>
                          <a:pt x="22" y="50"/>
                        </a:cubicBezTo>
                        <a:cubicBezTo>
                          <a:pt x="22" y="51"/>
                          <a:pt x="22" y="51"/>
                          <a:pt x="22" y="51"/>
                        </a:cubicBezTo>
                        <a:cubicBezTo>
                          <a:pt x="21" y="52"/>
                          <a:pt x="21" y="52"/>
                          <a:pt x="21" y="52"/>
                        </a:cubicBezTo>
                        <a:cubicBezTo>
                          <a:pt x="19" y="52"/>
                          <a:pt x="19" y="52"/>
                          <a:pt x="19" y="52"/>
                        </a:cubicBezTo>
                        <a:cubicBezTo>
                          <a:pt x="17" y="51"/>
                          <a:pt x="17" y="51"/>
                          <a:pt x="17" y="51"/>
                        </a:cubicBezTo>
                        <a:cubicBezTo>
                          <a:pt x="16" y="51"/>
                          <a:pt x="16" y="51"/>
                          <a:pt x="16" y="51"/>
                        </a:cubicBezTo>
                        <a:cubicBezTo>
                          <a:pt x="15" y="56"/>
                          <a:pt x="15" y="56"/>
                          <a:pt x="15" y="56"/>
                        </a:cubicBezTo>
                        <a:cubicBezTo>
                          <a:pt x="17" y="58"/>
                          <a:pt x="17" y="58"/>
                          <a:pt x="17" y="58"/>
                        </a:cubicBezTo>
                        <a:cubicBezTo>
                          <a:pt x="17" y="60"/>
                          <a:pt x="17" y="60"/>
                          <a:pt x="17" y="60"/>
                        </a:cubicBezTo>
                        <a:cubicBezTo>
                          <a:pt x="19" y="60"/>
                          <a:pt x="19" y="60"/>
                          <a:pt x="19" y="60"/>
                        </a:cubicBezTo>
                        <a:cubicBezTo>
                          <a:pt x="20" y="61"/>
                          <a:pt x="20" y="61"/>
                          <a:pt x="20" y="61"/>
                        </a:cubicBezTo>
                        <a:cubicBezTo>
                          <a:pt x="21" y="61"/>
                          <a:pt x="21" y="61"/>
                          <a:pt x="21" y="61"/>
                        </a:cubicBezTo>
                        <a:cubicBezTo>
                          <a:pt x="22" y="62"/>
                          <a:pt x="22" y="62"/>
                          <a:pt x="22" y="62"/>
                        </a:cubicBezTo>
                        <a:cubicBezTo>
                          <a:pt x="22" y="63"/>
                          <a:pt x="22" y="63"/>
                          <a:pt x="22" y="63"/>
                        </a:cubicBezTo>
                        <a:cubicBezTo>
                          <a:pt x="21" y="64"/>
                          <a:pt x="21" y="64"/>
                          <a:pt x="21" y="64"/>
                        </a:cubicBezTo>
                        <a:cubicBezTo>
                          <a:pt x="20" y="66"/>
                          <a:pt x="20" y="66"/>
                          <a:pt x="20" y="66"/>
                        </a:cubicBezTo>
                        <a:cubicBezTo>
                          <a:pt x="24" y="67"/>
                          <a:pt x="24" y="67"/>
                          <a:pt x="24" y="67"/>
                        </a:cubicBezTo>
                        <a:cubicBezTo>
                          <a:pt x="26" y="68"/>
                          <a:pt x="26" y="68"/>
                          <a:pt x="26" y="68"/>
                        </a:cubicBezTo>
                        <a:cubicBezTo>
                          <a:pt x="27" y="69"/>
                          <a:pt x="27" y="69"/>
                          <a:pt x="27" y="69"/>
                        </a:cubicBezTo>
                        <a:cubicBezTo>
                          <a:pt x="27" y="70"/>
                          <a:pt x="27" y="70"/>
                          <a:pt x="27" y="70"/>
                        </a:cubicBezTo>
                        <a:cubicBezTo>
                          <a:pt x="23" y="74"/>
                          <a:pt x="23" y="74"/>
                          <a:pt x="23" y="74"/>
                        </a:cubicBezTo>
                        <a:cubicBezTo>
                          <a:pt x="22" y="74"/>
                          <a:pt x="22" y="74"/>
                          <a:pt x="22" y="74"/>
                        </a:cubicBezTo>
                        <a:cubicBezTo>
                          <a:pt x="34" y="80"/>
                          <a:pt x="34" y="80"/>
                          <a:pt x="34" y="80"/>
                        </a:cubicBezTo>
                        <a:cubicBezTo>
                          <a:pt x="35" y="82"/>
                          <a:pt x="35" y="82"/>
                          <a:pt x="35" y="82"/>
                        </a:cubicBezTo>
                        <a:cubicBezTo>
                          <a:pt x="36" y="83"/>
                          <a:pt x="36" y="83"/>
                          <a:pt x="36" y="83"/>
                        </a:cubicBezTo>
                        <a:cubicBezTo>
                          <a:pt x="37" y="85"/>
                          <a:pt x="37" y="85"/>
                          <a:pt x="37" y="85"/>
                        </a:cubicBezTo>
                        <a:cubicBezTo>
                          <a:pt x="37" y="87"/>
                          <a:pt x="37" y="87"/>
                          <a:pt x="37" y="87"/>
                        </a:cubicBezTo>
                        <a:cubicBezTo>
                          <a:pt x="36" y="88"/>
                          <a:pt x="36" y="88"/>
                          <a:pt x="36" y="88"/>
                        </a:cubicBezTo>
                        <a:cubicBezTo>
                          <a:pt x="35" y="90"/>
                          <a:pt x="35" y="90"/>
                          <a:pt x="35" y="90"/>
                        </a:cubicBezTo>
                        <a:cubicBezTo>
                          <a:pt x="29" y="96"/>
                          <a:pt x="29" y="96"/>
                          <a:pt x="29" y="96"/>
                        </a:cubicBezTo>
                        <a:cubicBezTo>
                          <a:pt x="28" y="96"/>
                          <a:pt x="28" y="96"/>
                          <a:pt x="28" y="96"/>
                        </a:cubicBezTo>
                        <a:cubicBezTo>
                          <a:pt x="18" y="106"/>
                          <a:pt x="18" y="106"/>
                          <a:pt x="18" y="106"/>
                        </a:cubicBezTo>
                        <a:cubicBezTo>
                          <a:pt x="8" y="111"/>
                          <a:pt x="8" y="111"/>
                          <a:pt x="8" y="111"/>
                        </a:cubicBezTo>
                        <a:cubicBezTo>
                          <a:pt x="9" y="113"/>
                          <a:pt x="9" y="113"/>
                          <a:pt x="9" y="113"/>
                        </a:cubicBezTo>
                        <a:cubicBezTo>
                          <a:pt x="14" y="110"/>
                          <a:pt x="14" y="110"/>
                          <a:pt x="14" y="110"/>
                        </a:cubicBezTo>
                        <a:cubicBezTo>
                          <a:pt x="15" y="113"/>
                          <a:pt x="15" y="113"/>
                          <a:pt x="15" y="113"/>
                        </a:cubicBezTo>
                        <a:cubicBezTo>
                          <a:pt x="17" y="115"/>
                          <a:pt x="17" y="115"/>
                          <a:pt x="17" y="115"/>
                        </a:cubicBezTo>
                        <a:cubicBezTo>
                          <a:pt x="19" y="116"/>
                          <a:pt x="19" y="116"/>
                          <a:pt x="19" y="116"/>
                        </a:cubicBezTo>
                        <a:cubicBezTo>
                          <a:pt x="20" y="117"/>
                          <a:pt x="20" y="117"/>
                          <a:pt x="20" y="117"/>
                        </a:cubicBezTo>
                        <a:cubicBezTo>
                          <a:pt x="28" y="117"/>
                          <a:pt x="28" y="117"/>
                          <a:pt x="28" y="117"/>
                        </a:cubicBezTo>
                        <a:cubicBezTo>
                          <a:pt x="30" y="120"/>
                          <a:pt x="30" y="120"/>
                          <a:pt x="30" y="120"/>
                        </a:cubicBezTo>
                        <a:cubicBezTo>
                          <a:pt x="28" y="120"/>
                          <a:pt x="28" y="120"/>
                          <a:pt x="28" y="120"/>
                        </a:cubicBezTo>
                        <a:cubicBezTo>
                          <a:pt x="26" y="119"/>
                          <a:pt x="26" y="119"/>
                          <a:pt x="26" y="119"/>
                        </a:cubicBezTo>
                        <a:cubicBezTo>
                          <a:pt x="21" y="119"/>
                          <a:pt x="21" y="119"/>
                          <a:pt x="21" y="119"/>
                        </a:cubicBezTo>
                        <a:cubicBezTo>
                          <a:pt x="19" y="121"/>
                          <a:pt x="19" y="121"/>
                          <a:pt x="19" y="121"/>
                        </a:cubicBezTo>
                        <a:cubicBezTo>
                          <a:pt x="19" y="122"/>
                          <a:pt x="19" y="122"/>
                          <a:pt x="19" y="122"/>
                        </a:cubicBezTo>
                        <a:cubicBezTo>
                          <a:pt x="13" y="122"/>
                          <a:pt x="13" y="122"/>
                          <a:pt x="13" y="122"/>
                        </a:cubicBezTo>
                        <a:cubicBezTo>
                          <a:pt x="12" y="127"/>
                          <a:pt x="12" y="127"/>
                          <a:pt x="12" y="127"/>
                        </a:cubicBezTo>
                        <a:cubicBezTo>
                          <a:pt x="10" y="127"/>
                          <a:pt x="10" y="127"/>
                          <a:pt x="10" y="127"/>
                        </a:cubicBezTo>
                        <a:cubicBezTo>
                          <a:pt x="9" y="129"/>
                          <a:pt x="9" y="129"/>
                          <a:pt x="9" y="129"/>
                        </a:cubicBezTo>
                        <a:cubicBezTo>
                          <a:pt x="10" y="131"/>
                          <a:pt x="10" y="131"/>
                          <a:pt x="10" y="131"/>
                        </a:cubicBezTo>
                        <a:cubicBezTo>
                          <a:pt x="9" y="132"/>
                          <a:pt x="9" y="132"/>
                          <a:pt x="9" y="132"/>
                        </a:cubicBezTo>
                        <a:cubicBezTo>
                          <a:pt x="8" y="132"/>
                          <a:pt x="8" y="132"/>
                          <a:pt x="8" y="132"/>
                        </a:cubicBezTo>
                        <a:cubicBezTo>
                          <a:pt x="6" y="134"/>
                          <a:pt x="6" y="134"/>
                          <a:pt x="6" y="134"/>
                        </a:cubicBezTo>
                        <a:cubicBezTo>
                          <a:pt x="6" y="137"/>
                          <a:pt x="6" y="137"/>
                          <a:pt x="6" y="137"/>
                        </a:cubicBezTo>
                        <a:cubicBezTo>
                          <a:pt x="9" y="138"/>
                          <a:pt x="9" y="138"/>
                          <a:pt x="9" y="138"/>
                        </a:cubicBezTo>
                        <a:cubicBezTo>
                          <a:pt x="7" y="142"/>
                          <a:pt x="7" y="142"/>
                          <a:pt x="7" y="142"/>
                        </a:cubicBezTo>
                        <a:cubicBezTo>
                          <a:pt x="9" y="143"/>
                          <a:pt x="9" y="143"/>
                          <a:pt x="9" y="143"/>
                        </a:cubicBezTo>
                        <a:cubicBezTo>
                          <a:pt x="11" y="146"/>
                          <a:pt x="11" y="146"/>
                          <a:pt x="11" y="146"/>
                        </a:cubicBezTo>
                        <a:cubicBezTo>
                          <a:pt x="8" y="148"/>
                          <a:pt x="8" y="148"/>
                          <a:pt x="8" y="148"/>
                        </a:cubicBezTo>
                        <a:cubicBezTo>
                          <a:pt x="8" y="150"/>
                          <a:pt x="8" y="150"/>
                          <a:pt x="8" y="150"/>
                        </a:cubicBezTo>
                        <a:cubicBezTo>
                          <a:pt x="9" y="150"/>
                          <a:pt x="9" y="150"/>
                          <a:pt x="9" y="150"/>
                        </a:cubicBezTo>
                        <a:cubicBezTo>
                          <a:pt x="11" y="152"/>
                          <a:pt x="11" y="152"/>
                          <a:pt x="11" y="152"/>
                        </a:cubicBezTo>
                        <a:cubicBezTo>
                          <a:pt x="13" y="153"/>
                          <a:pt x="13" y="153"/>
                          <a:pt x="13" y="153"/>
                        </a:cubicBezTo>
                        <a:cubicBezTo>
                          <a:pt x="14" y="154"/>
                          <a:pt x="14" y="154"/>
                          <a:pt x="14" y="154"/>
                        </a:cubicBezTo>
                        <a:cubicBezTo>
                          <a:pt x="14" y="155"/>
                          <a:pt x="14" y="155"/>
                          <a:pt x="14" y="155"/>
                        </a:cubicBezTo>
                        <a:cubicBezTo>
                          <a:pt x="11" y="155"/>
                          <a:pt x="11" y="155"/>
                          <a:pt x="11" y="155"/>
                        </a:cubicBezTo>
                        <a:cubicBezTo>
                          <a:pt x="10" y="158"/>
                          <a:pt x="10" y="158"/>
                          <a:pt x="10" y="158"/>
                        </a:cubicBezTo>
                        <a:cubicBezTo>
                          <a:pt x="14" y="159"/>
                          <a:pt x="14" y="159"/>
                          <a:pt x="14" y="159"/>
                        </a:cubicBezTo>
                        <a:cubicBezTo>
                          <a:pt x="15" y="160"/>
                          <a:pt x="15" y="160"/>
                          <a:pt x="15" y="160"/>
                        </a:cubicBezTo>
                        <a:cubicBezTo>
                          <a:pt x="16" y="162"/>
                          <a:pt x="16" y="162"/>
                          <a:pt x="16" y="162"/>
                        </a:cubicBezTo>
                        <a:cubicBezTo>
                          <a:pt x="18" y="164"/>
                          <a:pt x="18" y="164"/>
                          <a:pt x="18" y="164"/>
                        </a:cubicBezTo>
                        <a:cubicBezTo>
                          <a:pt x="18" y="168"/>
                          <a:pt x="18" y="168"/>
                          <a:pt x="18" y="168"/>
                        </a:cubicBezTo>
                        <a:cubicBezTo>
                          <a:pt x="22" y="168"/>
                          <a:pt x="22" y="168"/>
                          <a:pt x="22" y="168"/>
                        </a:cubicBezTo>
                        <a:cubicBezTo>
                          <a:pt x="23" y="169"/>
                          <a:pt x="23" y="169"/>
                          <a:pt x="23" y="169"/>
                        </a:cubicBezTo>
                        <a:cubicBezTo>
                          <a:pt x="23" y="170"/>
                          <a:pt x="23" y="170"/>
                          <a:pt x="23" y="170"/>
                        </a:cubicBezTo>
                        <a:cubicBezTo>
                          <a:pt x="25" y="169"/>
                          <a:pt x="25" y="169"/>
                          <a:pt x="25" y="169"/>
                        </a:cubicBezTo>
                        <a:cubicBezTo>
                          <a:pt x="31" y="170"/>
                          <a:pt x="31" y="170"/>
                          <a:pt x="31" y="170"/>
                        </a:cubicBezTo>
                        <a:cubicBezTo>
                          <a:pt x="32" y="173"/>
                          <a:pt x="32" y="173"/>
                          <a:pt x="32" y="173"/>
                        </a:cubicBezTo>
                        <a:cubicBezTo>
                          <a:pt x="37" y="170"/>
                          <a:pt x="37" y="170"/>
                          <a:pt x="37" y="170"/>
                        </a:cubicBezTo>
                        <a:cubicBezTo>
                          <a:pt x="37" y="170"/>
                          <a:pt x="37" y="170"/>
                          <a:pt x="37" y="170"/>
                        </a:cubicBezTo>
                        <a:cubicBezTo>
                          <a:pt x="38" y="171"/>
                          <a:pt x="38" y="171"/>
                          <a:pt x="38" y="171"/>
                        </a:cubicBezTo>
                        <a:cubicBezTo>
                          <a:pt x="44" y="174"/>
                          <a:pt x="44" y="174"/>
                          <a:pt x="44" y="174"/>
                        </a:cubicBezTo>
                        <a:cubicBezTo>
                          <a:pt x="45" y="175"/>
                          <a:pt x="45" y="175"/>
                          <a:pt x="45" y="175"/>
                        </a:cubicBezTo>
                        <a:cubicBezTo>
                          <a:pt x="45" y="177"/>
                          <a:pt x="45" y="177"/>
                          <a:pt x="45" y="177"/>
                        </a:cubicBezTo>
                        <a:cubicBezTo>
                          <a:pt x="44" y="178"/>
                          <a:pt x="44" y="178"/>
                          <a:pt x="44" y="178"/>
                        </a:cubicBezTo>
                        <a:cubicBezTo>
                          <a:pt x="46" y="181"/>
                          <a:pt x="46" y="181"/>
                          <a:pt x="46" y="181"/>
                        </a:cubicBezTo>
                        <a:cubicBezTo>
                          <a:pt x="45" y="184"/>
                          <a:pt x="45" y="184"/>
                          <a:pt x="45" y="184"/>
                        </a:cubicBezTo>
                        <a:cubicBezTo>
                          <a:pt x="46" y="185"/>
                          <a:pt x="46" y="185"/>
                          <a:pt x="46" y="185"/>
                        </a:cubicBezTo>
                        <a:cubicBezTo>
                          <a:pt x="48" y="186"/>
                          <a:pt x="48" y="186"/>
                          <a:pt x="48" y="186"/>
                        </a:cubicBezTo>
                        <a:cubicBezTo>
                          <a:pt x="51" y="189"/>
                          <a:pt x="51" y="189"/>
                          <a:pt x="51" y="189"/>
                        </a:cubicBezTo>
                        <a:cubicBezTo>
                          <a:pt x="51" y="191"/>
                          <a:pt x="51" y="191"/>
                          <a:pt x="51" y="191"/>
                        </a:cubicBezTo>
                        <a:cubicBezTo>
                          <a:pt x="56" y="193"/>
                          <a:pt x="56" y="193"/>
                          <a:pt x="56" y="193"/>
                        </a:cubicBezTo>
                        <a:cubicBezTo>
                          <a:pt x="56" y="197"/>
                          <a:pt x="56" y="197"/>
                          <a:pt x="56" y="197"/>
                        </a:cubicBezTo>
                        <a:cubicBezTo>
                          <a:pt x="62" y="197"/>
                          <a:pt x="62" y="197"/>
                          <a:pt x="62" y="197"/>
                        </a:cubicBezTo>
                        <a:cubicBezTo>
                          <a:pt x="63" y="198"/>
                          <a:pt x="63" y="198"/>
                          <a:pt x="63" y="198"/>
                        </a:cubicBezTo>
                        <a:cubicBezTo>
                          <a:pt x="64" y="198"/>
                          <a:pt x="64" y="198"/>
                          <a:pt x="64" y="198"/>
                        </a:cubicBezTo>
                        <a:cubicBezTo>
                          <a:pt x="64" y="199"/>
                          <a:pt x="64" y="199"/>
                          <a:pt x="64" y="199"/>
                        </a:cubicBezTo>
                        <a:cubicBezTo>
                          <a:pt x="63" y="200"/>
                          <a:pt x="63" y="200"/>
                          <a:pt x="63" y="200"/>
                        </a:cubicBezTo>
                        <a:cubicBezTo>
                          <a:pt x="67" y="202"/>
                          <a:pt x="67" y="202"/>
                          <a:pt x="67" y="202"/>
                        </a:cubicBezTo>
                        <a:cubicBezTo>
                          <a:pt x="65" y="203"/>
                          <a:pt x="65" y="203"/>
                          <a:pt x="65" y="203"/>
                        </a:cubicBezTo>
                        <a:cubicBezTo>
                          <a:pt x="64" y="205"/>
                          <a:pt x="64" y="205"/>
                          <a:pt x="64" y="205"/>
                        </a:cubicBezTo>
                        <a:cubicBezTo>
                          <a:pt x="60" y="207"/>
                          <a:pt x="60" y="207"/>
                          <a:pt x="60" y="207"/>
                        </a:cubicBezTo>
                        <a:cubicBezTo>
                          <a:pt x="59" y="207"/>
                          <a:pt x="59" y="207"/>
                          <a:pt x="59" y="207"/>
                        </a:cubicBezTo>
                        <a:cubicBezTo>
                          <a:pt x="58" y="206"/>
                          <a:pt x="58" y="206"/>
                          <a:pt x="58" y="206"/>
                        </a:cubicBezTo>
                        <a:cubicBezTo>
                          <a:pt x="57" y="206"/>
                          <a:pt x="57" y="206"/>
                          <a:pt x="57" y="206"/>
                        </a:cubicBezTo>
                        <a:cubicBezTo>
                          <a:pt x="57" y="205"/>
                          <a:pt x="57" y="205"/>
                          <a:pt x="57" y="205"/>
                        </a:cubicBezTo>
                        <a:cubicBezTo>
                          <a:pt x="53" y="205"/>
                          <a:pt x="53" y="205"/>
                          <a:pt x="53" y="205"/>
                        </a:cubicBezTo>
                        <a:cubicBezTo>
                          <a:pt x="52" y="206"/>
                          <a:pt x="52" y="206"/>
                          <a:pt x="52" y="206"/>
                        </a:cubicBezTo>
                        <a:cubicBezTo>
                          <a:pt x="52" y="207"/>
                          <a:pt x="52" y="207"/>
                          <a:pt x="52" y="207"/>
                        </a:cubicBezTo>
                        <a:cubicBezTo>
                          <a:pt x="56" y="211"/>
                          <a:pt x="56" y="211"/>
                          <a:pt x="56" y="211"/>
                        </a:cubicBezTo>
                        <a:cubicBezTo>
                          <a:pt x="56" y="214"/>
                          <a:pt x="56" y="214"/>
                          <a:pt x="56" y="214"/>
                        </a:cubicBezTo>
                        <a:cubicBezTo>
                          <a:pt x="57" y="215"/>
                          <a:pt x="57" y="215"/>
                          <a:pt x="57" y="215"/>
                        </a:cubicBezTo>
                        <a:cubicBezTo>
                          <a:pt x="58" y="217"/>
                          <a:pt x="58" y="217"/>
                          <a:pt x="58" y="217"/>
                        </a:cubicBezTo>
                        <a:cubicBezTo>
                          <a:pt x="58" y="220"/>
                          <a:pt x="58" y="220"/>
                          <a:pt x="58" y="220"/>
                        </a:cubicBezTo>
                        <a:cubicBezTo>
                          <a:pt x="64" y="220"/>
                          <a:pt x="64" y="220"/>
                          <a:pt x="64" y="220"/>
                        </a:cubicBezTo>
                        <a:cubicBezTo>
                          <a:pt x="65" y="219"/>
                          <a:pt x="65" y="219"/>
                          <a:pt x="65" y="219"/>
                        </a:cubicBezTo>
                        <a:cubicBezTo>
                          <a:pt x="65" y="217"/>
                          <a:pt x="65" y="217"/>
                          <a:pt x="65" y="217"/>
                        </a:cubicBezTo>
                        <a:cubicBezTo>
                          <a:pt x="70" y="217"/>
                          <a:pt x="70" y="217"/>
                          <a:pt x="70" y="217"/>
                        </a:cubicBezTo>
                        <a:cubicBezTo>
                          <a:pt x="72" y="216"/>
                          <a:pt x="72" y="216"/>
                          <a:pt x="72" y="216"/>
                        </a:cubicBezTo>
                        <a:cubicBezTo>
                          <a:pt x="80" y="216"/>
                          <a:pt x="80" y="216"/>
                          <a:pt x="80" y="216"/>
                        </a:cubicBezTo>
                        <a:cubicBezTo>
                          <a:pt x="81" y="219"/>
                          <a:pt x="81" y="219"/>
                          <a:pt x="81" y="219"/>
                        </a:cubicBezTo>
                        <a:cubicBezTo>
                          <a:pt x="82" y="219"/>
                          <a:pt x="82" y="219"/>
                          <a:pt x="82" y="219"/>
                        </a:cubicBezTo>
                        <a:cubicBezTo>
                          <a:pt x="83" y="220"/>
                          <a:pt x="83" y="220"/>
                          <a:pt x="83" y="220"/>
                        </a:cubicBezTo>
                        <a:cubicBezTo>
                          <a:pt x="85" y="221"/>
                          <a:pt x="85" y="221"/>
                          <a:pt x="85" y="221"/>
                        </a:cubicBezTo>
                        <a:cubicBezTo>
                          <a:pt x="86" y="221"/>
                          <a:pt x="86" y="221"/>
                          <a:pt x="86" y="221"/>
                        </a:cubicBezTo>
                        <a:cubicBezTo>
                          <a:pt x="86" y="223"/>
                          <a:pt x="86" y="223"/>
                          <a:pt x="86" y="223"/>
                        </a:cubicBezTo>
                        <a:cubicBezTo>
                          <a:pt x="85" y="224"/>
                          <a:pt x="85" y="224"/>
                          <a:pt x="85" y="224"/>
                        </a:cubicBezTo>
                        <a:cubicBezTo>
                          <a:pt x="84" y="224"/>
                          <a:pt x="84" y="224"/>
                          <a:pt x="84" y="224"/>
                        </a:cubicBezTo>
                        <a:cubicBezTo>
                          <a:pt x="85" y="227"/>
                          <a:pt x="85" y="227"/>
                          <a:pt x="85" y="227"/>
                        </a:cubicBezTo>
                        <a:cubicBezTo>
                          <a:pt x="85" y="230"/>
                          <a:pt x="85" y="230"/>
                          <a:pt x="85" y="230"/>
                        </a:cubicBezTo>
                        <a:cubicBezTo>
                          <a:pt x="91" y="230"/>
                          <a:pt x="91" y="230"/>
                          <a:pt x="91" y="230"/>
                        </a:cubicBezTo>
                        <a:cubicBezTo>
                          <a:pt x="98" y="233"/>
                          <a:pt x="98" y="233"/>
                          <a:pt x="98" y="233"/>
                        </a:cubicBezTo>
                        <a:cubicBezTo>
                          <a:pt x="100" y="241"/>
                          <a:pt x="100" y="241"/>
                          <a:pt x="100" y="241"/>
                        </a:cubicBezTo>
                        <a:cubicBezTo>
                          <a:pt x="101" y="241"/>
                          <a:pt x="101" y="241"/>
                          <a:pt x="101" y="241"/>
                        </a:cubicBezTo>
                        <a:cubicBezTo>
                          <a:pt x="105" y="240"/>
                          <a:pt x="105" y="240"/>
                          <a:pt x="105" y="240"/>
                        </a:cubicBezTo>
                        <a:cubicBezTo>
                          <a:pt x="106" y="241"/>
                          <a:pt x="106" y="241"/>
                          <a:pt x="106" y="241"/>
                        </a:cubicBezTo>
                        <a:cubicBezTo>
                          <a:pt x="108" y="241"/>
                          <a:pt x="108" y="241"/>
                          <a:pt x="108" y="241"/>
                        </a:cubicBezTo>
                        <a:cubicBezTo>
                          <a:pt x="109" y="242"/>
                          <a:pt x="109" y="242"/>
                          <a:pt x="109" y="242"/>
                        </a:cubicBezTo>
                        <a:cubicBezTo>
                          <a:pt x="117" y="242"/>
                          <a:pt x="117" y="242"/>
                          <a:pt x="117" y="242"/>
                        </a:cubicBezTo>
                        <a:cubicBezTo>
                          <a:pt x="118" y="243"/>
                          <a:pt x="118" y="243"/>
                          <a:pt x="118" y="243"/>
                        </a:cubicBezTo>
                        <a:cubicBezTo>
                          <a:pt x="118" y="242"/>
                          <a:pt x="118" y="242"/>
                          <a:pt x="118" y="242"/>
                        </a:cubicBezTo>
                        <a:cubicBezTo>
                          <a:pt x="119" y="241"/>
                          <a:pt x="119" y="241"/>
                          <a:pt x="119" y="241"/>
                        </a:cubicBezTo>
                        <a:cubicBezTo>
                          <a:pt x="121" y="241"/>
                          <a:pt x="121" y="241"/>
                          <a:pt x="121" y="241"/>
                        </a:cubicBezTo>
                        <a:cubicBezTo>
                          <a:pt x="122" y="243"/>
                          <a:pt x="122" y="243"/>
                          <a:pt x="122" y="243"/>
                        </a:cubicBezTo>
                        <a:cubicBezTo>
                          <a:pt x="126" y="247"/>
                          <a:pt x="126" y="247"/>
                          <a:pt x="126" y="247"/>
                        </a:cubicBezTo>
                        <a:cubicBezTo>
                          <a:pt x="128" y="246"/>
                          <a:pt x="128" y="246"/>
                          <a:pt x="128" y="246"/>
                        </a:cubicBezTo>
                        <a:cubicBezTo>
                          <a:pt x="131" y="246"/>
                          <a:pt x="131" y="246"/>
                          <a:pt x="131" y="246"/>
                        </a:cubicBezTo>
                        <a:cubicBezTo>
                          <a:pt x="132" y="247"/>
                          <a:pt x="132" y="247"/>
                          <a:pt x="132" y="247"/>
                        </a:cubicBezTo>
                        <a:cubicBezTo>
                          <a:pt x="134" y="248"/>
                          <a:pt x="134" y="248"/>
                          <a:pt x="134" y="248"/>
                        </a:cubicBezTo>
                        <a:cubicBezTo>
                          <a:pt x="141" y="248"/>
                          <a:pt x="141" y="248"/>
                          <a:pt x="141" y="248"/>
                        </a:cubicBezTo>
                        <a:cubicBezTo>
                          <a:pt x="141" y="249"/>
                          <a:pt x="141" y="249"/>
                          <a:pt x="141" y="249"/>
                        </a:cubicBezTo>
                        <a:cubicBezTo>
                          <a:pt x="142" y="250"/>
                          <a:pt x="142" y="250"/>
                          <a:pt x="142" y="250"/>
                        </a:cubicBezTo>
                        <a:cubicBezTo>
                          <a:pt x="145" y="252"/>
                          <a:pt x="145" y="252"/>
                          <a:pt x="145" y="252"/>
                        </a:cubicBezTo>
                        <a:cubicBezTo>
                          <a:pt x="149" y="252"/>
                          <a:pt x="149" y="252"/>
                          <a:pt x="149" y="252"/>
                        </a:cubicBezTo>
                        <a:cubicBezTo>
                          <a:pt x="150" y="253"/>
                          <a:pt x="150" y="253"/>
                          <a:pt x="150" y="253"/>
                        </a:cubicBezTo>
                        <a:cubicBezTo>
                          <a:pt x="150" y="257"/>
                          <a:pt x="150" y="257"/>
                          <a:pt x="150" y="257"/>
                        </a:cubicBezTo>
                        <a:cubicBezTo>
                          <a:pt x="147" y="259"/>
                          <a:pt x="147" y="259"/>
                          <a:pt x="147" y="259"/>
                        </a:cubicBezTo>
                        <a:cubicBezTo>
                          <a:pt x="148" y="259"/>
                          <a:pt x="148" y="259"/>
                          <a:pt x="148" y="259"/>
                        </a:cubicBezTo>
                        <a:cubicBezTo>
                          <a:pt x="149" y="260"/>
                          <a:pt x="149" y="260"/>
                          <a:pt x="149" y="260"/>
                        </a:cubicBezTo>
                        <a:cubicBezTo>
                          <a:pt x="150" y="260"/>
                          <a:pt x="150" y="260"/>
                          <a:pt x="150" y="260"/>
                        </a:cubicBezTo>
                        <a:cubicBezTo>
                          <a:pt x="151" y="261"/>
                          <a:pt x="151" y="261"/>
                          <a:pt x="151" y="261"/>
                        </a:cubicBezTo>
                        <a:cubicBezTo>
                          <a:pt x="150" y="262"/>
                          <a:pt x="150" y="262"/>
                          <a:pt x="150" y="262"/>
                        </a:cubicBezTo>
                        <a:cubicBezTo>
                          <a:pt x="147" y="262"/>
                          <a:pt x="147" y="262"/>
                          <a:pt x="147" y="262"/>
                        </a:cubicBezTo>
                        <a:cubicBezTo>
                          <a:pt x="146" y="263"/>
                          <a:pt x="146" y="263"/>
                          <a:pt x="146" y="263"/>
                        </a:cubicBezTo>
                        <a:cubicBezTo>
                          <a:pt x="148" y="265"/>
                          <a:pt x="148" y="265"/>
                          <a:pt x="148" y="265"/>
                        </a:cubicBezTo>
                        <a:cubicBezTo>
                          <a:pt x="150" y="266"/>
                          <a:pt x="150" y="266"/>
                          <a:pt x="150" y="266"/>
                        </a:cubicBezTo>
                        <a:cubicBezTo>
                          <a:pt x="150" y="268"/>
                          <a:pt x="150" y="268"/>
                          <a:pt x="150" y="268"/>
                        </a:cubicBezTo>
                        <a:cubicBezTo>
                          <a:pt x="151" y="270"/>
                          <a:pt x="151" y="270"/>
                          <a:pt x="151" y="270"/>
                        </a:cubicBezTo>
                        <a:cubicBezTo>
                          <a:pt x="151" y="271"/>
                          <a:pt x="151" y="271"/>
                          <a:pt x="151" y="271"/>
                        </a:cubicBezTo>
                        <a:cubicBezTo>
                          <a:pt x="149" y="273"/>
                          <a:pt x="149" y="273"/>
                          <a:pt x="149" y="273"/>
                        </a:cubicBezTo>
                        <a:cubicBezTo>
                          <a:pt x="147" y="273"/>
                          <a:pt x="147" y="273"/>
                          <a:pt x="147" y="273"/>
                        </a:cubicBezTo>
                        <a:cubicBezTo>
                          <a:pt x="145" y="274"/>
                          <a:pt x="145" y="274"/>
                          <a:pt x="145" y="274"/>
                        </a:cubicBezTo>
                        <a:cubicBezTo>
                          <a:pt x="140" y="274"/>
                          <a:pt x="140" y="274"/>
                          <a:pt x="140" y="274"/>
                        </a:cubicBezTo>
                        <a:cubicBezTo>
                          <a:pt x="138" y="276"/>
                          <a:pt x="138" y="276"/>
                          <a:pt x="138" y="276"/>
                        </a:cubicBezTo>
                        <a:cubicBezTo>
                          <a:pt x="138" y="277"/>
                          <a:pt x="138" y="277"/>
                          <a:pt x="138" y="277"/>
                        </a:cubicBezTo>
                        <a:cubicBezTo>
                          <a:pt x="137" y="278"/>
                          <a:pt x="137" y="278"/>
                          <a:pt x="137" y="278"/>
                        </a:cubicBezTo>
                        <a:cubicBezTo>
                          <a:pt x="134" y="278"/>
                          <a:pt x="134" y="278"/>
                          <a:pt x="134" y="278"/>
                        </a:cubicBezTo>
                        <a:cubicBezTo>
                          <a:pt x="134" y="284"/>
                          <a:pt x="134" y="284"/>
                          <a:pt x="134" y="284"/>
                        </a:cubicBezTo>
                        <a:cubicBezTo>
                          <a:pt x="135" y="284"/>
                          <a:pt x="135" y="284"/>
                          <a:pt x="135" y="284"/>
                        </a:cubicBezTo>
                        <a:cubicBezTo>
                          <a:pt x="136" y="283"/>
                          <a:pt x="136" y="283"/>
                          <a:pt x="136" y="283"/>
                        </a:cubicBezTo>
                        <a:cubicBezTo>
                          <a:pt x="138" y="283"/>
                          <a:pt x="138" y="283"/>
                          <a:pt x="138" y="283"/>
                        </a:cubicBezTo>
                        <a:cubicBezTo>
                          <a:pt x="140" y="282"/>
                          <a:pt x="140" y="282"/>
                          <a:pt x="140" y="282"/>
                        </a:cubicBezTo>
                        <a:cubicBezTo>
                          <a:pt x="145" y="282"/>
                          <a:pt x="145" y="282"/>
                          <a:pt x="145" y="282"/>
                        </a:cubicBezTo>
                        <a:cubicBezTo>
                          <a:pt x="145" y="284"/>
                          <a:pt x="145" y="284"/>
                          <a:pt x="145" y="284"/>
                        </a:cubicBezTo>
                        <a:cubicBezTo>
                          <a:pt x="144" y="285"/>
                          <a:pt x="144" y="285"/>
                          <a:pt x="144" y="285"/>
                        </a:cubicBezTo>
                        <a:cubicBezTo>
                          <a:pt x="143" y="287"/>
                          <a:pt x="143" y="287"/>
                          <a:pt x="143" y="287"/>
                        </a:cubicBezTo>
                        <a:cubicBezTo>
                          <a:pt x="141" y="288"/>
                          <a:pt x="141" y="288"/>
                          <a:pt x="141" y="288"/>
                        </a:cubicBezTo>
                        <a:cubicBezTo>
                          <a:pt x="140" y="289"/>
                          <a:pt x="140" y="289"/>
                          <a:pt x="140" y="289"/>
                        </a:cubicBezTo>
                        <a:cubicBezTo>
                          <a:pt x="131" y="291"/>
                          <a:pt x="131" y="291"/>
                          <a:pt x="131" y="291"/>
                        </a:cubicBezTo>
                        <a:cubicBezTo>
                          <a:pt x="139" y="297"/>
                          <a:pt x="139" y="297"/>
                          <a:pt x="139" y="297"/>
                        </a:cubicBezTo>
                        <a:cubicBezTo>
                          <a:pt x="138" y="297"/>
                          <a:pt x="138" y="297"/>
                          <a:pt x="138" y="297"/>
                        </a:cubicBezTo>
                        <a:cubicBezTo>
                          <a:pt x="137" y="298"/>
                          <a:pt x="137" y="298"/>
                          <a:pt x="137" y="298"/>
                        </a:cubicBezTo>
                        <a:cubicBezTo>
                          <a:pt x="135" y="298"/>
                          <a:pt x="135" y="298"/>
                          <a:pt x="135" y="298"/>
                        </a:cubicBezTo>
                        <a:cubicBezTo>
                          <a:pt x="134" y="299"/>
                          <a:pt x="134" y="299"/>
                          <a:pt x="134" y="299"/>
                        </a:cubicBezTo>
                        <a:cubicBezTo>
                          <a:pt x="132" y="303"/>
                          <a:pt x="132" y="303"/>
                          <a:pt x="132" y="303"/>
                        </a:cubicBezTo>
                        <a:cubicBezTo>
                          <a:pt x="132" y="306"/>
                          <a:pt x="132" y="306"/>
                          <a:pt x="132" y="306"/>
                        </a:cubicBezTo>
                        <a:cubicBezTo>
                          <a:pt x="130" y="307"/>
                          <a:pt x="130" y="307"/>
                          <a:pt x="130" y="307"/>
                        </a:cubicBezTo>
                        <a:cubicBezTo>
                          <a:pt x="129" y="308"/>
                          <a:pt x="129" y="308"/>
                          <a:pt x="129" y="308"/>
                        </a:cubicBezTo>
                        <a:cubicBezTo>
                          <a:pt x="127" y="308"/>
                          <a:pt x="127" y="308"/>
                          <a:pt x="127" y="308"/>
                        </a:cubicBezTo>
                        <a:cubicBezTo>
                          <a:pt x="126" y="307"/>
                          <a:pt x="126" y="307"/>
                          <a:pt x="126" y="307"/>
                        </a:cubicBezTo>
                        <a:cubicBezTo>
                          <a:pt x="124" y="306"/>
                          <a:pt x="124" y="306"/>
                          <a:pt x="124" y="306"/>
                        </a:cubicBezTo>
                        <a:cubicBezTo>
                          <a:pt x="123" y="305"/>
                          <a:pt x="123" y="305"/>
                          <a:pt x="123" y="305"/>
                        </a:cubicBezTo>
                        <a:cubicBezTo>
                          <a:pt x="122" y="308"/>
                          <a:pt x="122" y="308"/>
                          <a:pt x="122" y="308"/>
                        </a:cubicBezTo>
                        <a:cubicBezTo>
                          <a:pt x="123" y="309"/>
                          <a:pt x="123" y="309"/>
                          <a:pt x="123" y="309"/>
                        </a:cubicBezTo>
                        <a:cubicBezTo>
                          <a:pt x="124" y="311"/>
                          <a:pt x="124" y="311"/>
                          <a:pt x="124" y="311"/>
                        </a:cubicBezTo>
                        <a:cubicBezTo>
                          <a:pt x="125" y="312"/>
                          <a:pt x="125" y="312"/>
                          <a:pt x="125" y="312"/>
                        </a:cubicBezTo>
                        <a:cubicBezTo>
                          <a:pt x="127" y="312"/>
                          <a:pt x="127" y="312"/>
                          <a:pt x="127" y="312"/>
                        </a:cubicBezTo>
                        <a:cubicBezTo>
                          <a:pt x="127" y="313"/>
                          <a:pt x="127" y="313"/>
                          <a:pt x="127" y="313"/>
                        </a:cubicBezTo>
                        <a:cubicBezTo>
                          <a:pt x="128" y="315"/>
                          <a:pt x="128" y="315"/>
                          <a:pt x="128" y="315"/>
                        </a:cubicBezTo>
                        <a:cubicBezTo>
                          <a:pt x="129" y="316"/>
                          <a:pt x="129" y="316"/>
                          <a:pt x="129" y="316"/>
                        </a:cubicBezTo>
                        <a:cubicBezTo>
                          <a:pt x="135" y="316"/>
                          <a:pt x="135" y="316"/>
                          <a:pt x="135" y="316"/>
                        </a:cubicBezTo>
                        <a:cubicBezTo>
                          <a:pt x="136" y="317"/>
                          <a:pt x="136" y="317"/>
                          <a:pt x="136" y="317"/>
                        </a:cubicBezTo>
                        <a:cubicBezTo>
                          <a:pt x="138" y="318"/>
                          <a:pt x="138" y="318"/>
                          <a:pt x="138" y="318"/>
                        </a:cubicBezTo>
                        <a:cubicBezTo>
                          <a:pt x="139" y="320"/>
                          <a:pt x="139" y="320"/>
                          <a:pt x="139" y="320"/>
                        </a:cubicBezTo>
                        <a:cubicBezTo>
                          <a:pt x="140" y="321"/>
                          <a:pt x="140" y="321"/>
                          <a:pt x="140" y="321"/>
                        </a:cubicBezTo>
                        <a:cubicBezTo>
                          <a:pt x="145" y="321"/>
                          <a:pt x="145" y="321"/>
                          <a:pt x="145" y="321"/>
                        </a:cubicBezTo>
                        <a:cubicBezTo>
                          <a:pt x="148" y="324"/>
                          <a:pt x="148" y="324"/>
                          <a:pt x="148" y="324"/>
                        </a:cubicBezTo>
                        <a:cubicBezTo>
                          <a:pt x="149" y="326"/>
                          <a:pt x="149" y="326"/>
                          <a:pt x="149" y="326"/>
                        </a:cubicBezTo>
                        <a:cubicBezTo>
                          <a:pt x="151" y="327"/>
                          <a:pt x="151" y="327"/>
                          <a:pt x="151" y="327"/>
                        </a:cubicBezTo>
                        <a:cubicBezTo>
                          <a:pt x="155" y="331"/>
                          <a:pt x="155" y="331"/>
                          <a:pt x="155" y="331"/>
                        </a:cubicBezTo>
                        <a:cubicBezTo>
                          <a:pt x="156" y="331"/>
                          <a:pt x="156" y="331"/>
                          <a:pt x="156" y="331"/>
                        </a:cubicBezTo>
                        <a:cubicBezTo>
                          <a:pt x="158" y="332"/>
                          <a:pt x="158" y="332"/>
                          <a:pt x="158" y="332"/>
                        </a:cubicBezTo>
                        <a:cubicBezTo>
                          <a:pt x="159" y="332"/>
                          <a:pt x="159" y="332"/>
                          <a:pt x="159" y="332"/>
                        </a:cubicBezTo>
                        <a:cubicBezTo>
                          <a:pt x="161" y="332"/>
                          <a:pt x="161" y="332"/>
                          <a:pt x="161" y="332"/>
                        </a:cubicBezTo>
                        <a:cubicBezTo>
                          <a:pt x="164" y="330"/>
                          <a:pt x="164" y="330"/>
                          <a:pt x="164" y="330"/>
                        </a:cubicBezTo>
                        <a:cubicBezTo>
                          <a:pt x="166" y="330"/>
                          <a:pt x="166" y="330"/>
                          <a:pt x="166" y="330"/>
                        </a:cubicBezTo>
                        <a:cubicBezTo>
                          <a:pt x="169" y="331"/>
                          <a:pt x="169" y="331"/>
                          <a:pt x="169" y="331"/>
                        </a:cubicBezTo>
                        <a:cubicBezTo>
                          <a:pt x="171" y="332"/>
                          <a:pt x="171" y="332"/>
                          <a:pt x="171" y="332"/>
                        </a:cubicBezTo>
                        <a:cubicBezTo>
                          <a:pt x="174" y="333"/>
                          <a:pt x="174" y="333"/>
                          <a:pt x="174" y="333"/>
                        </a:cubicBezTo>
                        <a:cubicBezTo>
                          <a:pt x="184" y="335"/>
                          <a:pt x="184" y="335"/>
                          <a:pt x="184" y="335"/>
                        </a:cubicBezTo>
                        <a:cubicBezTo>
                          <a:pt x="190" y="335"/>
                          <a:pt x="190" y="335"/>
                          <a:pt x="190" y="335"/>
                        </a:cubicBezTo>
                        <a:cubicBezTo>
                          <a:pt x="191" y="336"/>
                          <a:pt x="191" y="336"/>
                          <a:pt x="191" y="336"/>
                        </a:cubicBezTo>
                        <a:cubicBezTo>
                          <a:pt x="192" y="336"/>
                          <a:pt x="192" y="336"/>
                          <a:pt x="192" y="336"/>
                        </a:cubicBezTo>
                        <a:cubicBezTo>
                          <a:pt x="200" y="341"/>
                          <a:pt x="200" y="341"/>
                          <a:pt x="200" y="341"/>
                        </a:cubicBezTo>
                        <a:cubicBezTo>
                          <a:pt x="200" y="342"/>
                          <a:pt x="200" y="342"/>
                          <a:pt x="200" y="342"/>
                        </a:cubicBezTo>
                        <a:cubicBezTo>
                          <a:pt x="201" y="342"/>
                          <a:pt x="201" y="342"/>
                          <a:pt x="201" y="342"/>
                        </a:cubicBezTo>
                        <a:cubicBezTo>
                          <a:pt x="203" y="343"/>
                          <a:pt x="203" y="343"/>
                          <a:pt x="203" y="343"/>
                        </a:cubicBezTo>
                        <a:cubicBezTo>
                          <a:pt x="207" y="343"/>
                          <a:pt x="207" y="343"/>
                          <a:pt x="207" y="343"/>
                        </a:cubicBezTo>
                        <a:cubicBezTo>
                          <a:pt x="208" y="342"/>
                          <a:pt x="208" y="342"/>
                          <a:pt x="208" y="342"/>
                        </a:cubicBezTo>
                        <a:cubicBezTo>
                          <a:pt x="210" y="342"/>
                          <a:pt x="210" y="342"/>
                          <a:pt x="210" y="342"/>
                        </a:cubicBezTo>
                        <a:cubicBezTo>
                          <a:pt x="210" y="341"/>
                          <a:pt x="210" y="341"/>
                          <a:pt x="210" y="341"/>
                        </a:cubicBezTo>
                        <a:cubicBezTo>
                          <a:pt x="215" y="341"/>
                          <a:pt x="215" y="341"/>
                          <a:pt x="215" y="341"/>
                        </a:cubicBezTo>
                        <a:cubicBezTo>
                          <a:pt x="217" y="342"/>
                          <a:pt x="217" y="342"/>
                          <a:pt x="217" y="342"/>
                        </a:cubicBezTo>
                        <a:cubicBezTo>
                          <a:pt x="219" y="344"/>
                          <a:pt x="219" y="344"/>
                          <a:pt x="219" y="344"/>
                        </a:cubicBezTo>
                        <a:cubicBezTo>
                          <a:pt x="224" y="345"/>
                          <a:pt x="224" y="345"/>
                          <a:pt x="224" y="345"/>
                        </a:cubicBezTo>
                        <a:cubicBezTo>
                          <a:pt x="224" y="347"/>
                          <a:pt x="224" y="347"/>
                          <a:pt x="224" y="347"/>
                        </a:cubicBezTo>
                        <a:cubicBezTo>
                          <a:pt x="223" y="348"/>
                          <a:pt x="223" y="348"/>
                          <a:pt x="223" y="348"/>
                        </a:cubicBezTo>
                        <a:cubicBezTo>
                          <a:pt x="223" y="349"/>
                          <a:pt x="223" y="349"/>
                          <a:pt x="223" y="349"/>
                        </a:cubicBezTo>
                        <a:cubicBezTo>
                          <a:pt x="226" y="349"/>
                          <a:pt x="226" y="349"/>
                          <a:pt x="226" y="349"/>
                        </a:cubicBezTo>
                        <a:cubicBezTo>
                          <a:pt x="228" y="351"/>
                          <a:pt x="228" y="351"/>
                          <a:pt x="228" y="351"/>
                        </a:cubicBezTo>
                        <a:cubicBezTo>
                          <a:pt x="230" y="352"/>
                          <a:pt x="230" y="352"/>
                          <a:pt x="230" y="352"/>
                        </a:cubicBezTo>
                        <a:cubicBezTo>
                          <a:pt x="232" y="354"/>
                          <a:pt x="232" y="354"/>
                          <a:pt x="232" y="354"/>
                        </a:cubicBezTo>
                        <a:cubicBezTo>
                          <a:pt x="234" y="353"/>
                          <a:pt x="234" y="353"/>
                          <a:pt x="234" y="353"/>
                        </a:cubicBezTo>
                        <a:cubicBezTo>
                          <a:pt x="235" y="353"/>
                          <a:pt x="235" y="353"/>
                          <a:pt x="235" y="353"/>
                        </a:cubicBezTo>
                        <a:cubicBezTo>
                          <a:pt x="239" y="355"/>
                          <a:pt x="239" y="355"/>
                          <a:pt x="239" y="355"/>
                        </a:cubicBezTo>
                        <a:cubicBezTo>
                          <a:pt x="242" y="358"/>
                          <a:pt x="242" y="358"/>
                          <a:pt x="242" y="358"/>
                        </a:cubicBezTo>
                        <a:cubicBezTo>
                          <a:pt x="243" y="360"/>
                          <a:pt x="243" y="360"/>
                          <a:pt x="243" y="360"/>
                        </a:cubicBezTo>
                        <a:cubicBezTo>
                          <a:pt x="245" y="361"/>
                          <a:pt x="245" y="361"/>
                          <a:pt x="245" y="361"/>
                        </a:cubicBezTo>
                        <a:cubicBezTo>
                          <a:pt x="246" y="362"/>
                          <a:pt x="246" y="362"/>
                          <a:pt x="246" y="362"/>
                        </a:cubicBezTo>
                        <a:cubicBezTo>
                          <a:pt x="250" y="362"/>
                          <a:pt x="250" y="362"/>
                          <a:pt x="250" y="362"/>
                        </a:cubicBezTo>
                        <a:cubicBezTo>
                          <a:pt x="251" y="361"/>
                          <a:pt x="251" y="361"/>
                          <a:pt x="251" y="361"/>
                        </a:cubicBezTo>
                        <a:cubicBezTo>
                          <a:pt x="251" y="359"/>
                          <a:pt x="251" y="359"/>
                          <a:pt x="251" y="359"/>
                        </a:cubicBezTo>
                        <a:cubicBezTo>
                          <a:pt x="254" y="359"/>
                          <a:pt x="254" y="359"/>
                          <a:pt x="254" y="359"/>
                        </a:cubicBezTo>
                        <a:cubicBezTo>
                          <a:pt x="255" y="358"/>
                          <a:pt x="255" y="358"/>
                          <a:pt x="255" y="358"/>
                        </a:cubicBezTo>
                        <a:cubicBezTo>
                          <a:pt x="255" y="353"/>
                          <a:pt x="255" y="353"/>
                          <a:pt x="255" y="353"/>
                        </a:cubicBezTo>
                        <a:cubicBezTo>
                          <a:pt x="254" y="352"/>
                          <a:pt x="254" y="352"/>
                          <a:pt x="254" y="352"/>
                        </a:cubicBezTo>
                        <a:cubicBezTo>
                          <a:pt x="254" y="351"/>
                          <a:pt x="254" y="351"/>
                          <a:pt x="254" y="351"/>
                        </a:cubicBezTo>
                        <a:cubicBezTo>
                          <a:pt x="252" y="349"/>
                          <a:pt x="252" y="349"/>
                          <a:pt x="252" y="349"/>
                        </a:cubicBezTo>
                        <a:cubicBezTo>
                          <a:pt x="251" y="347"/>
                          <a:pt x="251" y="347"/>
                          <a:pt x="251" y="347"/>
                        </a:cubicBezTo>
                        <a:cubicBezTo>
                          <a:pt x="250" y="346"/>
                          <a:pt x="250" y="346"/>
                          <a:pt x="250" y="346"/>
                        </a:cubicBezTo>
                        <a:cubicBezTo>
                          <a:pt x="248" y="345"/>
                          <a:pt x="248" y="345"/>
                          <a:pt x="248" y="345"/>
                        </a:cubicBezTo>
                        <a:cubicBezTo>
                          <a:pt x="247" y="344"/>
                          <a:pt x="247" y="344"/>
                          <a:pt x="247" y="344"/>
                        </a:cubicBezTo>
                        <a:cubicBezTo>
                          <a:pt x="245" y="344"/>
                          <a:pt x="245" y="344"/>
                          <a:pt x="245" y="344"/>
                        </a:cubicBezTo>
                        <a:cubicBezTo>
                          <a:pt x="245" y="340"/>
                          <a:pt x="245" y="340"/>
                          <a:pt x="245" y="340"/>
                        </a:cubicBezTo>
                        <a:cubicBezTo>
                          <a:pt x="244" y="339"/>
                          <a:pt x="244" y="339"/>
                          <a:pt x="244" y="339"/>
                        </a:cubicBezTo>
                        <a:cubicBezTo>
                          <a:pt x="242" y="338"/>
                          <a:pt x="242" y="338"/>
                          <a:pt x="242" y="338"/>
                        </a:cubicBezTo>
                        <a:cubicBezTo>
                          <a:pt x="241" y="336"/>
                          <a:pt x="241" y="336"/>
                          <a:pt x="241" y="336"/>
                        </a:cubicBezTo>
                        <a:cubicBezTo>
                          <a:pt x="240" y="335"/>
                          <a:pt x="240" y="335"/>
                          <a:pt x="240" y="335"/>
                        </a:cubicBezTo>
                        <a:cubicBezTo>
                          <a:pt x="240" y="333"/>
                          <a:pt x="240" y="333"/>
                          <a:pt x="240" y="333"/>
                        </a:cubicBezTo>
                        <a:cubicBezTo>
                          <a:pt x="241" y="331"/>
                          <a:pt x="241" y="331"/>
                          <a:pt x="241" y="331"/>
                        </a:cubicBezTo>
                        <a:cubicBezTo>
                          <a:pt x="241" y="329"/>
                          <a:pt x="241" y="329"/>
                          <a:pt x="241" y="329"/>
                        </a:cubicBezTo>
                        <a:cubicBezTo>
                          <a:pt x="239" y="325"/>
                          <a:pt x="239" y="325"/>
                          <a:pt x="239" y="325"/>
                        </a:cubicBezTo>
                        <a:cubicBezTo>
                          <a:pt x="238" y="324"/>
                          <a:pt x="238" y="324"/>
                          <a:pt x="238" y="324"/>
                        </a:cubicBezTo>
                        <a:cubicBezTo>
                          <a:pt x="237" y="322"/>
                          <a:pt x="237" y="322"/>
                          <a:pt x="237" y="322"/>
                        </a:cubicBezTo>
                        <a:cubicBezTo>
                          <a:pt x="235" y="321"/>
                          <a:pt x="235" y="321"/>
                          <a:pt x="235" y="321"/>
                        </a:cubicBezTo>
                        <a:cubicBezTo>
                          <a:pt x="234" y="320"/>
                          <a:pt x="234" y="320"/>
                          <a:pt x="234" y="320"/>
                        </a:cubicBezTo>
                        <a:cubicBezTo>
                          <a:pt x="232" y="320"/>
                          <a:pt x="232" y="320"/>
                          <a:pt x="232" y="320"/>
                        </a:cubicBezTo>
                        <a:cubicBezTo>
                          <a:pt x="229" y="319"/>
                          <a:pt x="229" y="319"/>
                          <a:pt x="229" y="319"/>
                        </a:cubicBezTo>
                        <a:cubicBezTo>
                          <a:pt x="229" y="316"/>
                          <a:pt x="229" y="316"/>
                          <a:pt x="229" y="316"/>
                        </a:cubicBezTo>
                        <a:cubicBezTo>
                          <a:pt x="235" y="310"/>
                          <a:pt x="235" y="310"/>
                          <a:pt x="235" y="310"/>
                        </a:cubicBezTo>
                        <a:cubicBezTo>
                          <a:pt x="236" y="308"/>
                          <a:pt x="236" y="308"/>
                          <a:pt x="236" y="308"/>
                        </a:cubicBezTo>
                        <a:cubicBezTo>
                          <a:pt x="237" y="307"/>
                          <a:pt x="237" y="307"/>
                          <a:pt x="237" y="307"/>
                        </a:cubicBezTo>
                        <a:cubicBezTo>
                          <a:pt x="237" y="306"/>
                          <a:pt x="237" y="306"/>
                          <a:pt x="237" y="306"/>
                        </a:cubicBezTo>
                        <a:cubicBezTo>
                          <a:pt x="236" y="304"/>
                          <a:pt x="236" y="304"/>
                          <a:pt x="236" y="304"/>
                        </a:cubicBezTo>
                        <a:cubicBezTo>
                          <a:pt x="234" y="302"/>
                          <a:pt x="234" y="302"/>
                          <a:pt x="234" y="302"/>
                        </a:cubicBezTo>
                        <a:cubicBezTo>
                          <a:pt x="236" y="302"/>
                          <a:pt x="236" y="302"/>
                          <a:pt x="236" y="302"/>
                        </a:cubicBezTo>
                        <a:cubicBezTo>
                          <a:pt x="238" y="303"/>
                          <a:pt x="238" y="303"/>
                          <a:pt x="238" y="303"/>
                        </a:cubicBezTo>
                        <a:cubicBezTo>
                          <a:pt x="241" y="303"/>
                          <a:pt x="241" y="303"/>
                          <a:pt x="241" y="303"/>
                        </a:cubicBezTo>
                        <a:cubicBezTo>
                          <a:pt x="243" y="301"/>
                          <a:pt x="243" y="301"/>
                          <a:pt x="243" y="301"/>
                        </a:cubicBezTo>
                        <a:cubicBezTo>
                          <a:pt x="248" y="301"/>
                          <a:pt x="248" y="301"/>
                          <a:pt x="248" y="301"/>
                        </a:cubicBezTo>
                        <a:cubicBezTo>
                          <a:pt x="249" y="300"/>
                          <a:pt x="249" y="300"/>
                          <a:pt x="249" y="300"/>
                        </a:cubicBezTo>
                        <a:cubicBezTo>
                          <a:pt x="246" y="297"/>
                          <a:pt x="246" y="297"/>
                          <a:pt x="246" y="297"/>
                        </a:cubicBezTo>
                        <a:cubicBezTo>
                          <a:pt x="251" y="297"/>
                          <a:pt x="251" y="297"/>
                          <a:pt x="251" y="297"/>
                        </a:cubicBezTo>
                        <a:cubicBezTo>
                          <a:pt x="251" y="294"/>
                          <a:pt x="251" y="294"/>
                          <a:pt x="251" y="294"/>
                        </a:cubicBezTo>
                        <a:cubicBezTo>
                          <a:pt x="249" y="294"/>
                          <a:pt x="249" y="294"/>
                          <a:pt x="249" y="294"/>
                        </a:cubicBezTo>
                        <a:cubicBezTo>
                          <a:pt x="245" y="292"/>
                          <a:pt x="245" y="292"/>
                          <a:pt x="245" y="292"/>
                        </a:cubicBezTo>
                        <a:cubicBezTo>
                          <a:pt x="243" y="290"/>
                          <a:pt x="243" y="290"/>
                          <a:pt x="243" y="290"/>
                        </a:cubicBezTo>
                        <a:cubicBezTo>
                          <a:pt x="243" y="289"/>
                          <a:pt x="243" y="289"/>
                          <a:pt x="243" y="289"/>
                        </a:cubicBezTo>
                        <a:cubicBezTo>
                          <a:pt x="249" y="289"/>
                          <a:pt x="249" y="289"/>
                          <a:pt x="249" y="289"/>
                        </a:cubicBezTo>
                        <a:cubicBezTo>
                          <a:pt x="249" y="287"/>
                          <a:pt x="249" y="287"/>
                          <a:pt x="249" y="287"/>
                        </a:cubicBezTo>
                        <a:cubicBezTo>
                          <a:pt x="247" y="285"/>
                          <a:pt x="247" y="285"/>
                          <a:pt x="247" y="285"/>
                        </a:cubicBezTo>
                        <a:cubicBezTo>
                          <a:pt x="246" y="283"/>
                          <a:pt x="246" y="283"/>
                          <a:pt x="246" y="283"/>
                        </a:cubicBezTo>
                        <a:cubicBezTo>
                          <a:pt x="238" y="275"/>
                          <a:pt x="238" y="275"/>
                          <a:pt x="238" y="275"/>
                        </a:cubicBezTo>
                        <a:cubicBezTo>
                          <a:pt x="236" y="275"/>
                          <a:pt x="236" y="275"/>
                          <a:pt x="236" y="275"/>
                        </a:cubicBezTo>
                        <a:cubicBezTo>
                          <a:pt x="234" y="276"/>
                          <a:pt x="234" y="276"/>
                          <a:pt x="234" y="276"/>
                        </a:cubicBezTo>
                        <a:cubicBezTo>
                          <a:pt x="227" y="276"/>
                          <a:pt x="227" y="276"/>
                          <a:pt x="227" y="276"/>
                        </a:cubicBezTo>
                        <a:cubicBezTo>
                          <a:pt x="226" y="275"/>
                          <a:pt x="226" y="275"/>
                          <a:pt x="226" y="275"/>
                        </a:cubicBezTo>
                        <a:cubicBezTo>
                          <a:pt x="226" y="270"/>
                          <a:pt x="226" y="270"/>
                          <a:pt x="226" y="270"/>
                        </a:cubicBezTo>
                        <a:cubicBezTo>
                          <a:pt x="225" y="269"/>
                          <a:pt x="225" y="269"/>
                          <a:pt x="225" y="269"/>
                        </a:cubicBezTo>
                        <a:cubicBezTo>
                          <a:pt x="221" y="269"/>
                          <a:pt x="221" y="269"/>
                          <a:pt x="221" y="269"/>
                        </a:cubicBezTo>
                        <a:cubicBezTo>
                          <a:pt x="220" y="268"/>
                          <a:pt x="220" y="268"/>
                          <a:pt x="220" y="268"/>
                        </a:cubicBezTo>
                        <a:cubicBezTo>
                          <a:pt x="219" y="268"/>
                          <a:pt x="219" y="268"/>
                          <a:pt x="219" y="268"/>
                        </a:cubicBezTo>
                        <a:cubicBezTo>
                          <a:pt x="219" y="263"/>
                          <a:pt x="219" y="263"/>
                          <a:pt x="219" y="263"/>
                        </a:cubicBezTo>
                        <a:cubicBezTo>
                          <a:pt x="221" y="259"/>
                          <a:pt x="221" y="259"/>
                          <a:pt x="221" y="259"/>
                        </a:cubicBezTo>
                        <a:cubicBezTo>
                          <a:pt x="221" y="255"/>
                          <a:pt x="221" y="255"/>
                          <a:pt x="221" y="255"/>
                        </a:cubicBezTo>
                        <a:cubicBezTo>
                          <a:pt x="220" y="254"/>
                          <a:pt x="220" y="254"/>
                          <a:pt x="220" y="254"/>
                        </a:cubicBezTo>
                        <a:cubicBezTo>
                          <a:pt x="219" y="248"/>
                          <a:pt x="219" y="248"/>
                          <a:pt x="219" y="248"/>
                        </a:cubicBezTo>
                        <a:cubicBezTo>
                          <a:pt x="223" y="248"/>
                          <a:pt x="223" y="248"/>
                          <a:pt x="223" y="248"/>
                        </a:cubicBezTo>
                        <a:cubicBezTo>
                          <a:pt x="223" y="244"/>
                          <a:pt x="223" y="244"/>
                          <a:pt x="223" y="244"/>
                        </a:cubicBezTo>
                        <a:cubicBezTo>
                          <a:pt x="222" y="243"/>
                          <a:pt x="222" y="243"/>
                          <a:pt x="222" y="243"/>
                        </a:cubicBezTo>
                        <a:cubicBezTo>
                          <a:pt x="222" y="241"/>
                          <a:pt x="222" y="241"/>
                          <a:pt x="222" y="241"/>
                        </a:cubicBezTo>
                        <a:cubicBezTo>
                          <a:pt x="223" y="240"/>
                          <a:pt x="223" y="240"/>
                          <a:pt x="223" y="240"/>
                        </a:cubicBezTo>
                        <a:cubicBezTo>
                          <a:pt x="225" y="240"/>
                          <a:pt x="225" y="240"/>
                          <a:pt x="225" y="240"/>
                        </a:cubicBezTo>
                        <a:cubicBezTo>
                          <a:pt x="227" y="241"/>
                          <a:pt x="227" y="241"/>
                          <a:pt x="227" y="241"/>
                        </a:cubicBezTo>
                        <a:cubicBezTo>
                          <a:pt x="229" y="243"/>
                          <a:pt x="229" y="243"/>
                          <a:pt x="229" y="243"/>
                        </a:cubicBezTo>
                        <a:cubicBezTo>
                          <a:pt x="231" y="244"/>
                          <a:pt x="231" y="244"/>
                          <a:pt x="231" y="244"/>
                        </a:cubicBezTo>
                        <a:cubicBezTo>
                          <a:pt x="232" y="246"/>
                          <a:pt x="232" y="246"/>
                          <a:pt x="232" y="246"/>
                        </a:cubicBezTo>
                        <a:cubicBezTo>
                          <a:pt x="234" y="247"/>
                          <a:pt x="234" y="247"/>
                          <a:pt x="234" y="247"/>
                        </a:cubicBezTo>
                        <a:cubicBezTo>
                          <a:pt x="236" y="247"/>
                          <a:pt x="236" y="247"/>
                          <a:pt x="236" y="247"/>
                        </a:cubicBezTo>
                        <a:cubicBezTo>
                          <a:pt x="237" y="246"/>
                          <a:pt x="237" y="246"/>
                          <a:pt x="237" y="246"/>
                        </a:cubicBezTo>
                        <a:cubicBezTo>
                          <a:pt x="238" y="244"/>
                          <a:pt x="238" y="244"/>
                          <a:pt x="238" y="244"/>
                        </a:cubicBezTo>
                        <a:cubicBezTo>
                          <a:pt x="239" y="243"/>
                          <a:pt x="239" y="243"/>
                          <a:pt x="239" y="243"/>
                        </a:cubicBezTo>
                        <a:cubicBezTo>
                          <a:pt x="238" y="241"/>
                          <a:pt x="238" y="241"/>
                          <a:pt x="238" y="241"/>
                        </a:cubicBezTo>
                        <a:cubicBezTo>
                          <a:pt x="236" y="239"/>
                          <a:pt x="236" y="239"/>
                          <a:pt x="236" y="239"/>
                        </a:cubicBezTo>
                        <a:cubicBezTo>
                          <a:pt x="241" y="237"/>
                          <a:pt x="241" y="237"/>
                          <a:pt x="241" y="237"/>
                        </a:cubicBezTo>
                        <a:cubicBezTo>
                          <a:pt x="241" y="233"/>
                          <a:pt x="241" y="233"/>
                          <a:pt x="241" y="233"/>
                        </a:cubicBezTo>
                        <a:cubicBezTo>
                          <a:pt x="242" y="233"/>
                          <a:pt x="242" y="233"/>
                          <a:pt x="242" y="233"/>
                        </a:cubicBezTo>
                        <a:cubicBezTo>
                          <a:pt x="244" y="232"/>
                          <a:pt x="244" y="232"/>
                          <a:pt x="244" y="232"/>
                        </a:cubicBezTo>
                        <a:cubicBezTo>
                          <a:pt x="246" y="232"/>
                          <a:pt x="246" y="232"/>
                          <a:pt x="246" y="232"/>
                        </a:cubicBezTo>
                        <a:cubicBezTo>
                          <a:pt x="248" y="231"/>
                          <a:pt x="248" y="231"/>
                          <a:pt x="248" y="231"/>
                        </a:cubicBezTo>
                        <a:cubicBezTo>
                          <a:pt x="250" y="229"/>
                          <a:pt x="250" y="229"/>
                          <a:pt x="250" y="229"/>
                        </a:cubicBezTo>
                        <a:cubicBezTo>
                          <a:pt x="250" y="226"/>
                          <a:pt x="250" y="226"/>
                          <a:pt x="250" y="226"/>
                        </a:cubicBezTo>
                        <a:cubicBezTo>
                          <a:pt x="249" y="225"/>
                          <a:pt x="249" y="225"/>
                          <a:pt x="249" y="225"/>
                        </a:cubicBezTo>
                        <a:cubicBezTo>
                          <a:pt x="249" y="224"/>
                          <a:pt x="249" y="224"/>
                          <a:pt x="249" y="224"/>
                        </a:cubicBezTo>
                        <a:cubicBezTo>
                          <a:pt x="254" y="224"/>
                          <a:pt x="254" y="224"/>
                          <a:pt x="254" y="224"/>
                        </a:cubicBezTo>
                        <a:cubicBezTo>
                          <a:pt x="256" y="225"/>
                          <a:pt x="256" y="225"/>
                          <a:pt x="256" y="225"/>
                        </a:cubicBezTo>
                        <a:cubicBezTo>
                          <a:pt x="257" y="225"/>
                          <a:pt x="257" y="225"/>
                          <a:pt x="257" y="225"/>
                        </a:cubicBezTo>
                        <a:cubicBezTo>
                          <a:pt x="257" y="226"/>
                          <a:pt x="257" y="226"/>
                          <a:pt x="257" y="226"/>
                        </a:cubicBezTo>
                        <a:cubicBezTo>
                          <a:pt x="258" y="227"/>
                          <a:pt x="258" y="227"/>
                          <a:pt x="258" y="227"/>
                        </a:cubicBezTo>
                        <a:cubicBezTo>
                          <a:pt x="263" y="227"/>
                          <a:pt x="263" y="227"/>
                          <a:pt x="263" y="227"/>
                        </a:cubicBezTo>
                        <a:cubicBezTo>
                          <a:pt x="265" y="225"/>
                          <a:pt x="265" y="225"/>
                          <a:pt x="265" y="225"/>
                        </a:cubicBezTo>
                        <a:cubicBezTo>
                          <a:pt x="267" y="224"/>
                          <a:pt x="267" y="224"/>
                          <a:pt x="267" y="224"/>
                        </a:cubicBezTo>
                        <a:cubicBezTo>
                          <a:pt x="270" y="224"/>
                          <a:pt x="270" y="224"/>
                          <a:pt x="270" y="224"/>
                        </a:cubicBezTo>
                        <a:cubicBezTo>
                          <a:pt x="271" y="225"/>
                          <a:pt x="271" y="225"/>
                          <a:pt x="271" y="225"/>
                        </a:cubicBezTo>
                        <a:cubicBezTo>
                          <a:pt x="272" y="227"/>
                          <a:pt x="272" y="227"/>
                          <a:pt x="272" y="227"/>
                        </a:cubicBezTo>
                        <a:cubicBezTo>
                          <a:pt x="282" y="227"/>
                          <a:pt x="282" y="227"/>
                          <a:pt x="282" y="227"/>
                        </a:cubicBezTo>
                        <a:cubicBezTo>
                          <a:pt x="283" y="228"/>
                          <a:pt x="283" y="228"/>
                          <a:pt x="283" y="228"/>
                        </a:cubicBezTo>
                        <a:cubicBezTo>
                          <a:pt x="283" y="229"/>
                          <a:pt x="283" y="229"/>
                          <a:pt x="283" y="229"/>
                        </a:cubicBezTo>
                        <a:cubicBezTo>
                          <a:pt x="284" y="231"/>
                          <a:pt x="284" y="231"/>
                          <a:pt x="284" y="231"/>
                        </a:cubicBezTo>
                        <a:cubicBezTo>
                          <a:pt x="286" y="231"/>
                          <a:pt x="286" y="231"/>
                          <a:pt x="286" y="231"/>
                        </a:cubicBezTo>
                        <a:cubicBezTo>
                          <a:pt x="286" y="230"/>
                          <a:pt x="286" y="230"/>
                          <a:pt x="286" y="229"/>
                        </a:cubicBezTo>
                        <a:cubicBezTo>
                          <a:pt x="287" y="227"/>
                          <a:pt x="287" y="223"/>
                          <a:pt x="287" y="223"/>
                        </a:cubicBezTo>
                        <a:close/>
                      </a:path>
                    </a:pathLst>
                  </a:custGeom>
                  <a:grpFill/>
                  <a:ln w="3175" cap="flat">
                    <a:solidFill>
                      <a:schemeClr val="bg1"/>
                    </a:solidFill>
                    <a:prstDash val="solid"/>
                    <a:miter lim="800000"/>
                    <a:headEnd/>
                    <a:tailEnd/>
                  </a:ln>
                </p:spPr>
                <p:txBody>
                  <a:bodyPr vert="horz" wrap="square" lIns="91461" tIns="45731" rIns="91461" bIns="45731" numCol="1" anchor="t" anchorCtr="0" compatLnSpc="1">
                    <a:prstTxWarp prst="textNoShape">
                      <a:avLst/>
                    </a:prstTxWarp>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Arial"/>
                      <a:ea typeface="+mn-ea"/>
                      <a:cs typeface="+mn-cs"/>
                    </a:endParaRPr>
                  </a:p>
                </p:txBody>
              </p:sp>
            </p:grpSp>
          </p:grpSp>
        </p:grpSp>
        <p:grpSp>
          <p:nvGrpSpPr>
            <p:cNvPr id="32" name="Gruppieren 273">
              <a:extLst>
                <a:ext uri="{FF2B5EF4-FFF2-40B4-BE49-F238E27FC236}">
                  <a16:creationId xmlns:a16="http://schemas.microsoft.com/office/drawing/2014/main" id="{61B3C1DA-976A-43B2-840E-9E5CF8B308A9}"/>
                </a:ext>
              </a:extLst>
            </p:cNvPr>
            <p:cNvGrpSpPr/>
            <p:nvPr/>
          </p:nvGrpSpPr>
          <p:grpSpPr>
            <a:xfrm>
              <a:off x="314325" y="1739900"/>
              <a:ext cx="3902782" cy="2258667"/>
              <a:chOff x="314325" y="1739900"/>
              <a:chExt cx="3902782" cy="2258667"/>
            </a:xfrm>
            <a:grpFill/>
          </p:grpSpPr>
          <p:sp>
            <p:nvSpPr>
              <p:cNvPr id="176" name="USA (Alaska)">
                <a:extLst>
                  <a:ext uri="{FF2B5EF4-FFF2-40B4-BE49-F238E27FC236}">
                    <a16:creationId xmlns:a16="http://schemas.microsoft.com/office/drawing/2014/main" id="{556BC4F8-433B-419C-B69B-8A145A2610EC}"/>
                  </a:ext>
                </a:extLst>
              </p:cNvPr>
              <p:cNvSpPr>
                <a:spLocks noEditPoints="1"/>
              </p:cNvSpPr>
              <p:nvPr/>
            </p:nvSpPr>
            <p:spPr bwMode="auto">
              <a:xfrm>
                <a:off x="314325" y="2024554"/>
                <a:ext cx="1215849" cy="525991"/>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77" name="USA">
                <a:extLst>
                  <a:ext uri="{FF2B5EF4-FFF2-40B4-BE49-F238E27FC236}">
                    <a16:creationId xmlns:a16="http://schemas.microsoft.com/office/drawing/2014/main" id="{7FED7190-BD28-4C90-AB60-F8996037B754}"/>
                  </a:ext>
                </a:extLst>
              </p:cNvPr>
              <p:cNvSpPr>
                <a:spLocks noEditPoints="1"/>
              </p:cNvSpPr>
              <p:nvPr/>
            </p:nvSpPr>
            <p:spPr bwMode="auto">
              <a:xfrm>
                <a:off x="1109422" y="2657290"/>
                <a:ext cx="1549975" cy="768875"/>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78" name="Puerto Rico">
                <a:extLst>
                  <a:ext uri="{FF2B5EF4-FFF2-40B4-BE49-F238E27FC236}">
                    <a16:creationId xmlns:a16="http://schemas.microsoft.com/office/drawing/2014/main" id="{453D72F2-26DB-4476-A1BC-5CEEA9495343}"/>
                  </a:ext>
                </a:extLst>
              </p:cNvPr>
              <p:cNvSpPr>
                <a:spLocks/>
              </p:cNvSpPr>
              <p:nvPr/>
            </p:nvSpPr>
            <p:spPr bwMode="auto">
              <a:xfrm>
                <a:off x="2458303" y="3641202"/>
                <a:ext cx="54141" cy="23205"/>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79" name="Panama">
                <a:extLst>
                  <a:ext uri="{FF2B5EF4-FFF2-40B4-BE49-F238E27FC236}">
                    <a16:creationId xmlns:a16="http://schemas.microsoft.com/office/drawing/2014/main" id="{537B6545-075F-492B-B2BA-05A0D2CBCDCF}"/>
                  </a:ext>
                </a:extLst>
              </p:cNvPr>
              <p:cNvSpPr>
                <a:spLocks/>
              </p:cNvSpPr>
              <p:nvPr/>
            </p:nvSpPr>
            <p:spPr bwMode="auto">
              <a:xfrm>
                <a:off x="1988051" y="3921215"/>
                <a:ext cx="160876" cy="77352"/>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80" name="Nicaragua">
                <a:extLst>
                  <a:ext uri="{FF2B5EF4-FFF2-40B4-BE49-F238E27FC236}">
                    <a16:creationId xmlns:a16="http://schemas.microsoft.com/office/drawing/2014/main" id="{601701E7-7DF2-46E1-9774-0F1B396A94E7}"/>
                  </a:ext>
                </a:extLst>
              </p:cNvPr>
              <p:cNvSpPr>
                <a:spLocks/>
              </p:cNvSpPr>
              <p:nvPr/>
            </p:nvSpPr>
            <p:spPr bwMode="auto">
              <a:xfrm>
                <a:off x="1868941" y="3754136"/>
                <a:ext cx="128391" cy="131498"/>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81" name="Newfoundland">
                <a:extLst>
                  <a:ext uri="{FF2B5EF4-FFF2-40B4-BE49-F238E27FC236}">
                    <a16:creationId xmlns:a16="http://schemas.microsoft.com/office/drawing/2014/main" id="{A5DF2487-1FCE-48BD-9422-0485306A773D}"/>
                  </a:ext>
                </a:extLst>
              </p:cNvPr>
              <p:cNvSpPr>
                <a:spLocks/>
              </p:cNvSpPr>
              <p:nvPr/>
            </p:nvSpPr>
            <p:spPr bwMode="auto">
              <a:xfrm>
                <a:off x="2877508" y="2593862"/>
                <a:ext cx="168610" cy="151609"/>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82" name="Mexico">
                <a:extLst>
                  <a:ext uri="{FF2B5EF4-FFF2-40B4-BE49-F238E27FC236}">
                    <a16:creationId xmlns:a16="http://schemas.microsoft.com/office/drawing/2014/main" id="{EE8A4174-2868-4555-8714-6E3B93BD9B30}"/>
                  </a:ext>
                </a:extLst>
              </p:cNvPr>
              <p:cNvSpPr>
                <a:spLocks/>
              </p:cNvSpPr>
              <p:nvPr/>
            </p:nvSpPr>
            <p:spPr bwMode="auto">
              <a:xfrm>
                <a:off x="1189860" y="3186375"/>
                <a:ext cx="736316" cy="577043"/>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83" name="Jamaica">
                <a:extLst>
                  <a:ext uri="{FF2B5EF4-FFF2-40B4-BE49-F238E27FC236}">
                    <a16:creationId xmlns:a16="http://schemas.microsoft.com/office/drawing/2014/main" id="{509F2B98-2F92-4ED8-814E-3ADF83CD2AD9}"/>
                  </a:ext>
                </a:extLst>
              </p:cNvPr>
              <p:cNvSpPr>
                <a:spLocks/>
              </p:cNvSpPr>
              <p:nvPr/>
            </p:nvSpPr>
            <p:spPr bwMode="auto">
              <a:xfrm>
                <a:off x="2141192" y="3641202"/>
                <a:ext cx="61875" cy="20111"/>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84" name="Honduras">
                <a:extLst>
                  <a:ext uri="{FF2B5EF4-FFF2-40B4-BE49-F238E27FC236}">
                    <a16:creationId xmlns:a16="http://schemas.microsoft.com/office/drawing/2014/main" id="{D5159105-B5A3-4EEF-A3CA-D2525F8C405A}"/>
                  </a:ext>
                </a:extLst>
              </p:cNvPr>
              <p:cNvSpPr>
                <a:spLocks/>
              </p:cNvSpPr>
              <p:nvPr/>
            </p:nvSpPr>
            <p:spPr bwMode="auto">
              <a:xfrm>
                <a:off x="1825628" y="3717007"/>
                <a:ext cx="176345" cy="97463"/>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85" name="Haiti">
                <a:extLst>
                  <a:ext uri="{FF2B5EF4-FFF2-40B4-BE49-F238E27FC236}">
                    <a16:creationId xmlns:a16="http://schemas.microsoft.com/office/drawing/2014/main" id="{426D4836-5F0B-49C1-8D74-E1206AE782F7}"/>
                  </a:ext>
                </a:extLst>
              </p:cNvPr>
              <p:cNvSpPr>
                <a:spLocks/>
              </p:cNvSpPr>
              <p:nvPr/>
            </p:nvSpPr>
            <p:spPr bwMode="auto">
              <a:xfrm>
                <a:off x="2258755" y="3593244"/>
                <a:ext cx="77344" cy="61881"/>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86" name="Guatemala">
                <a:extLst>
                  <a:ext uri="{FF2B5EF4-FFF2-40B4-BE49-F238E27FC236}">
                    <a16:creationId xmlns:a16="http://schemas.microsoft.com/office/drawing/2014/main" id="{329AA742-EC73-4866-8A91-CB804CD5680F}"/>
                  </a:ext>
                </a:extLst>
              </p:cNvPr>
              <p:cNvSpPr>
                <a:spLocks/>
              </p:cNvSpPr>
              <p:nvPr/>
            </p:nvSpPr>
            <p:spPr bwMode="auto">
              <a:xfrm>
                <a:off x="1743644" y="3656673"/>
                <a:ext cx="117563" cy="133045"/>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87" name="Greenland">
                <a:extLst>
                  <a:ext uri="{FF2B5EF4-FFF2-40B4-BE49-F238E27FC236}">
                    <a16:creationId xmlns:a16="http://schemas.microsoft.com/office/drawing/2014/main" id="{14BEE814-070B-4009-8680-CE95199A954D}"/>
                  </a:ext>
                </a:extLst>
              </p:cNvPr>
              <p:cNvSpPr>
                <a:spLocks noEditPoints="1"/>
              </p:cNvSpPr>
              <p:nvPr/>
            </p:nvSpPr>
            <p:spPr bwMode="auto">
              <a:xfrm>
                <a:off x="3107993" y="1739900"/>
                <a:ext cx="1109114" cy="603342"/>
              </a:xfrm>
              <a:custGeom>
                <a:avLst/>
                <a:gdLst>
                  <a:gd name="T0" fmla="*/ 939201 w 732"/>
                  <a:gd name="T1" fmla="*/ 56001 h 398"/>
                  <a:gd name="T2" fmla="*/ 880112 w 732"/>
                  <a:gd name="T3" fmla="*/ 40445 h 398"/>
                  <a:gd name="T4" fmla="*/ 813249 w 732"/>
                  <a:gd name="T5" fmla="*/ 34223 h 398"/>
                  <a:gd name="T6" fmla="*/ 976520 w 732"/>
                  <a:gd name="T7" fmla="*/ 18667 h 398"/>
                  <a:gd name="T8" fmla="*/ 894107 w 732"/>
                  <a:gd name="T9" fmla="*/ 3111 h 398"/>
                  <a:gd name="T10" fmla="*/ 695071 w 732"/>
                  <a:gd name="T11" fmla="*/ 7778 h 398"/>
                  <a:gd name="T12" fmla="*/ 662417 w 732"/>
                  <a:gd name="T13" fmla="*/ 21778 h 398"/>
                  <a:gd name="T14" fmla="*/ 569119 w 732"/>
                  <a:gd name="T15" fmla="*/ 37334 h 398"/>
                  <a:gd name="T16" fmla="*/ 418287 w 732"/>
                  <a:gd name="T17" fmla="*/ 37334 h 398"/>
                  <a:gd name="T18" fmla="*/ 314104 w 732"/>
                  <a:gd name="T19" fmla="*/ 34223 h 398"/>
                  <a:gd name="T20" fmla="*/ 158607 w 732"/>
                  <a:gd name="T21" fmla="*/ 63779 h 398"/>
                  <a:gd name="T22" fmla="*/ 62199 w 732"/>
                  <a:gd name="T23" fmla="*/ 104225 h 398"/>
                  <a:gd name="T24" fmla="*/ 51314 w 732"/>
                  <a:gd name="T25" fmla="*/ 133781 h 398"/>
                  <a:gd name="T26" fmla="*/ 88633 w 732"/>
                  <a:gd name="T27" fmla="*/ 141559 h 398"/>
                  <a:gd name="T28" fmla="*/ 10885 w 732"/>
                  <a:gd name="T29" fmla="*/ 152448 h 398"/>
                  <a:gd name="T30" fmla="*/ 80858 w 732"/>
                  <a:gd name="T31" fmla="*/ 163337 h 398"/>
                  <a:gd name="T32" fmla="*/ 150832 w 732"/>
                  <a:gd name="T33" fmla="*/ 163337 h 398"/>
                  <a:gd name="T34" fmla="*/ 222361 w 732"/>
                  <a:gd name="T35" fmla="*/ 208449 h 398"/>
                  <a:gd name="T36" fmla="*/ 228580 w 732"/>
                  <a:gd name="T37" fmla="*/ 264450 h 398"/>
                  <a:gd name="T38" fmla="*/ 225470 w 732"/>
                  <a:gd name="T39" fmla="*/ 286229 h 398"/>
                  <a:gd name="T40" fmla="*/ 265900 w 732"/>
                  <a:gd name="T41" fmla="*/ 290895 h 398"/>
                  <a:gd name="T42" fmla="*/ 217696 w 732"/>
                  <a:gd name="T43" fmla="*/ 304896 h 398"/>
                  <a:gd name="T44" fmla="*/ 269010 w 732"/>
                  <a:gd name="T45" fmla="*/ 331341 h 398"/>
                  <a:gd name="T46" fmla="*/ 265900 w 732"/>
                  <a:gd name="T47" fmla="*/ 354675 h 398"/>
                  <a:gd name="T48" fmla="*/ 247240 w 732"/>
                  <a:gd name="T49" fmla="*/ 392009 h 398"/>
                  <a:gd name="T50" fmla="*/ 206811 w 732"/>
                  <a:gd name="T51" fmla="*/ 379564 h 398"/>
                  <a:gd name="T52" fmla="*/ 217696 w 732"/>
                  <a:gd name="T53" fmla="*/ 392009 h 398"/>
                  <a:gd name="T54" fmla="*/ 177266 w 732"/>
                  <a:gd name="T55" fmla="*/ 406009 h 398"/>
                  <a:gd name="T56" fmla="*/ 150832 w 732"/>
                  <a:gd name="T57" fmla="*/ 427787 h 398"/>
                  <a:gd name="T58" fmla="*/ 166382 w 732"/>
                  <a:gd name="T59" fmla="*/ 458899 h 398"/>
                  <a:gd name="T60" fmla="*/ 163272 w 732"/>
                  <a:gd name="T61" fmla="*/ 480677 h 398"/>
                  <a:gd name="T62" fmla="*/ 192816 w 732"/>
                  <a:gd name="T63" fmla="*/ 488455 h 398"/>
                  <a:gd name="T64" fmla="*/ 169492 w 732"/>
                  <a:gd name="T65" fmla="*/ 514900 h 398"/>
                  <a:gd name="T66" fmla="*/ 177266 w 732"/>
                  <a:gd name="T67" fmla="*/ 547568 h 398"/>
                  <a:gd name="T68" fmla="*/ 209921 w 732"/>
                  <a:gd name="T69" fmla="*/ 584902 h 398"/>
                  <a:gd name="T70" fmla="*/ 255015 w 732"/>
                  <a:gd name="T71" fmla="*/ 592680 h 398"/>
                  <a:gd name="T72" fmla="*/ 284559 w 732"/>
                  <a:gd name="T73" fmla="*/ 619125 h 398"/>
                  <a:gd name="T74" fmla="*/ 324988 w 732"/>
                  <a:gd name="T75" fmla="*/ 584902 h 398"/>
                  <a:gd name="T76" fmla="*/ 335873 w 732"/>
                  <a:gd name="T77" fmla="*/ 533568 h 398"/>
                  <a:gd name="T78" fmla="*/ 399627 w 732"/>
                  <a:gd name="T79" fmla="*/ 514900 h 398"/>
                  <a:gd name="T80" fmla="*/ 469601 w 732"/>
                  <a:gd name="T81" fmla="*/ 454232 h 398"/>
                  <a:gd name="T82" fmla="*/ 510030 w 732"/>
                  <a:gd name="T83" fmla="*/ 440232 h 398"/>
                  <a:gd name="T84" fmla="*/ 620432 w 732"/>
                  <a:gd name="T85" fmla="*/ 392009 h 398"/>
                  <a:gd name="T86" fmla="*/ 705956 w 732"/>
                  <a:gd name="T87" fmla="*/ 373342 h 398"/>
                  <a:gd name="T88" fmla="*/ 842793 w 732"/>
                  <a:gd name="T89" fmla="*/ 331341 h 398"/>
                  <a:gd name="T90" fmla="*/ 768154 w 732"/>
                  <a:gd name="T91" fmla="*/ 317340 h 398"/>
                  <a:gd name="T92" fmla="*/ 754160 w 732"/>
                  <a:gd name="T93" fmla="*/ 298673 h 398"/>
                  <a:gd name="T94" fmla="*/ 754160 w 732"/>
                  <a:gd name="T95" fmla="*/ 272228 h 398"/>
                  <a:gd name="T96" fmla="*/ 821024 w 732"/>
                  <a:gd name="T97" fmla="*/ 294007 h 398"/>
                  <a:gd name="T98" fmla="*/ 869228 w 732"/>
                  <a:gd name="T99" fmla="*/ 317340 h 398"/>
                  <a:gd name="T100" fmla="*/ 824133 w 732"/>
                  <a:gd name="T101" fmla="*/ 256672 h 398"/>
                  <a:gd name="T102" fmla="*/ 864563 w 732"/>
                  <a:gd name="T103" fmla="*/ 245783 h 398"/>
                  <a:gd name="T104" fmla="*/ 923651 w 732"/>
                  <a:gd name="T105" fmla="*/ 234894 h 398"/>
                  <a:gd name="T106" fmla="*/ 931426 w 732"/>
                  <a:gd name="T107" fmla="*/ 200671 h 398"/>
                  <a:gd name="T108" fmla="*/ 942311 w 732"/>
                  <a:gd name="T109" fmla="*/ 186671 h 398"/>
                  <a:gd name="T110" fmla="*/ 950086 w 732"/>
                  <a:gd name="T111" fmla="*/ 149337 h 398"/>
                  <a:gd name="T112" fmla="*/ 960971 w 732"/>
                  <a:gd name="T113" fmla="*/ 122892 h 398"/>
                  <a:gd name="T114" fmla="*/ 960971 w 732"/>
                  <a:gd name="T115" fmla="*/ 101113 h 398"/>
                  <a:gd name="T116" fmla="*/ 1020059 w 732"/>
                  <a:gd name="T117" fmla="*/ 82446 h 398"/>
                  <a:gd name="T118" fmla="*/ 1054269 w 732"/>
                  <a:gd name="T119" fmla="*/ 66890 h 398"/>
                  <a:gd name="T120" fmla="*/ 1124242 w 732"/>
                  <a:gd name="T121" fmla="*/ 45112 h 398"/>
                  <a:gd name="T122" fmla="*/ 233245 w 732"/>
                  <a:gd name="T123" fmla="*/ 336008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88" name="El Salvador">
                <a:extLst>
                  <a:ext uri="{FF2B5EF4-FFF2-40B4-BE49-F238E27FC236}">
                    <a16:creationId xmlns:a16="http://schemas.microsoft.com/office/drawing/2014/main" id="{9F5C52E2-2F5C-42BC-BDFA-001539CAE00B}"/>
                  </a:ext>
                </a:extLst>
              </p:cNvPr>
              <p:cNvSpPr>
                <a:spLocks/>
              </p:cNvSpPr>
              <p:nvPr/>
            </p:nvSpPr>
            <p:spPr bwMode="auto">
              <a:xfrm>
                <a:off x="1797785" y="3766512"/>
                <a:ext cx="68063" cy="44864"/>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89" name="Dominican Republic">
                <a:extLst>
                  <a:ext uri="{FF2B5EF4-FFF2-40B4-BE49-F238E27FC236}">
                    <a16:creationId xmlns:a16="http://schemas.microsoft.com/office/drawing/2014/main" id="{2C5924D2-2C0A-490C-B5B2-A93C22EB7C60}"/>
                  </a:ext>
                </a:extLst>
              </p:cNvPr>
              <p:cNvSpPr>
                <a:spLocks/>
              </p:cNvSpPr>
              <p:nvPr/>
            </p:nvSpPr>
            <p:spPr bwMode="auto">
              <a:xfrm>
                <a:off x="2325271" y="3593244"/>
                <a:ext cx="99000" cy="66522"/>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90" name="Cuba">
                <a:extLst>
                  <a:ext uri="{FF2B5EF4-FFF2-40B4-BE49-F238E27FC236}">
                    <a16:creationId xmlns:a16="http://schemas.microsoft.com/office/drawing/2014/main" id="{DE826D66-4CAB-4E2C-98DA-63E47827D881}"/>
                  </a:ext>
                </a:extLst>
              </p:cNvPr>
              <p:cNvSpPr>
                <a:spLocks noEditPoints="1"/>
              </p:cNvSpPr>
              <p:nvPr/>
            </p:nvSpPr>
            <p:spPr bwMode="auto">
              <a:xfrm>
                <a:off x="1980317" y="3486499"/>
                <a:ext cx="292361" cy="106745"/>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91" name="Costa Rica">
                <a:extLst>
                  <a:ext uri="{FF2B5EF4-FFF2-40B4-BE49-F238E27FC236}">
                    <a16:creationId xmlns:a16="http://schemas.microsoft.com/office/drawing/2014/main" id="{921AFA8D-C682-4B1D-A7F2-5FCD89F1A823}"/>
                  </a:ext>
                </a:extLst>
              </p:cNvPr>
              <p:cNvSpPr>
                <a:spLocks/>
              </p:cNvSpPr>
              <p:nvPr/>
            </p:nvSpPr>
            <p:spPr bwMode="auto">
              <a:xfrm>
                <a:off x="1907613" y="3870163"/>
                <a:ext cx="94360" cy="91275"/>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92" name="Canada">
                <a:extLst>
                  <a:ext uri="{FF2B5EF4-FFF2-40B4-BE49-F238E27FC236}">
                    <a16:creationId xmlns:a16="http://schemas.microsoft.com/office/drawing/2014/main" id="{6542E580-4771-4375-AFF4-3D61EB1EDF68}"/>
                  </a:ext>
                </a:extLst>
              </p:cNvPr>
              <p:cNvSpPr>
                <a:spLocks noEditPoints="1"/>
              </p:cNvSpPr>
              <p:nvPr/>
            </p:nvSpPr>
            <p:spPr bwMode="auto">
              <a:xfrm>
                <a:off x="1192954" y="1749182"/>
                <a:ext cx="2204306" cy="1141710"/>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93" name="Belize">
                <a:extLst>
                  <a:ext uri="{FF2B5EF4-FFF2-40B4-BE49-F238E27FC236}">
                    <a16:creationId xmlns:a16="http://schemas.microsoft.com/office/drawing/2014/main" id="{62B47530-9B7F-4990-A8A7-C5B5C1EDEB57}"/>
                  </a:ext>
                </a:extLst>
              </p:cNvPr>
              <p:cNvSpPr>
                <a:spLocks/>
              </p:cNvSpPr>
              <p:nvPr/>
            </p:nvSpPr>
            <p:spPr bwMode="auto">
              <a:xfrm>
                <a:off x="1833363" y="3638108"/>
                <a:ext cx="43313" cy="83540"/>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grpSp>
        <p:grpSp>
          <p:nvGrpSpPr>
            <p:cNvPr id="33" name="Gruppieren 271">
              <a:extLst>
                <a:ext uri="{FF2B5EF4-FFF2-40B4-BE49-F238E27FC236}">
                  <a16:creationId xmlns:a16="http://schemas.microsoft.com/office/drawing/2014/main" id="{BA359662-8BA3-458C-8C89-6CE6AFA71857}"/>
                </a:ext>
              </a:extLst>
            </p:cNvPr>
            <p:cNvGrpSpPr/>
            <p:nvPr/>
          </p:nvGrpSpPr>
          <p:grpSpPr>
            <a:xfrm>
              <a:off x="2028270" y="3829940"/>
              <a:ext cx="1311756" cy="2158110"/>
              <a:chOff x="2028270" y="3829940"/>
              <a:chExt cx="1311756" cy="2158110"/>
            </a:xfrm>
            <a:grpFill/>
          </p:grpSpPr>
          <p:sp>
            <p:nvSpPr>
              <p:cNvPr id="163" name="Venezuela">
                <a:extLst>
                  <a:ext uri="{FF2B5EF4-FFF2-40B4-BE49-F238E27FC236}">
                    <a16:creationId xmlns:a16="http://schemas.microsoft.com/office/drawing/2014/main" id="{C83C5B6A-1CD9-43BA-8A0C-9B60661C8745}"/>
                  </a:ext>
                </a:extLst>
              </p:cNvPr>
              <p:cNvSpPr>
                <a:spLocks noEditPoints="1"/>
              </p:cNvSpPr>
              <p:nvPr/>
            </p:nvSpPr>
            <p:spPr bwMode="auto">
              <a:xfrm>
                <a:off x="2260302" y="3839222"/>
                <a:ext cx="377439" cy="368194"/>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64" name="Uruguay">
                <a:extLst>
                  <a:ext uri="{FF2B5EF4-FFF2-40B4-BE49-F238E27FC236}">
                    <a16:creationId xmlns:a16="http://schemas.microsoft.com/office/drawing/2014/main" id="{516C5710-5575-4D53-807D-FA3A214D09B2}"/>
                  </a:ext>
                </a:extLst>
              </p:cNvPr>
              <p:cNvSpPr>
                <a:spLocks/>
              </p:cNvSpPr>
              <p:nvPr/>
            </p:nvSpPr>
            <p:spPr bwMode="auto">
              <a:xfrm>
                <a:off x="2763039" y="5188234"/>
                <a:ext cx="145407" cy="151609"/>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65" name="Suriname">
                <a:extLst>
                  <a:ext uri="{FF2B5EF4-FFF2-40B4-BE49-F238E27FC236}">
                    <a16:creationId xmlns:a16="http://schemas.microsoft.com/office/drawing/2014/main" id="{6CE9DB1D-89B1-4E78-A736-6AD12E0DF42A}"/>
                  </a:ext>
                </a:extLst>
              </p:cNvPr>
              <p:cNvSpPr>
                <a:spLocks/>
              </p:cNvSpPr>
              <p:nvPr/>
            </p:nvSpPr>
            <p:spPr bwMode="auto">
              <a:xfrm>
                <a:off x="2682601" y="4037243"/>
                <a:ext cx="116016" cy="133045"/>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66" name="Peru">
                <a:extLst>
                  <a:ext uri="{FF2B5EF4-FFF2-40B4-BE49-F238E27FC236}">
                    <a16:creationId xmlns:a16="http://schemas.microsoft.com/office/drawing/2014/main" id="{6B6DB828-6CBA-4A57-91CC-A83B046BBA24}"/>
                  </a:ext>
                </a:extLst>
              </p:cNvPr>
              <p:cNvSpPr>
                <a:spLocks/>
              </p:cNvSpPr>
              <p:nvPr/>
            </p:nvSpPr>
            <p:spPr bwMode="auto">
              <a:xfrm>
                <a:off x="2028270" y="4225980"/>
                <a:ext cx="372798" cy="589419"/>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67" name="Paraguay">
                <a:extLst>
                  <a:ext uri="{FF2B5EF4-FFF2-40B4-BE49-F238E27FC236}">
                    <a16:creationId xmlns:a16="http://schemas.microsoft.com/office/drawing/2014/main" id="{0A6176DC-F4BD-48E8-87FC-0181175DCA32}"/>
                  </a:ext>
                </a:extLst>
              </p:cNvPr>
              <p:cNvSpPr>
                <a:spLocks/>
              </p:cNvSpPr>
              <p:nvPr/>
            </p:nvSpPr>
            <p:spPr bwMode="auto">
              <a:xfrm>
                <a:off x="2597522" y="4841699"/>
                <a:ext cx="236673" cy="267637"/>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68" name="Guyane (French Guiana)">
                <a:extLst>
                  <a:ext uri="{FF2B5EF4-FFF2-40B4-BE49-F238E27FC236}">
                    <a16:creationId xmlns:a16="http://schemas.microsoft.com/office/drawing/2014/main" id="{2DEF04AC-F8D3-4880-9DF8-0F63FC22451A}"/>
                  </a:ext>
                </a:extLst>
              </p:cNvPr>
              <p:cNvSpPr>
                <a:spLocks/>
              </p:cNvSpPr>
              <p:nvPr/>
            </p:nvSpPr>
            <p:spPr bwMode="auto">
              <a:xfrm>
                <a:off x="2778507" y="4043431"/>
                <a:ext cx="80438" cy="117574"/>
              </a:xfrm>
              <a:custGeom>
                <a:avLst/>
                <a:gdLst>
                  <a:gd name="T0" fmla="*/ 131048136 w 52"/>
                  <a:gd name="T1" fmla="*/ 80644992 h 76"/>
                  <a:gd name="T2" fmla="*/ 126007825 w 52"/>
                  <a:gd name="T3" fmla="*/ 65524061 h 76"/>
                  <a:gd name="T4" fmla="*/ 120967514 w 52"/>
                  <a:gd name="T5" fmla="*/ 60483751 h 76"/>
                  <a:gd name="T6" fmla="*/ 115927203 w 52"/>
                  <a:gd name="T7" fmla="*/ 55443440 h 76"/>
                  <a:gd name="T8" fmla="*/ 115927203 w 52"/>
                  <a:gd name="T9" fmla="*/ 50403117 h 76"/>
                  <a:gd name="T10" fmla="*/ 100806245 w 52"/>
                  <a:gd name="T11" fmla="*/ 50403117 h 76"/>
                  <a:gd name="T12" fmla="*/ 80645001 w 52"/>
                  <a:gd name="T13" fmla="*/ 15120938 h 76"/>
                  <a:gd name="T14" fmla="*/ 60483757 w 52"/>
                  <a:gd name="T15" fmla="*/ 15120938 h 76"/>
                  <a:gd name="T16" fmla="*/ 55443446 w 52"/>
                  <a:gd name="T17" fmla="*/ 10080624 h 76"/>
                  <a:gd name="T18" fmla="*/ 50403123 w 52"/>
                  <a:gd name="T19" fmla="*/ 10080624 h 76"/>
                  <a:gd name="T20" fmla="*/ 40322501 w 52"/>
                  <a:gd name="T21" fmla="*/ 5040312 h 76"/>
                  <a:gd name="T22" fmla="*/ 35282190 w 52"/>
                  <a:gd name="T23" fmla="*/ 0 h 76"/>
                  <a:gd name="T24" fmla="*/ 30241879 w 52"/>
                  <a:gd name="T25" fmla="*/ 10080624 h 76"/>
                  <a:gd name="T26" fmla="*/ 30241879 w 52"/>
                  <a:gd name="T27" fmla="*/ 25201559 h 76"/>
                  <a:gd name="T28" fmla="*/ 25201561 w 52"/>
                  <a:gd name="T29" fmla="*/ 25201559 h 76"/>
                  <a:gd name="T30" fmla="*/ 20161250 w 52"/>
                  <a:gd name="T31" fmla="*/ 30241875 h 76"/>
                  <a:gd name="T32" fmla="*/ 15120939 w 52"/>
                  <a:gd name="T33" fmla="*/ 35282186 h 76"/>
                  <a:gd name="T34" fmla="*/ 10080625 w 52"/>
                  <a:gd name="T35" fmla="*/ 40322496 h 76"/>
                  <a:gd name="T36" fmla="*/ 5040313 w 52"/>
                  <a:gd name="T37" fmla="*/ 50403117 h 76"/>
                  <a:gd name="T38" fmla="*/ 5040313 w 52"/>
                  <a:gd name="T39" fmla="*/ 70564371 h 76"/>
                  <a:gd name="T40" fmla="*/ 10080625 w 52"/>
                  <a:gd name="T41" fmla="*/ 80644992 h 76"/>
                  <a:gd name="T42" fmla="*/ 10080625 w 52"/>
                  <a:gd name="T43" fmla="*/ 90725613 h 76"/>
                  <a:gd name="T44" fmla="*/ 15120939 w 52"/>
                  <a:gd name="T45" fmla="*/ 100806234 h 76"/>
                  <a:gd name="T46" fmla="*/ 25201561 w 52"/>
                  <a:gd name="T47" fmla="*/ 110886880 h 76"/>
                  <a:gd name="T48" fmla="*/ 30241879 w 52"/>
                  <a:gd name="T49" fmla="*/ 115927191 h 76"/>
                  <a:gd name="T50" fmla="*/ 30241879 w 52"/>
                  <a:gd name="T51" fmla="*/ 120967501 h 76"/>
                  <a:gd name="T52" fmla="*/ 15120939 w 52"/>
                  <a:gd name="T53" fmla="*/ 136088432 h 76"/>
                  <a:gd name="T54" fmla="*/ 20161250 w 52"/>
                  <a:gd name="T55" fmla="*/ 156249674 h 76"/>
                  <a:gd name="T56" fmla="*/ 15120939 w 52"/>
                  <a:gd name="T57" fmla="*/ 161289985 h 76"/>
                  <a:gd name="T58" fmla="*/ 10080625 w 52"/>
                  <a:gd name="T59" fmla="*/ 161289985 h 76"/>
                  <a:gd name="T60" fmla="*/ 10080625 w 52"/>
                  <a:gd name="T61" fmla="*/ 166330295 h 76"/>
                  <a:gd name="T62" fmla="*/ 5040313 w 52"/>
                  <a:gd name="T63" fmla="*/ 171370606 h 76"/>
                  <a:gd name="T64" fmla="*/ 0 w 52"/>
                  <a:gd name="T65" fmla="*/ 181451227 h 76"/>
                  <a:gd name="T66" fmla="*/ 0 w 52"/>
                  <a:gd name="T67" fmla="*/ 181451227 h 76"/>
                  <a:gd name="T68" fmla="*/ 10080625 w 52"/>
                  <a:gd name="T69" fmla="*/ 191531848 h 76"/>
                  <a:gd name="T70" fmla="*/ 25201561 w 52"/>
                  <a:gd name="T71" fmla="*/ 191531848 h 76"/>
                  <a:gd name="T72" fmla="*/ 30241879 w 52"/>
                  <a:gd name="T73" fmla="*/ 186491537 h 76"/>
                  <a:gd name="T74" fmla="*/ 30241879 w 52"/>
                  <a:gd name="T75" fmla="*/ 181451227 h 76"/>
                  <a:gd name="T76" fmla="*/ 35282190 w 52"/>
                  <a:gd name="T77" fmla="*/ 181451227 h 76"/>
                  <a:gd name="T78" fmla="*/ 40322501 w 52"/>
                  <a:gd name="T79" fmla="*/ 181451227 h 76"/>
                  <a:gd name="T80" fmla="*/ 45362812 w 52"/>
                  <a:gd name="T81" fmla="*/ 181451227 h 76"/>
                  <a:gd name="T82" fmla="*/ 50403123 w 52"/>
                  <a:gd name="T83" fmla="*/ 181451227 h 76"/>
                  <a:gd name="T84" fmla="*/ 55443446 w 52"/>
                  <a:gd name="T85" fmla="*/ 181451227 h 76"/>
                  <a:gd name="T86" fmla="*/ 65524068 w 52"/>
                  <a:gd name="T87" fmla="*/ 186491537 h 76"/>
                  <a:gd name="T88" fmla="*/ 75604690 w 52"/>
                  <a:gd name="T89" fmla="*/ 186491537 h 76"/>
                  <a:gd name="T90" fmla="*/ 80645001 w 52"/>
                  <a:gd name="T91" fmla="*/ 181451227 h 76"/>
                  <a:gd name="T92" fmla="*/ 80645001 w 52"/>
                  <a:gd name="T93" fmla="*/ 181451227 h 76"/>
                  <a:gd name="T94" fmla="*/ 100806245 w 52"/>
                  <a:gd name="T95" fmla="*/ 161289985 h 76"/>
                  <a:gd name="T96" fmla="*/ 100806245 w 52"/>
                  <a:gd name="T97" fmla="*/ 151209364 h 76"/>
                  <a:gd name="T98" fmla="*/ 110886892 w 52"/>
                  <a:gd name="T99" fmla="*/ 126007812 h 76"/>
                  <a:gd name="T100" fmla="*/ 115927203 w 52"/>
                  <a:gd name="T101" fmla="*/ 115927191 h 76"/>
                  <a:gd name="T102" fmla="*/ 120967514 w 52"/>
                  <a:gd name="T103" fmla="*/ 110886880 h 76"/>
                  <a:gd name="T104" fmla="*/ 126007825 w 52"/>
                  <a:gd name="T105" fmla="*/ 105846570 h 76"/>
                  <a:gd name="T106" fmla="*/ 126007825 w 52"/>
                  <a:gd name="T107" fmla="*/ 100806234 h 76"/>
                  <a:gd name="T108" fmla="*/ 131048136 w 52"/>
                  <a:gd name="T109" fmla="*/ 95765924 h 76"/>
                  <a:gd name="T110" fmla="*/ 131048136 w 52"/>
                  <a:gd name="T111" fmla="*/ 90725613 h 76"/>
                  <a:gd name="T112" fmla="*/ 131048136 w 52"/>
                  <a:gd name="T113" fmla="*/ 85685303 h 76"/>
                  <a:gd name="T114" fmla="*/ 131048136 w 52"/>
                  <a:gd name="T115" fmla="*/ 80644992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69" name="Guyana">
                <a:extLst>
                  <a:ext uri="{FF2B5EF4-FFF2-40B4-BE49-F238E27FC236}">
                    <a16:creationId xmlns:a16="http://schemas.microsoft.com/office/drawing/2014/main" id="{C1E88E0F-D656-4E6D-A906-4048479EEFF8}"/>
                  </a:ext>
                </a:extLst>
              </p:cNvPr>
              <p:cNvSpPr>
                <a:spLocks/>
              </p:cNvSpPr>
              <p:nvPr/>
            </p:nvSpPr>
            <p:spPr bwMode="auto">
              <a:xfrm>
                <a:off x="2589788" y="3958344"/>
                <a:ext cx="128391" cy="230508"/>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70" name="Ecuador">
                <a:extLst>
                  <a:ext uri="{FF2B5EF4-FFF2-40B4-BE49-F238E27FC236}">
                    <a16:creationId xmlns:a16="http://schemas.microsoft.com/office/drawing/2014/main" id="{0FC201F8-17BE-4D59-AD49-634E47AA0B32}"/>
                  </a:ext>
                </a:extLst>
              </p:cNvPr>
              <p:cNvSpPr>
                <a:spLocks noEditPoints="1"/>
              </p:cNvSpPr>
              <p:nvPr/>
            </p:nvSpPr>
            <p:spPr bwMode="auto">
              <a:xfrm>
                <a:off x="2032911" y="4176475"/>
                <a:ext cx="163969" cy="208849"/>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71" name="Colombia">
                <a:extLst>
                  <a:ext uri="{FF2B5EF4-FFF2-40B4-BE49-F238E27FC236}">
                    <a16:creationId xmlns:a16="http://schemas.microsoft.com/office/drawing/2014/main" id="{2DBFC306-9DC6-4312-9AA1-D4715DEEB8A6}"/>
                  </a:ext>
                </a:extLst>
              </p:cNvPr>
              <p:cNvSpPr>
                <a:spLocks/>
              </p:cNvSpPr>
              <p:nvPr/>
            </p:nvSpPr>
            <p:spPr bwMode="auto">
              <a:xfrm>
                <a:off x="2090145" y="3829940"/>
                <a:ext cx="343408" cy="532179"/>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72" name="Chile">
                <a:extLst>
                  <a:ext uri="{FF2B5EF4-FFF2-40B4-BE49-F238E27FC236}">
                    <a16:creationId xmlns:a16="http://schemas.microsoft.com/office/drawing/2014/main" id="{8F0E461F-4302-4454-8FDB-3F0F5AB7408E}"/>
                  </a:ext>
                </a:extLst>
              </p:cNvPr>
              <p:cNvSpPr>
                <a:spLocks noEditPoints="1"/>
              </p:cNvSpPr>
              <p:nvPr/>
            </p:nvSpPr>
            <p:spPr bwMode="auto">
              <a:xfrm>
                <a:off x="2367037" y="4789100"/>
                <a:ext cx="457877" cy="1198950"/>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73" name="Brazil">
                <a:extLst>
                  <a:ext uri="{FF2B5EF4-FFF2-40B4-BE49-F238E27FC236}">
                    <a16:creationId xmlns:a16="http://schemas.microsoft.com/office/drawing/2014/main" id="{14D72839-CD3A-43BA-A08D-47378C3BD42C}"/>
                  </a:ext>
                </a:extLst>
              </p:cNvPr>
              <p:cNvSpPr>
                <a:spLocks noEditPoints="1"/>
              </p:cNvSpPr>
              <p:nvPr/>
            </p:nvSpPr>
            <p:spPr bwMode="auto">
              <a:xfrm>
                <a:off x="2238646" y="4058901"/>
                <a:ext cx="1101380" cy="1245361"/>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74" name="Bolivia">
                <a:extLst>
                  <a:ext uri="{FF2B5EF4-FFF2-40B4-BE49-F238E27FC236}">
                    <a16:creationId xmlns:a16="http://schemas.microsoft.com/office/drawing/2014/main" id="{71DBD492-F2BE-4B25-B110-A626E5A5C8E1}"/>
                  </a:ext>
                </a:extLst>
              </p:cNvPr>
              <p:cNvSpPr>
                <a:spLocks/>
              </p:cNvSpPr>
              <p:nvPr/>
            </p:nvSpPr>
            <p:spPr bwMode="auto">
              <a:xfrm>
                <a:off x="2370131" y="4536934"/>
                <a:ext cx="352689" cy="419246"/>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75" name="Argentina">
                <a:extLst>
                  <a:ext uri="{FF2B5EF4-FFF2-40B4-BE49-F238E27FC236}">
                    <a16:creationId xmlns:a16="http://schemas.microsoft.com/office/drawing/2014/main" id="{C13BFDBC-9558-459C-923A-71263E0E3D0F}"/>
                  </a:ext>
                </a:extLst>
              </p:cNvPr>
              <p:cNvSpPr>
                <a:spLocks noEditPoints="1"/>
              </p:cNvSpPr>
              <p:nvPr/>
            </p:nvSpPr>
            <p:spPr bwMode="auto">
              <a:xfrm>
                <a:off x="2427365" y="4925239"/>
                <a:ext cx="431580" cy="965348"/>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grpSp>
        <p:grpSp>
          <p:nvGrpSpPr>
            <p:cNvPr id="34" name="Gruppieren 270">
              <a:extLst>
                <a:ext uri="{FF2B5EF4-FFF2-40B4-BE49-F238E27FC236}">
                  <a16:creationId xmlns:a16="http://schemas.microsoft.com/office/drawing/2014/main" id="{E1A1B2A1-67D9-4B22-95BA-DC3B19F92EF6}"/>
                </a:ext>
              </a:extLst>
            </p:cNvPr>
            <p:cNvGrpSpPr/>
            <p:nvPr/>
          </p:nvGrpSpPr>
          <p:grpSpPr>
            <a:xfrm>
              <a:off x="3848950" y="3037860"/>
              <a:ext cx="1905757" cy="2300436"/>
              <a:chOff x="3848950" y="3037860"/>
              <a:chExt cx="1905757" cy="2300436"/>
            </a:xfrm>
            <a:grpFill/>
          </p:grpSpPr>
          <p:sp>
            <p:nvSpPr>
              <p:cNvPr id="114" name="Zimbabwe">
                <a:extLst>
                  <a:ext uri="{FF2B5EF4-FFF2-40B4-BE49-F238E27FC236}">
                    <a16:creationId xmlns:a16="http://schemas.microsoft.com/office/drawing/2014/main" id="{0678A834-B126-4BC6-9B8B-580DC41BBC57}"/>
                  </a:ext>
                </a:extLst>
              </p:cNvPr>
              <p:cNvSpPr>
                <a:spLocks/>
              </p:cNvSpPr>
              <p:nvPr/>
            </p:nvSpPr>
            <p:spPr bwMode="auto">
              <a:xfrm>
                <a:off x="5021486" y="4725672"/>
                <a:ext cx="218110" cy="218132"/>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15" name="Zambia">
                <a:extLst>
                  <a:ext uri="{FF2B5EF4-FFF2-40B4-BE49-F238E27FC236}">
                    <a16:creationId xmlns:a16="http://schemas.microsoft.com/office/drawing/2014/main" id="{52D1A6F5-9A20-492F-8295-A5D6AFC408AB}"/>
                  </a:ext>
                </a:extLst>
              </p:cNvPr>
              <p:cNvSpPr>
                <a:spLocks/>
              </p:cNvSpPr>
              <p:nvPr/>
            </p:nvSpPr>
            <p:spPr bwMode="auto">
              <a:xfrm>
                <a:off x="4933314" y="4487429"/>
                <a:ext cx="329486" cy="315595"/>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16" name="Western Sahara">
                <a:extLst>
                  <a:ext uri="{FF2B5EF4-FFF2-40B4-BE49-F238E27FC236}">
                    <a16:creationId xmlns:a16="http://schemas.microsoft.com/office/drawing/2014/main" id="{587C7E85-7579-4E52-9D94-461F937E3E7B}"/>
                  </a:ext>
                </a:extLst>
              </p:cNvPr>
              <p:cNvSpPr>
                <a:spLocks/>
              </p:cNvSpPr>
              <p:nvPr/>
            </p:nvSpPr>
            <p:spPr bwMode="auto">
              <a:xfrm>
                <a:off x="3853590" y="3345719"/>
                <a:ext cx="236673" cy="202661"/>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17" name="Uganda">
                <a:extLst>
                  <a:ext uri="{FF2B5EF4-FFF2-40B4-BE49-F238E27FC236}">
                    <a16:creationId xmlns:a16="http://schemas.microsoft.com/office/drawing/2014/main" id="{3F7669E2-5C46-4D64-B5D2-2F6760259A24}"/>
                  </a:ext>
                </a:extLst>
              </p:cNvPr>
              <p:cNvSpPr>
                <a:spLocks noEditPoints="1"/>
              </p:cNvSpPr>
              <p:nvPr/>
            </p:nvSpPr>
            <p:spPr bwMode="auto">
              <a:xfrm>
                <a:off x="5151424" y="4094483"/>
                <a:ext cx="154688" cy="182550"/>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18" name="Tunisia">
                <a:extLst>
                  <a:ext uri="{FF2B5EF4-FFF2-40B4-BE49-F238E27FC236}">
                    <a16:creationId xmlns:a16="http://schemas.microsoft.com/office/drawing/2014/main" id="{779B5EA2-F15D-4D8C-B03C-1236B00C3B20}"/>
                  </a:ext>
                </a:extLst>
              </p:cNvPr>
              <p:cNvSpPr>
                <a:spLocks/>
              </p:cNvSpPr>
              <p:nvPr/>
            </p:nvSpPr>
            <p:spPr bwMode="auto">
              <a:xfrm>
                <a:off x="4532671" y="3037860"/>
                <a:ext cx="108282" cy="225867"/>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19" name="Togo">
                <a:extLst>
                  <a:ext uri="{FF2B5EF4-FFF2-40B4-BE49-F238E27FC236}">
                    <a16:creationId xmlns:a16="http://schemas.microsoft.com/office/drawing/2014/main" id="{81FE9D87-4F4A-410C-8CF2-0787B0EF9D75}"/>
                  </a:ext>
                </a:extLst>
              </p:cNvPr>
              <p:cNvSpPr>
                <a:spLocks/>
              </p:cNvSpPr>
              <p:nvPr/>
            </p:nvSpPr>
            <p:spPr bwMode="auto">
              <a:xfrm>
                <a:off x="4313014" y="3874804"/>
                <a:ext cx="55688" cy="159344"/>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20" name="Tanzania">
                <a:extLst>
                  <a:ext uri="{FF2B5EF4-FFF2-40B4-BE49-F238E27FC236}">
                    <a16:creationId xmlns:a16="http://schemas.microsoft.com/office/drawing/2014/main" id="{25682417-1906-4819-AE54-B0B94952C6AC}"/>
                  </a:ext>
                </a:extLst>
              </p:cNvPr>
              <p:cNvSpPr>
                <a:spLocks noEditPoints="1"/>
              </p:cNvSpPr>
              <p:nvPr/>
            </p:nvSpPr>
            <p:spPr bwMode="auto">
              <a:xfrm>
                <a:off x="5149877" y="4260015"/>
                <a:ext cx="303189" cy="343441"/>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21" name="Swaziland">
                <a:extLst>
                  <a:ext uri="{FF2B5EF4-FFF2-40B4-BE49-F238E27FC236}">
                    <a16:creationId xmlns:a16="http://schemas.microsoft.com/office/drawing/2014/main" id="{347E863D-85C3-456C-822F-34E2CD1187C6}"/>
                  </a:ext>
                </a:extLst>
              </p:cNvPr>
              <p:cNvSpPr>
                <a:spLocks/>
              </p:cNvSpPr>
              <p:nvPr/>
            </p:nvSpPr>
            <p:spPr bwMode="auto">
              <a:xfrm>
                <a:off x="5168440" y="5047455"/>
                <a:ext cx="40219" cy="52599"/>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22" name="Sudan">
                <a:extLst>
                  <a:ext uri="{FF2B5EF4-FFF2-40B4-BE49-F238E27FC236}">
                    <a16:creationId xmlns:a16="http://schemas.microsoft.com/office/drawing/2014/main" id="{F51E16A3-693D-4FB2-8F09-4DB512755A92}"/>
                  </a:ext>
                </a:extLst>
              </p:cNvPr>
              <p:cNvSpPr>
                <a:spLocks/>
              </p:cNvSpPr>
              <p:nvPr/>
            </p:nvSpPr>
            <p:spPr bwMode="auto">
              <a:xfrm>
                <a:off x="4930220" y="3491140"/>
                <a:ext cx="460971" cy="626548"/>
              </a:xfrm>
              <a:custGeom>
                <a:avLst/>
                <a:gdLst>
                  <a:gd name="T0" fmla="*/ 2147483647 w 1164"/>
                  <a:gd name="T1" fmla="*/ 2147483647 h 1584"/>
                  <a:gd name="T2" fmla="*/ 2147483647 w 1164"/>
                  <a:gd name="T3" fmla="*/ 2147483647 h 1584"/>
                  <a:gd name="T4" fmla="*/ 2147483647 w 1164"/>
                  <a:gd name="T5" fmla="*/ 2147483647 h 1584"/>
                  <a:gd name="T6" fmla="*/ 2147483647 w 1164"/>
                  <a:gd name="T7" fmla="*/ 2147483647 h 1584"/>
                  <a:gd name="T8" fmla="*/ 2147483647 w 1164"/>
                  <a:gd name="T9" fmla="*/ 2147483647 h 1584"/>
                  <a:gd name="T10" fmla="*/ 2147483647 w 1164"/>
                  <a:gd name="T11" fmla="*/ 2147483647 h 1584"/>
                  <a:gd name="T12" fmla="*/ 2147483647 w 1164"/>
                  <a:gd name="T13" fmla="*/ 2147483647 h 1584"/>
                  <a:gd name="T14" fmla="*/ 2147483647 w 1164"/>
                  <a:gd name="T15" fmla="*/ 2147483647 h 1584"/>
                  <a:gd name="T16" fmla="*/ 0 w 1164"/>
                  <a:gd name="T17" fmla="*/ 2147483647 h 1584"/>
                  <a:gd name="T18" fmla="*/ 2147483647 w 1164"/>
                  <a:gd name="T19" fmla="*/ 2147483647 h 1584"/>
                  <a:gd name="T20" fmla="*/ 2147483647 w 1164"/>
                  <a:gd name="T21" fmla="*/ 2147483647 h 1584"/>
                  <a:gd name="T22" fmla="*/ 2147483647 w 1164"/>
                  <a:gd name="T23" fmla="*/ 2147483647 h 1584"/>
                  <a:gd name="T24" fmla="*/ 2147483647 w 1164"/>
                  <a:gd name="T25" fmla="*/ 2147483647 h 1584"/>
                  <a:gd name="T26" fmla="*/ 2147483647 w 1164"/>
                  <a:gd name="T27" fmla="*/ 2147483647 h 1584"/>
                  <a:gd name="T28" fmla="*/ 2147483647 w 1164"/>
                  <a:gd name="T29" fmla="*/ 2147483647 h 1584"/>
                  <a:gd name="T30" fmla="*/ 2147483647 w 1164"/>
                  <a:gd name="T31" fmla="*/ 2147483647 h 1584"/>
                  <a:gd name="T32" fmla="*/ 2147483647 w 1164"/>
                  <a:gd name="T33" fmla="*/ 2147483647 h 1584"/>
                  <a:gd name="T34" fmla="*/ 2147483647 w 1164"/>
                  <a:gd name="T35" fmla="*/ 2147483647 h 1584"/>
                  <a:gd name="T36" fmla="*/ 2147483647 w 1164"/>
                  <a:gd name="T37" fmla="*/ 2147483647 h 1584"/>
                  <a:gd name="T38" fmla="*/ 2147483647 w 1164"/>
                  <a:gd name="T39" fmla="*/ 2147483647 h 1584"/>
                  <a:gd name="T40" fmla="*/ 2147483647 w 1164"/>
                  <a:gd name="T41" fmla="*/ 2147483647 h 1584"/>
                  <a:gd name="T42" fmla="*/ 2147483647 w 1164"/>
                  <a:gd name="T43" fmla="*/ 2147483647 h 1584"/>
                  <a:gd name="T44" fmla="*/ 2147483647 w 1164"/>
                  <a:gd name="T45" fmla="*/ 2147483647 h 1584"/>
                  <a:gd name="T46" fmla="*/ 2147483647 w 1164"/>
                  <a:gd name="T47" fmla="*/ 2147483647 h 1584"/>
                  <a:gd name="T48" fmla="*/ 2147483647 w 1164"/>
                  <a:gd name="T49" fmla="*/ 2147483647 h 1584"/>
                  <a:gd name="T50" fmla="*/ 2147483647 w 1164"/>
                  <a:gd name="T51" fmla="*/ 2147483647 h 1584"/>
                  <a:gd name="T52" fmla="*/ 2147483647 w 1164"/>
                  <a:gd name="T53" fmla="*/ 2147483647 h 1584"/>
                  <a:gd name="T54" fmla="*/ 2147483647 w 1164"/>
                  <a:gd name="T55" fmla="*/ 2147483647 h 1584"/>
                  <a:gd name="T56" fmla="*/ 2147483647 w 1164"/>
                  <a:gd name="T57" fmla="*/ 2147483647 h 1584"/>
                  <a:gd name="T58" fmla="*/ 2147483647 w 1164"/>
                  <a:gd name="T59" fmla="*/ 2147483647 h 1584"/>
                  <a:gd name="T60" fmla="*/ 2147483647 w 1164"/>
                  <a:gd name="T61" fmla="*/ 2147483647 h 1584"/>
                  <a:gd name="T62" fmla="*/ 2147483647 w 1164"/>
                  <a:gd name="T63" fmla="*/ 2147483647 h 1584"/>
                  <a:gd name="T64" fmla="*/ 2147483647 w 1164"/>
                  <a:gd name="T65" fmla="*/ 2147483647 h 1584"/>
                  <a:gd name="T66" fmla="*/ 2147483647 w 1164"/>
                  <a:gd name="T67" fmla="*/ 2147483647 h 1584"/>
                  <a:gd name="T68" fmla="*/ 2147483647 w 1164"/>
                  <a:gd name="T69" fmla="*/ 2147483647 h 1584"/>
                  <a:gd name="T70" fmla="*/ 2147483647 w 1164"/>
                  <a:gd name="T71" fmla="*/ 2147483647 h 1584"/>
                  <a:gd name="T72" fmla="*/ 2147483647 w 1164"/>
                  <a:gd name="T73" fmla="*/ 2147483647 h 1584"/>
                  <a:gd name="T74" fmla="*/ 2147483647 w 1164"/>
                  <a:gd name="T75" fmla="*/ 2147483647 h 1584"/>
                  <a:gd name="T76" fmla="*/ 2147483647 w 1164"/>
                  <a:gd name="T77" fmla="*/ 2147483647 h 1584"/>
                  <a:gd name="T78" fmla="*/ 2147483647 w 1164"/>
                  <a:gd name="T79" fmla="*/ 2147483647 h 1584"/>
                  <a:gd name="T80" fmla="*/ 2147483647 w 1164"/>
                  <a:gd name="T81" fmla="*/ 2147483647 h 1584"/>
                  <a:gd name="T82" fmla="*/ 2147483647 w 1164"/>
                  <a:gd name="T83" fmla="*/ 2147483647 h 1584"/>
                  <a:gd name="T84" fmla="*/ 2147483647 w 1164"/>
                  <a:gd name="T85" fmla="*/ 2147483647 h 1584"/>
                  <a:gd name="T86" fmla="*/ 2147483647 w 1164"/>
                  <a:gd name="T87" fmla="*/ 2147483647 h 1584"/>
                  <a:gd name="T88" fmla="*/ 2147483647 w 1164"/>
                  <a:gd name="T89" fmla="*/ 2147483647 h 1584"/>
                  <a:gd name="T90" fmla="*/ 2147483647 w 1164"/>
                  <a:gd name="T91" fmla="*/ 2147483647 h 1584"/>
                  <a:gd name="T92" fmla="*/ 2147483647 w 1164"/>
                  <a:gd name="T93" fmla="*/ 2147483647 h 1584"/>
                  <a:gd name="T94" fmla="*/ 2147483647 w 1164"/>
                  <a:gd name="T95" fmla="*/ 2147483647 h 1584"/>
                  <a:gd name="T96" fmla="*/ 2147483647 w 1164"/>
                  <a:gd name="T97" fmla="*/ 2147483647 h 1584"/>
                  <a:gd name="T98" fmla="*/ 2147483647 w 1164"/>
                  <a:gd name="T99" fmla="*/ 2147483647 h 1584"/>
                  <a:gd name="T100" fmla="*/ 2147483647 w 1164"/>
                  <a:gd name="T101" fmla="*/ 2147483647 h 1584"/>
                  <a:gd name="T102" fmla="*/ 2147483647 w 1164"/>
                  <a:gd name="T103" fmla="*/ 2147483647 h 1584"/>
                  <a:gd name="T104" fmla="*/ 2147483647 w 1164"/>
                  <a:gd name="T105" fmla="*/ 2147483647 h 1584"/>
                  <a:gd name="T106" fmla="*/ 2147483647 w 1164"/>
                  <a:gd name="T107" fmla="*/ 2147483647 h 1584"/>
                  <a:gd name="T108" fmla="*/ 2147483647 w 1164"/>
                  <a:gd name="T109" fmla="*/ 2147483647 h 1584"/>
                  <a:gd name="T110" fmla="*/ 2147483647 w 1164"/>
                  <a:gd name="T111" fmla="*/ 2147483647 h 15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4"/>
                  <a:gd name="T169" fmla="*/ 0 h 1584"/>
                  <a:gd name="T170" fmla="*/ 1164 w 1164"/>
                  <a:gd name="T171" fmla="*/ 1584 h 15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4" h="1584">
                    <a:moveTo>
                      <a:pt x="894" y="24"/>
                    </a:moveTo>
                    <a:lnTo>
                      <a:pt x="894" y="48"/>
                    </a:lnTo>
                    <a:lnTo>
                      <a:pt x="888" y="60"/>
                    </a:lnTo>
                    <a:lnTo>
                      <a:pt x="882" y="66"/>
                    </a:lnTo>
                    <a:lnTo>
                      <a:pt x="864" y="66"/>
                    </a:lnTo>
                    <a:lnTo>
                      <a:pt x="858" y="72"/>
                    </a:lnTo>
                    <a:lnTo>
                      <a:pt x="846" y="72"/>
                    </a:lnTo>
                    <a:lnTo>
                      <a:pt x="834" y="84"/>
                    </a:lnTo>
                    <a:lnTo>
                      <a:pt x="822" y="108"/>
                    </a:lnTo>
                    <a:lnTo>
                      <a:pt x="816" y="114"/>
                    </a:lnTo>
                    <a:lnTo>
                      <a:pt x="798" y="114"/>
                    </a:lnTo>
                    <a:lnTo>
                      <a:pt x="792" y="108"/>
                    </a:lnTo>
                    <a:lnTo>
                      <a:pt x="786" y="96"/>
                    </a:lnTo>
                    <a:lnTo>
                      <a:pt x="780" y="90"/>
                    </a:lnTo>
                    <a:lnTo>
                      <a:pt x="660" y="84"/>
                    </a:lnTo>
                    <a:lnTo>
                      <a:pt x="660" y="72"/>
                    </a:lnTo>
                    <a:lnTo>
                      <a:pt x="654" y="72"/>
                    </a:lnTo>
                    <a:lnTo>
                      <a:pt x="636" y="90"/>
                    </a:lnTo>
                    <a:lnTo>
                      <a:pt x="210" y="84"/>
                    </a:lnTo>
                    <a:lnTo>
                      <a:pt x="210" y="246"/>
                    </a:lnTo>
                    <a:lnTo>
                      <a:pt x="138" y="246"/>
                    </a:lnTo>
                    <a:lnTo>
                      <a:pt x="144" y="600"/>
                    </a:lnTo>
                    <a:lnTo>
                      <a:pt x="132" y="600"/>
                    </a:lnTo>
                    <a:lnTo>
                      <a:pt x="120" y="594"/>
                    </a:lnTo>
                    <a:lnTo>
                      <a:pt x="78" y="594"/>
                    </a:lnTo>
                    <a:lnTo>
                      <a:pt x="66" y="606"/>
                    </a:lnTo>
                    <a:lnTo>
                      <a:pt x="72" y="612"/>
                    </a:lnTo>
                    <a:lnTo>
                      <a:pt x="72" y="624"/>
                    </a:lnTo>
                    <a:lnTo>
                      <a:pt x="78" y="630"/>
                    </a:lnTo>
                    <a:lnTo>
                      <a:pt x="78" y="636"/>
                    </a:lnTo>
                    <a:lnTo>
                      <a:pt x="72" y="642"/>
                    </a:lnTo>
                    <a:lnTo>
                      <a:pt x="60" y="648"/>
                    </a:lnTo>
                    <a:lnTo>
                      <a:pt x="48" y="660"/>
                    </a:lnTo>
                    <a:lnTo>
                      <a:pt x="48" y="678"/>
                    </a:lnTo>
                    <a:lnTo>
                      <a:pt x="36" y="678"/>
                    </a:lnTo>
                    <a:lnTo>
                      <a:pt x="42" y="702"/>
                    </a:lnTo>
                    <a:lnTo>
                      <a:pt x="48" y="720"/>
                    </a:lnTo>
                    <a:lnTo>
                      <a:pt x="30" y="732"/>
                    </a:lnTo>
                    <a:lnTo>
                      <a:pt x="12" y="750"/>
                    </a:lnTo>
                    <a:lnTo>
                      <a:pt x="18" y="756"/>
                    </a:lnTo>
                    <a:lnTo>
                      <a:pt x="30" y="780"/>
                    </a:lnTo>
                    <a:lnTo>
                      <a:pt x="30" y="792"/>
                    </a:lnTo>
                    <a:lnTo>
                      <a:pt x="18" y="804"/>
                    </a:lnTo>
                    <a:lnTo>
                      <a:pt x="6" y="810"/>
                    </a:lnTo>
                    <a:lnTo>
                      <a:pt x="0" y="822"/>
                    </a:lnTo>
                    <a:lnTo>
                      <a:pt x="0" y="840"/>
                    </a:lnTo>
                    <a:lnTo>
                      <a:pt x="6" y="846"/>
                    </a:lnTo>
                    <a:lnTo>
                      <a:pt x="18" y="846"/>
                    </a:lnTo>
                    <a:lnTo>
                      <a:pt x="24" y="840"/>
                    </a:lnTo>
                    <a:lnTo>
                      <a:pt x="36" y="840"/>
                    </a:lnTo>
                    <a:lnTo>
                      <a:pt x="42" y="846"/>
                    </a:lnTo>
                    <a:lnTo>
                      <a:pt x="42" y="888"/>
                    </a:lnTo>
                    <a:lnTo>
                      <a:pt x="60" y="900"/>
                    </a:lnTo>
                    <a:lnTo>
                      <a:pt x="42" y="906"/>
                    </a:lnTo>
                    <a:lnTo>
                      <a:pt x="48" y="930"/>
                    </a:lnTo>
                    <a:lnTo>
                      <a:pt x="54" y="930"/>
                    </a:lnTo>
                    <a:lnTo>
                      <a:pt x="66" y="936"/>
                    </a:lnTo>
                    <a:lnTo>
                      <a:pt x="78" y="954"/>
                    </a:lnTo>
                    <a:lnTo>
                      <a:pt x="84" y="960"/>
                    </a:lnTo>
                    <a:lnTo>
                      <a:pt x="84" y="966"/>
                    </a:lnTo>
                    <a:lnTo>
                      <a:pt x="72" y="966"/>
                    </a:lnTo>
                    <a:lnTo>
                      <a:pt x="72" y="990"/>
                    </a:lnTo>
                    <a:lnTo>
                      <a:pt x="102" y="1020"/>
                    </a:lnTo>
                    <a:lnTo>
                      <a:pt x="108" y="1032"/>
                    </a:lnTo>
                    <a:lnTo>
                      <a:pt x="120" y="1044"/>
                    </a:lnTo>
                    <a:lnTo>
                      <a:pt x="126" y="1062"/>
                    </a:lnTo>
                    <a:lnTo>
                      <a:pt x="132" y="1074"/>
                    </a:lnTo>
                    <a:lnTo>
                      <a:pt x="132" y="1104"/>
                    </a:lnTo>
                    <a:lnTo>
                      <a:pt x="126" y="1110"/>
                    </a:lnTo>
                    <a:lnTo>
                      <a:pt x="120" y="1122"/>
                    </a:lnTo>
                    <a:lnTo>
                      <a:pt x="114" y="1128"/>
                    </a:lnTo>
                    <a:lnTo>
                      <a:pt x="114" y="1134"/>
                    </a:lnTo>
                    <a:lnTo>
                      <a:pt x="120" y="1140"/>
                    </a:lnTo>
                    <a:lnTo>
                      <a:pt x="126" y="1140"/>
                    </a:lnTo>
                    <a:lnTo>
                      <a:pt x="120" y="1158"/>
                    </a:lnTo>
                    <a:lnTo>
                      <a:pt x="168" y="1164"/>
                    </a:lnTo>
                    <a:lnTo>
                      <a:pt x="168" y="1194"/>
                    </a:lnTo>
                    <a:lnTo>
                      <a:pt x="192" y="1206"/>
                    </a:lnTo>
                    <a:lnTo>
                      <a:pt x="222" y="1206"/>
                    </a:lnTo>
                    <a:lnTo>
                      <a:pt x="222" y="1224"/>
                    </a:lnTo>
                    <a:lnTo>
                      <a:pt x="228" y="1224"/>
                    </a:lnTo>
                    <a:lnTo>
                      <a:pt x="240" y="1230"/>
                    </a:lnTo>
                    <a:lnTo>
                      <a:pt x="252" y="1242"/>
                    </a:lnTo>
                    <a:lnTo>
                      <a:pt x="252" y="1248"/>
                    </a:lnTo>
                    <a:lnTo>
                      <a:pt x="246" y="1248"/>
                    </a:lnTo>
                    <a:lnTo>
                      <a:pt x="246" y="1254"/>
                    </a:lnTo>
                    <a:lnTo>
                      <a:pt x="240" y="1254"/>
                    </a:lnTo>
                    <a:lnTo>
                      <a:pt x="240" y="1260"/>
                    </a:lnTo>
                    <a:lnTo>
                      <a:pt x="252" y="1272"/>
                    </a:lnTo>
                    <a:lnTo>
                      <a:pt x="264" y="1278"/>
                    </a:lnTo>
                    <a:lnTo>
                      <a:pt x="270" y="1278"/>
                    </a:lnTo>
                    <a:lnTo>
                      <a:pt x="282" y="1284"/>
                    </a:lnTo>
                    <a:lnTo>
                      <a:pt x="294" y="1296"/>
                    </a:lnTo>
                    <a:lnTo>
                      <a:pt x="300" y="1308"/>
                    </a:lnTo>
                    <a:lnTo>
                      <a:pt x="306" y="1314"/>
                    </a:lnTo>
                    <a:lnTo>
                      <a:pt x="306" y="1320"/>
                    </a:lnTo>
                    <a:lnTo>
                      <a:pt x="324" y="1320"/>
                    </a:lnTo>
                    <a:lnTo>
                      <a:pt x="330" y="1326"/>
                    </a:lnTo>
                    <a:lnTo>
                      <a:pt x="330" y="1338"/>
                    </a:lnTo>
                    <a:lnTo>
                      <a:pt x="318" y="1338"/>
                    </a:lnTo>
                    <a:lnTo>
                      <a:pt x="318" y="1344"/>
                    </a:lnTo>
                    <a:lnTo>
                      <a:pt x="330" y="1356"/>
                    </a:lnTo>
                    <a:lnTo>
                      <a:pt x="330" y="1374"/>
                    </a:lnTo>
                    <a:lnTo>
                      <a:pt x="354" y="1380"/>
                    </a:lnTo>
                    <a:lnTo>
                      <a:pt x="360" y="1386"/>
                    </a:lnTo>
                    <a:lnTo>
                      <a:pt x="372" y="1392"/>
                    </a:lnTo>
                    <a:lnTo>
                      <a:pt x="378" y="1398"/>
                    </a:lnTo>
                    <a:lnTo>
                      <a:pt x="384" y="1410"/>
                    </a:lnTo>
                    <a:lnTo>
                      <a:pt x="384" y="1434"/>
                    </a:lnTo>
                    <a:lnTo>
                      <a:pt x="390" y="1446"/>
                    </a:lnTo>
                    <a:lnTo>
                      <a:pt x="420" y="1470"/>
                    </a:lnTo>
                    <a:lnTo>
                      <a:pt x="420" y="1494"/>
                    </a:lnTo>
                    <a:lnTo>
                      <a:pt x="468" y="1518"/>
                    </a:lnTo>
                    <a:lnTo>
                      <a:pt x="474" y="1512"/>
                    </a:lnTo>
                    <a:lnTo>
                      <a:pt x="480" y="1500"/>
                    </a:lnTo>
                    <a:lnTo>
                      <a:pt x="486" y="1494"/>
                    </a:lnTo>
                    <a:lnTo>
                      <a:pt x="498" y="1494"/>
                    </a:lnTo>
                    <a:lnTo>
                      <a:pt x="510" y="1500"/>
                    </a:lnTo>
                    <a:lnTo>
                      <a:pt x="510" y="1506"/>
                    </a:lnTo>
                    <a:lnTo>
                      <a:pt x="522" y="1512"/>
                    </a:lnTo>
                    <a:lnTo>
                      <a:pt x="528" y="1512"/>
                    </a:lnTo>
                    <a:lnTo>
                      <a:pt x="540" y="1500"/>
                    </a:lnTo>
                    <a:lnTo>
                      <a:pt x="540" y="1494"/>
                    </a:lnTo>
                    <a:lnTo>
                      <a:pt x="552" y="1482"/>
                    </a:lnTo>
                    <a:lnTo>
                      <a:pt x="558" y="1488"/>
                    </a:lnTo>
                    <a:lnTo>
                      <a:pt x="570" y="1494"/>
                    </a:lnTo>
                    <a:lnTo>
                      <a:pt x="576" y="1512"/>
                    </a:lnTo>
                    <a:lnTo>
                      <a:pt x="582" y="1524"/>
                    </a:lnTo>
                    <a:lnTo>
                      <a:pt x="594" y="1536"/>
                    </a:lnTo>
                    <a:lnTo>
                      <a:pt x="606" y="1542"/>
                    </a:lnTo>
                    <a:lnTo>
                      <a:pt x="612" y="1548"/>
                    </a:lnTo>
                    <a:lnTo>
                      <a:pt x="618" y="1548"/>
                    </a:lnTo>
                    <a:lnTo>
                      <a:pt x="624" y="1572"/>
                    </a:lnTo>
                    <a:lnTo>
                      <a:pt x="642" y="1572"/>
                    </a:lnTo>
                    <a:lnTo>
                      <a:pt x="660" y="1554"/>
                    </a:lnTo>
                    <a:lnTo>
                      <a:pt x="672" y="1554"/>
                    </a:lnTo>
                    <a:lnTo>
                      <a:pt x="678" y="1560"/>
                    </a:lnTo>
                    <a:lnTo>
                      <a:pt x="690" y="1566"/>
                    </a:lnTo>
                    <a:lnTo>
                      <a:pt x="702" y="1566"/>
                    </a:lnTo>
                    <a:lnTo>
                      <a:pt x="702" y="1560"/>
                    </a:lnTo>
                    <a:lnTo>
                      <a:pt x="708" y="1554"/>
                    </a:lnTo>
                    <a:lnTo>
                      <a:pt x="714" y="1554"/>
                    </a:lnTo>
                    <a:lnTo>
                      <a:pt x="738" y="1584"/>
                    </a:lnTo>
                    <a:lnTo>
                      <a:pt x="756" y="1560"/>
                    </a:lnTo>
                    <a:lnTo>
                      <a:pt x="780" y="1560"/>
                    </a:lnTo>
                    <a:lnTo>
                      <a:pt x="792" y="1548"/>
                    </a:lnTo>
                    <a:lnTo>
                      <a:pt x="804" y="1548"/>
                    </a:lnTo>
                    <a:lnTo>
                      <a:pt x="804" y="1554"/>
                    </a:lnTo>
                    <a:lnTo>
                      <a:pt x="810" y="1560"/>
                    </a:lnTo>
                    <a:lnTo>
                      <a:pt x="834" y="1560"/>
                    </a:lnTo>
                    <a:lnTo>
                      <a:pt x="852" y="1542"/>
                    </a:lnTo>
                    <a:lnTo>
                      <a:pt x="852" y="1536"/>
                    </a:lnTo>
                    <a:lnTo>
                      <a:pt x="858" y="1530"/>
                    </a:lnTo>
                    <a:lnTo>
                      <a:pt x="858" y="1524"/>
                    </a:lnTo>
                    <a:lnTo>
                      <a:pt x="870" y="1524"/>
                    </a:lnTo>
                    <a:lnTo>
                      <a:pt x="888" y="1494"/>
                    </a:lnTo>
                    <a:lnTo>
                      <a:pt x="978" y="1494"/>
                    </a:lnTo>
                    <a:lnTo>
                      <a:pt x="1002" y="1482"/>
                    </a:lnTo>
                    <a:lnTo>
                      <a:pt x="996" y="1464"/>
                    </a:lnTo>
                    <a:lnTo>
                      <a:pt x="996" y="1446"/>
                    </a:lnTo>
                    <a:lnTo>
                      <a:pt x="990" y="1434"/>
                    </a:lnTo>
                    <a:lnTo>
                      <a:pt x="984" y="1428"/>
                    </a:lnTo>
                    <a:lnTo>
                      <a:pt x="966" y="1428"/>
                    </a:lnTo>
                    <a:lnTo>
                      <a:pt x="954" y="1422"/>
                    </a:lnTo>
                    <a:lnTo>
                      <a:pt x="936" y="1386"/>
                    </a:lnTo>
                    <a:lnTo>
                      <a:pt x="936" y="1368"/>
                    </a:lnTo>
                    <a:lnTo>
                      <a:pt x="924" y="1362"/>
                    </a:lnTo>
                    <a:lnTo>
                      <a:pt x="924" y="1326"/>
                    </a:lnTo>
                    <a:lnTo>
                      <a:pt x="912" y="1326"/>
                    </a:lnTo>
                    <a:lnTo>
                      <a:pt x="906" y="1302"/>
                    </a:lnTo>
                    <a:lnTo>
                      <a:pt x="882" y="1302"/>
                    </a:lnTo>
                    <a:lnTo>
                      <a:pt x="876" y="1290"/>
                    </a:lnTo>
                    <a:lnTo>
                      <a:pt x="876" y="1272"/>
                    </a:lnTo>
                    <a:lnTo>
                      <a:pt x="864" y="1266"/>
                    </a:lnTo>
                    <a:lnTo>
                      <a:pt x="858" y="1254"/>
                    </a:lnTo>
                    <a:lnTo>
                      <a:pt x="846" y="1248"/>
                    </a:lnTo>
                    <a:lnTo>
                      <a:pt x="840" y="1242"/>
                    </a:lnTo>
                    <a:lnTo>
                      <a:pt x="816" y="1242"/>
                    </a:lnTo>
                    <a:lnTo>
                      <a:pt x="804" y="1236"/>
                    </a:lnTo>
                    <a:lnTo>
                      <a:pt x="798" y="1236"/>
                    </a:lnTo>
                    <a:lnTo>
                      <a:pt x="798" y="1224"/>
                    </a:lnTo>
                    <a:lnTo>
                      <a:pt x="804" y="1212"/>
                    </a:lnTo>
                    <a:lnTo>
                      <a:pt x="810" y="1206"/>
                    </a:lnTo>
                    <a:lnTo>
                      <a:pt x="804" y="1182"/>
                    </a:lnTo>
                    <a:lnTo>
                      <a:pt x="840" y="1182"/>
                    </a:lnTo>
                    <a:lnTo>
                      <a:pt x="846" y="1188"/>
                    </a:lnTo>
                    <a:lnTo>
                      <a:pt x="852" y="1182"/>
                    </a:lnTo>
                    <a:lnTo>
                      <a:pt x="864" y="1182"/>
                    </a:lnTo>
                    <a:lnTo>
                      <a:pt x="870" y="1176"/>
                    </a:lnTo>
                    <a:lnTo>
                      <a:pt x="870" y="1164"/>
                    </a:lnTo>
                    <a:lnTo>
                      <a:pt x="876" y="1152"/>
                    </a:lnTo>
                    <a:lnTo>
                      <a:pt x="876" y="1116"/>
                    </a:lnTo>
                    <a:lnTo>
                      <a:pt x="870" y="1110"/>
                    </a:lnTo>
                    <a:lnTo>
                      <a:pt x="870" y="1098"/>
                    </a:lnTo>
                    <a:lnTo>
                      <a:pt x="864" y="1086"/>
                    </a:lnTo>
                    <a:lnTo>
                      <a:pt x="864" y="1074"/>
                    </a:lnTo>
                    <a:lnTo>
                      <a:pt x="870" y="1062"/>
                    </a:lnTo>
                    <a:lnTo>
                      <a:pt x="882" y="1056"/>
                    </a:lnTo>
                    <a:lnTo>
                      <a:pt x="888" y="1050"/>
                    </a:lnTo>
                    <a:lnTo>
                      <a:pt x="888" y="1032"/>
                    </a:lnTo>
                    <a:lnTo>
                      <a:pt x="882" y="1020"/>
                    </a:lnTo>
                    <a:lnTo>
                      <a:pt x="882" y="1002"/>
                    </a:lnTo>
                    <a:lnTo>
                      <a:pt x="900" y="984"/>
                    </a:lnTo>
                    <a:lnTo>
                      <a:pt x="906" y="984"/>
                    </a:lnTo>
                    <a:lnTo>
                      <a:pt x="906" y="996"/>
                    </a:lnTo>
                    <a:lnTo>
                      <a:pt x="912" y="1002"/>
                    </a:lnTo>
                    <a:lnTo>
                      <a:pt x="924" y="1002"/>
                    </a:lnTo>
                    <a:lnTo>
                      <a:pt x="930" y="996"/>
                    </a:lnTo>
                    <a:lnTo>
                      <a:pt x="930" y="960"/>
                    </a:lnTo>
                    <a:lnTo>
                      <a:pt x="924" y="954"/>
                    </a:lnTo>
                    <a:lnTo>
                      <a:pt x="924" y="948"/>
                    </a:lnTo>
                    <a:lnTo>
                      <a:pt x="936" y="930"/>
                    </a:lnTo>
                    <a:lnTo>
                      <a:pt x="936" y="906"/>
                    </a:lnTo>
                    <a:lnTo>
                      <a:pt x="942" y="900"/>
                    </a:lnTo>
                    <a:lnTo>
                      <a:pt x="954" y="900"/>
                    </a:lnTo>
                    <a:lnTo>
                      <a:pt x="960" y="894"/>
                    </a:lnTo>
                    <a:lnTo>
                      <a:pt x="960" y="858"/>
                    </a:lnTo>
                    <a:lnTo>
                      <a:pt x="966" y="852"/>
                    </a:lnTo>
                    <a:lnTo>
                      <a:pt x="972" y="840"/>
                    </a:lnTo>
                    <a:lnTo>
                      <a:pt x="978" y="834"/>
                    </a:lnTo>
                    <a:lnTo>
                      <a:pt x="1008" y="834"/>
                    </a:lnTo>
                    <a:lnTo>
                      <a:pt x="1008" y="786"/>
                    </a:lnTo>
                    <a:lnTo>
                      <a:pt x="1014" y="774"/>
                    </a:lnTo>
                    <a:lnTo>
                      <a:pt x="1020" y="768"/>
                    </a:lnTo>
                    <a:lnTo>
                      <a:pt x="1026" y="756"/>
                    </a:lnTo>
                    <a:lnTo>
                      <a:pt x="1032" y="750"/>
                    </a:lnTo>
                    <a:lnTo>
                      <a:pt x="1032" y="708"/>
                    </a:lnTo>
                    <a:lnTo>
                      <a:pt x="1026" y="660"/>
                    </a:lnTo>
                    <a:lnTo>
                      <a:pt x="1020" y="654"/>
                    </a:lnTo>
                    <a:lnTo>
                      <a:pt x="1020" y="636"/>
                    </a:lnTo>
                    <a:lnTo>
                      <a:pt x="1032" y="630"/>
                    </a:lnTo>
                    <a:lnTo>
                      <a:pt x="1038" y="630"/>
                    </a:lnTo>
                    <a:lnTo>
                      <a:pt x="1038" y="594"/>
                    </a:lnTo>
                    <a:lnTo>
                      <a:pt x="1044" y="594"/>
                    </a:lnTo>
                    <a:lnTo>
                      <a:pt x="1050" y="588"/>
                    </a:lnTo>
                    <a:lnTo>
                      <a:pt x="1056" y="576"/>
                    </a:lnTo>
                    <a:lnTo>
                      <a:pt x="1056" y="534"/>
                    </a:lnTo>
                    <a:lnTo>
                      <a:pt x="1050" y="528"/>
                    </a:lnTo>
                    <a:lnTo>
                      <a:pt x="1050" y="516"/>
                    </a:lnTo>
                    <a:lnTo>
                      <a:pt x="1062" y="516"/>
                    </a:lnTo>
                    <a:lnTo>
                      <a:pt x="1068" y="510"/>
                    </a:lnTo>
                    <a:lnTo>
                      <a:pt x="1068" y="492"/>
                    </a:lnTo>
                    <a:lnTo>
                      <a:pt x="1086" y="492"/>
                    </a:lnTo>
                    <a:lnTo>
                      <a:pt x="1092" y="486"/>
                    </a:lnTo>
                    <a:lnTo>
                      <a:pt x="1092" y="480"/>
                    </a:lnTo>
                    <a:lnTo>
                      <a:pt x="1098" y="474"/>
                    </a:lnTo>
                    <a:lnTo>
                      <a:pt x="1098" y="462"/>
                    </a:lnTo>
                    <a:lnTo>
                      <a:pt x="1110" y="462"/>
                    </a:lnTo>
                    <a:lnTo>
                      <a:pt x="1128" y="456"/>
                    </a:lnTo>
                    <a:lnTo>
                      <a:pt x="1152" y="444"/>
                    </a:lnTo>
                    <a:lnTo>
                      <a:pt x="1164" y="420"/>
                    </a:lnTo>
                    <a:lnTo>
                      <a:pt x="1164" y="408"/>
                    </a:lnTo>
                    <a:lnTo>
                      <a:pt x="1128" y="384"/>
                    </a:lnTo>
                    <a:lnTo>
                      <a:pt x="1128" y="378"/>
                    </a:lnTo>
                    <a:lnTo>
                      <a:pt x="1122" y="372"/>
                    </a:lnTo>
                    <a:lnTo>
                      <a:pt x="1122" y="360"/>
                    </a:lnTo>
                    <a:lnTo>
                      <a:pt x="1116" y="354"/>
                    </a:lnTo>
                    <a:lnTo>
                      <a:pt x="1092" y="354"/>
                    </a:lnTo>
                    <a:lnTo>
                      <a:pt x="1080" y="342"/>
                    </a:lnTo>
                    <a:lnTo>
                      <a:pt x="1080" y="330"/>
                    </a:lnTo>
                    <a:lnTo>
                      <a:pt x="1074" y="312"/>
                    </a:lnTo>
                    <a:lnTo>
                      <a:pt x="1074" y="294"/>
                    </a:lnTo>
                    <a:lnTo>
                      <a:pt x="1068" y="282"/>
                    </a:lnTo>
                    <a:lnTo>
                      <a:pt x="1068" y="264"/>
                    </a:lnTo>
                    <a:lnTo>
                      <a:pt x="1062" y="264"/>
                    </a:lnTo>
                    <a:lnTo>
                      <a:pt x="1062" y="240"/>
                    </a:lnTo>
                    <a:lnTo>
                      <a:pt x="1056" y="222"/>
                    </a:lnTo>
                    <a:lnTo>
                      <a:pt x="1056" y="180"/>
                    </a:lnTo>
                    <a:lnTo>
                      <a:pt x="1050" y="168"/>
                    </a:lnTo>
                    <a:lnTo>
                      <a:pt x="1068" y="162"/>
                    </a:lnTo>
                    <a:lnTo>
                      <a:pt x="1038" y="132"/>
                    </a:lnTo>
                    <a:lnTo>
                      <a:pt x="1038" y="90"/>
                    </a:lnTo>
                    <a:lnTo>
                      <a:pt x="1032" y="78"/>
                    </a:lnTo>
                    <a:lnTo>
                      <a:pt x="1026" y="72"/>
                    </a:lnTo>
                    <a:lnTo>
                      <a:pt x="1014" y="66"/>
                    </a:lnTo>
                    <a:lnTo>
                      <a:pt x="984" y="36"/>
                    </a:lnTo>
                    <a:lnTo>
                      <a:pt x="972" y="36"/>
                    </a:lnTo>
                    <a:lnTo>
                      <a:pt x="954" y="18"/>
                    </a:lnTo>
                    <a:lnTo>
                      <a:pt x="948" y="0"/>
                    </a:lnTo>
                    <a:lnTo>
                      <a:pt x="924" y="24"/>
                    </a:lnTo>
                    <a:lnTo>
                      <a:pt x="894" y="2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23" name="Somalia">
                <a:extLst>
                  <a:ext uri="{FF2B5EF4-FFF2-40B4-BE49-F238E27FC236}">
                    <a16:creationId xmlns:a16="http://schemas.microsoft.com/office/drawing/2014/main" id="{204C3AFE-8895-4BE0-A7DC-F693A440D81B}"/>
                  </a:ext>
                </a:extLst>
              </p:cNvPr>
              <p:cNvSpPr>
                <a:spLocks/>
              </p:cNvSpPr>
              <p:nvPr/>
            </p:nvSpPr>
            <p:spPr bwMode="auto">
              <a:xfrm>
                <a:off x="5471628" y="3843864"/>
                <a:ext cx="283079" cy="437810"/>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24" name="Sierra Leone">
                <a:extLst>
                  <a:ext uri="{FF2B5EF4-FFF2-40B4-BE49-F238E27FC236}">
                    <a16:creationId xmlns:a16="http://schemas.microsoft.com/office/drawing/2014/main" id="{1710D894-BEBE-406B-B11B-943E21067251}"/>
                  </a:ext>
                </a:extLst>
              </p:cNvPr>
              <p:cNvSpPr>
                <a:spLocks/>
              </p:cNvSpPr>
              <p:nvPr/>
            </p:nvSpPr>
            <p:spPr bwMode="auto">
              <a:xfrm>
                <a:off x="3946403" y="3905745"/>
                <a:ext cx="81985" cy="106745"/>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25" name="Senegal">
                <a:extLst>
                  <a:ext uri="{FF2B5EF4-FFF2-40B4-BE49-F238E27FC236}">
                    <a16:creationId xmlns:a16="http://schemas.microsoft.com/office/drawing/2014/main" id="{50AA648B-CC68-4FA8-8B47-F6E44B5C2E54}"/>
                  </a:ext>
                </a:extLst>
              </p:cNvPr>
              <p:cNvSpPr>
                <a:spLocks/>
              </p:cNvSpPr>
              <p:nvPr/>
            </p:nvSpPr>
            <p:spPr bwMode="auto">
              <a:xfrm>
                <a:off x="3864418" y="3690707"/>
                <a:ext cx="163969" cy="145421"/>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26" name="Rwanda">
                <a:extLst>
                  <a:ext uri="{FF2B5EF4-FFF2-40B4-BE49-F238E27FC236}">
                    <a16:creationId xmlns:a16="http://schemas.microsoft.com/office/drawing/2014/main" id="{5AEEAE94-E3B2-4836-B344-8629067C44EE}"/>
                  </a:ext>
                </a:extLst>
              </p:cNvPr>
              <p:cNvSpPr>
                <a:spLocks/>
              </p:cNvSpPr>
              <p:nvPr/>
            </p:nvSpPr>
            <p:spPr bwMode="auto">
              <a:xfrm>
                <a:off x="5128221" y="4260015"/>
                <a:ext cx="58782" cy="58787"/>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27" name="Nigeria">
                <a:extLst>
                  <a:ext uri="{FF2B5EF4-FFF2-40B4-BE49-F238E27FC236}">
                    <a16:creationId xmlns:a16="http://schemas.microsoft.com/office/drawing/2014/main" id="{9D895C0D-DEA6-4C75-A84C-B3DEE7975765}"/>
                  </a:ext>
                </a:extLst>
              </p:cNvPr>
              <p:cNvSpPr>
                <a:spLocks/>
              </p:cNvSpPr>
              <p:nvPr/>
            </p:nvSpPr>
            <p:spPr bwMode="auto">
              <a:xfrm>
                <a:off x="4394999" y="3785076"/>
                <a:ext cx="331033" cy="304765"/>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28" name="Niger">
                <a:extLst>
                  <a:ext uri="{FF2B5EF4-FFF2-40B4-BE49-F238E27FC236}">
                    <a16:creationId xmlns:a16="http://schemas.microsoft.com/office/drawing/2014/main" id="{B7201679-C438-4DBE-9C9D-2BA678DD0283}"/>
                  </a:ext>
                </a:extLst>
              </p:cNvPr>
              <p:cNvSpPr>
                <a:spLocks/>
              </p:cNvSpPr>
              <p:nvPr/>
            </p:nvSpPr>
            <p:spPr bwMode="auto">
              <a:xfrm>
                <a:off x="4325389" y="3478764"/>
                <a:ext cx="439314" cy="372835"/>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29" name="Namibia">
                <a:extLst>
                  <a:ext uri="{FF2B5EF4-FFF2-40B4-BE49-F238E27FC236}">
                    <a16:creationId xmlns:a16="http://schemas.microsoft.com/office/drawing/2014/main" id="{13C076A9-E39B-4D2C-B663-1987EB9870A8}"/>
                  </a:ext>
                </a:extLst>
              </p:cNvPr>
              <p:cNvSpPr>
                <a:spLocks/>
              </p:cNvSpPr>
              <p:nvPr/>
            </p:nvSpPr>
            <p:spPr bwMode="auto">
              <a:xfrm>
                <a:off x="4644047" y="4767442"/>
                <a:ext cx="377439" cy="385211"/>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30" name="Mozambique">
                <a:extLst>
                  <a:ext uri="{FF2B5EF4-FFF2-40B4-BE49-F238E27FC236}">
                    <a16:creationId xmlns:a16="http://schemas.microsoft.com/office/drawing/2014/main" id="{AE81D8FD-5D8B-4B37-AE2B-D372335679CE}"/>
                  </a:ext>
                </a:extLst>
              </p:cNvPr>
              <p:cNvSpPr>
                <a:spLocks/>
              </p:cNvSpPr>
              <p:nvPr/>
            </p:nvSpPr>
            <p:spPr bwMode="auto">
              <a:xfrm>
                <a:off x="5159158" y="4561686"/>
                <a:ext cx="301642" cy="529085"/>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31" name="Morocco">
                <a:extLst>
                  <a:ext uri="{FF2B5EF4-FFF2-40B4-BE49-F238E27FC236}">
                    <a16:creationId xmlns:a16="http://schemas.microsoft.com/office/drawing/2014/main" id="{D0875A78-70BF-4566-A451-B81DB7878CA7}"/>
                  </a:ext>
                </a:extLst>
              </p:cNvPr>
              <p:cNvSpPr>
                <a:spLocks/>
              </p:cNvSpPr>
              <p:nvPr/>
            </p:nvSpPr>
            <p:spPr bwMode="auto">
              <a:xfrm>
                <a:off x="3966513" y="3084271"/>
                <a:ext cx="335673" cy="261448"/>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32" name="Mauritania">
                <a:extLst>
                  <a:ext uri="{FF2B5EF4-FFF2-40B4-BE49-F238E27FC236}">
                    <a16:creationId xmlns:a16="http://schemas.microsoft.com/office/drawing/2014/main" id="{0E4BD650-E07A-49CA-A45A-01DEB93AE492}"/>
                  </a:ext>
                </a:extLst>
              </p:cNvPr>
              <p:cNvSpPr>
                <a:spLocks/>
              </p:cNvSpPr>
              <p:nvPr/>
            </p:nvSpPr>
            <p:spPr bwMode="auto">
              <a:xfrm>
                <a:off x="3853590" y="3359643"/>
                <a:ext cx="338767" cy="397587"/>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33" name="Mali">
                <a:extLst>
                  <a:ext uri="{FF2B5EF4-FFF2-40B4-BE49-F238E27FC236}">
                    <a16:creationId xmlns:a16="http://schemas.microsoft.com/office/drawing/2014/main" id="{C3A22CA6-9172-4A70-9178-A71170B42F31}"/>
                  </a:ext>
                </a:extLst>
              </p:cNvPr>
              <p:cNvSpPr>
                <a:spLocks/>
              </p:cNvSpPr>
              <p:nvPr/>
            </p:nvSpPr>
            <p:spPr bwMode="auto">
              <a:xfrm>
                <a:off x="3977341" y="3429259"/>
                <a:ext cx="459424" cy="474939"/>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34" name="Malawi">
                <a:extLst>
                  <a:ext uri="{FF2B5EF4-FFF2-40B4-BE49-F238E27FC236}">
                    <a16:creationId xmlns:a16="http://schemas.microsoft.com/office/drawing/2014/main" id="{3DCDAB08-6FA8-462B-B18A-3702728488D1}"/>
                  </a:ext>
                </a:extLst>
              </p:cNvPr>
              <p:cNvSpPr>
                <a:spLocks/>
              </p:cNvSpPr>
              <p:nvPr/>
            </p:nvSpPr>
            <p:spPr bwMode="auto">
              <a:xfrm>
                <a:off x="5231862" y="4527652"/>
                <a:ext cx="92813" cy="247525"/>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35" name="Madagascar">
                <a:extLst>
                  <a:ext uri="{FF2B5EF4-FFF2-40B4-BE49-F238E27FC236}">
                    <a16:creationId xmlns:a16="http://schemas.microsoft.com/office/drawing/2014/main" id="{3B316C94-E217-4BFE-9457-B5349DBD456D}"/>
                  </a:ext>
                </a:extLst>
              </p:cNvPr>
              <p:cNvSpPr>
                <a:spLocks/>
              </p:cNvSpPr>
              <p:nvPr/>
            </p:nvSpPr>
            <p:spPr bwMode="auto">
              <a:xfrm>
                <a:off x="5502566" y="4618927"/>
                <a:ext cx="235126" cy="431622"/>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36" name="Libya">
                <a:extLst>
                  <a:ext uri="{FF2B5EF4-FFF2-40B4-BE49-F238E27FC236}">
                    <a16:creationId xmlns:a16="http://schemas.microsoft.com/office/drawing/2014/main" id="{657AA104-F60A-4937-8EDB-FF67D02421E4}"/>
                  </a:ext>
                </a:extLst>
              </p:cNvPr>
              <p:cNvSpPr>
                <a:spLocks/>
              </p:cNvSpPr>
              <p:nvPr/>
            </p:nvSpPr>
            <p:spPr bwMode="auto">
              <a:xfrm>
                <a:off x="4579078" y="3167811"/>
                <a:ext cx="434674" cy="439357"/>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37" name="Liberia">
                <a:extLst>
                  <a:ext uri="{FF2B5EF4-FFF2-40B4-BE49-F238E27FC236}">
                    <a16:creationId xmlns:a16="http://schemas.microsoft.com/office/drawing/2014/main" id="{74D109D5-4A97-47B9-B2E0-7B9B3C89AB99}"/>
                  </a:ext>
                </a:extLst>
              </p:cNvPr>
              <p:cNvSpPr>
                <a:spLocks/>
              </p:cNvSpPr>
              <p:nvPr/>
            </p:nvSpPr>
            <p:spPr bwMode="auto">
              <a:xfrm>
                <a:off x="3986622" y="3953703"/>
                <a:ext cx="122204" cy="136139"/>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38" name="Lesotho">
                <a:extLst>
                  <a:ext uri="{FF2B5EF4-FFF2-40B4-BE49-F238E27FC236}">
                    <a16:creationId xmlns:a16="http://schemas.microsoft.com/office/drawing/2014/main" id="{8C24FE25-9AA0-4EB4-905D-9D89EEDC6A58}"/>
                  </a:ext>
                </a:extLst>
              </p:cNvPr>
              <p:cNvSpPr>
                <a:spLocks/>
              </p:cNvSpPr>
              <p:nvPr/>
            </p:nvSpPr>
            <p:spPr bwMode="auto">
              <a:xfrm>
                <a:off x="5058611" y="5140276"/>
                <a:ext cx="66516" cy="64975"/>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39" name="Kenya">
                <a:extLst>
                  <a:ext uri="{FF2B5EF4-FFF2-40B4-BE49-F238E27FC236}">
                    <a16:creationId xmlns:a16="http://schemas.microsoft.com/office/drawing/2014/main" id="{E2ED52D6-C50A-4E39-ABA9-2B65EA595C19}"/>
                  </a:ext>
                </a:extLst>
              </p:cNvPr>
              <p:cNvSpPr>
                <a:spLocks/>
              </p:cNvSpPr>
              <p:nvPr/>
            </p:nvSpPr>
            <p:spPr bwMode="auto">
              <a:xfrm>
                <a:off x="5275174" y="4077465"/>
                <a:ext cx="222751" cy="301671"/>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40" name="Guinea-Bissau">
                <a:extLst>
                  <a:ext uri="{FF2B5EF4-FFF2-40B4-BE49-F238E27FC236}">
                    <a16:creationId xmlns:a16="http://schemas.microsoft.com/office/drawing/2014/main" id="{8D80AA03-3AB1-437D-8111-8183E18E4CEE}"/>
                  </a:ext>
                </a:extLst>
              </p:cNvPr>
              <p:cNvSpPr>
                <a:spLocks/>
              </p:cNvSpPr>
              <p:nvPr/>
            </p:nvSpPr>
            <p:spPr bwMode="auto">
              <a:xfrm>
                <a:off x="3862872" y="3820658"/>
                <a:ext cx="72703" cy="61881"/>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41" name="Guinea">
                <a:extLst>
                  <a:ext uri="{FF2B5EF4-FFF2-40B4-BE49-F238E27FC236}">
                    <a16:creationId xmlns:a16="http://schemas.microsoft.com/office/drawing/2014/main" id="{F53A15B8-8FF3-48F1-A558-252F0753145A}"/>
                  </a:ext>
                </a:extLst>
              </p:cNvPr>
              <p:cNvSpPr>
                <a:spLocks/>
              </p:cNvSpPr>
              <p:nvPr/>
            </p:nvSpPr>
            <p:spPr bwMode="auto">
              <a:xfrm>
                <a:off x="3898450" y="3823752"/>
                <a:ext cx="205735" cy="174815"/>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42" name="Ghana">
                <a:extLst>
                  <a:ext uri="{FF2B5EF4-FFF2-40B4-BE49-F238E27FC236}">
                    <a16:creationId xmlns:a16="http://schemas.microsoft.com/office/drawing/2014/main" id="{1FA9FA44-F84D-4C0A-B05A-F6DC99DB7B6A}"/>
                  </a:ext>
                </a:extLst>
              </p:cNvPr>
              <p:cNvSpPr>
                <a:spLocks/>
              </p:cNvSpPr>
              <p:nvPr/>
            </p:nvSpPr>
            <p:spPr bwMode="auto">
              <a:xfrm>
                <a:off x="4223295" y="3873257"/>
                <a:ext cx="128391" cy="204208"/>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43" name="The Gambia">
                <a:extLst>
                  <a:ext uri="{FF2B5EF4-FFF2-40B4-BE49-F238E27FC236}">
                    <a16:creationId xmlns:a16="http://schemas.microsoft.com/office/drawing/2014/main" id="{8794D1BD-098D-40B5-A9A3-B92F0C728EC7}"/>
                  </a:ext>
                </a:extLst>
              </p:cNvPr>
              <p:cNvSpPr>
                <a:spLocks/>
              </p:cNvSpPr>
              <p:nvPr/>
            </p:nvSpPr>
            <p:spPr bwMode="auto">
              <a:xfrm>
                <a:off x="3848950" y="3788170"/>
                <a:ext cx="85078" cy="20111"/>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44" name="Gabon">
                <a:extLst>
                  <a:ext uri="{FF2B5EF4-FFF2-40B4-BE49-F238E27FC236}">
                    <a16:creationId xmlns:a16="http://schemas.microsoft.com/office/drawing/2014/main" id="{83BCBEE0-2FF8-4D65-9CC8-5FC9F15EE593}"/>
                  </a:ext>
                </a:extLst>
              </p:cNvPr>
              <p:cNvSpPr>
                <a:spLocks/>
              </p:cNvSpPr>
              <p:nvPr/>
            </p:nvSpPr>
            <p:spPr bwMode="auto">
              <a:xfrm>
                <a:off x="4560515" y="4150176"/>
                <a:ext cx="165516" cy="202661"/>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45" name="Ethiopia">
                <a:extLst>
                  <a:ext uri="{FF2B5EF4-FFF2-40B4-BE49-F238E27FC236}">
                    <a16:creationId xmlns:a16="http://schemas.microsoft.com/office/drawing/2014/main" id="{A6975442-5E00-415A-8631-DBB28FF1F36E}"/>
                  </a:ext>
                </a:extLst>
              </p:cNvPr>
              <p:cNvSpPr>
                <a:spLocks/>
              </p:cNvSpPr>
              <p:nvPr/>
            </p:nvSpPr>
            <p:spPr bwMode="auto">
              <a:xfrm>
                <a:off x="5245784" y="3752589"/>
                <a:ext cx="417658" cy="365100"/>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46" name="Eritrea">
                <a:extLst>
                  <a:ext uri="{FF2B5EF4-FFF2-40B4-BE49-F238E27FC236}">
                    <a16:creationId xmlns:a16="http://schemas.microsoft.com/office/drawing/2014/main" id="{A96AA704-115E-44C9-9408-43916B54160D}"/>
                  </a:ext>
                </a:extLst>
              </p:cNvPr>
              <p:cNvSpPr>
                <a:spLocks/>
              </p:cNvSpPr>
              <p:nvPr/>
            </p:nvSpPr>
            <p:spPr bwMode="auto">
              <a:xfrm>
                <a:off x="5333956" y="3652032"/>
                <a:ext cx="190266" cy="181003"/>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47" name="Equatorial Guinea">
                <a:extLst>
                  <a:ext uri="{FF2B5EF4-FFF2-40B4-BE49-F238E27FC236}">
                    <a16:creationId xmlns:a16="http://schemas.microsoft.com/office/drawing/2014/main" id="{EE770530-3134-4AED-A864-1CD1A1761242}"/>
                  </a:ext>
                </a:extLst>
              </p:cNvPr>
              <p:cNvSpPr>
                <a:spLocks/>
              </p:cNvSpPr>
              <p:nvPr/>
            </p:nvSpPr>
            <p:spPr bwMode="auto">
              <a:xfrm>
                <a:off x="4579078" y="4153270"/>
                <a:ext cx="57235" cy="43317"/>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48" name="Egypt">
                <a:extLst>
                  <a:ext uri="{FF2B5EF4-FFF2-40B4-BE49-F238E27FC236}">
                    <a16:creationId xmlns:a16="http://schemas.microsoft.com/office/drawing/2014/main" id="{6E0F409D-558D-4F21-BD93-6C5813BE7321}"/>
                  </a:ext>
                </a:extLst>
              </p:cNvPr>
              <p:cNvSpPr>
                <a:spLocks/>
              </p:cNvSpPr>
              <p:nvPr/>
            </p:nvSpPr>
            <p:spPr bwMode="auto">
              <a:xfrm>
                <a:off x="4995189" y="3217316"/>
                <a:ext cx="312470" cy="318689"/>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49" name="Djibouti">
                <a:extLst>
                  <a:ext uri="{FF2B5EF4-FFF2-40B4-BE49-F238E27FC236}">
                    <a16:creationId xmlns:a16="http://schemas.microsoft.com/office/drawing/2014/main" id="{B6BE6305-8F61-4374-A842-512C28F2F0CC}"/>
                  </a:ext>
                </a:extLst>
              </p:cNvPr>
              <p:cNvSpPr>
                <a:spLocks/>
              </p:cNvSpPr>
              <p:nvPr/>
            </p:nvSpPr>
            <p:spPr bwMode="auto">
              <a:xfrm>
                <a:off x="5485550" y="3823752"/>
                <a:ext cx="46406" cy="54146"/>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50" name="Côte d'Ivoire">
                <a:extLst>
                  <a:ext uri="{FF2B5EF4-FFF2-40B4-BE49-F238E27FC236}">
                    <a16:creationId xmlns:a16="http://schemas.microsoft.com/office/drawing/2014/main" id="{7C9152CE-B159-40E8-B65B-C9ECF0CE4480}"/>
                  </a:ext>
                </a:extLst>
              </p:cNvPr>
              <p:cNvSpPr>
                <a:spLocks/>
              </p:cNvSpPr>
              <p:nvPr/>
            </p:nvSpPr>
            <p:spPr bwMode="auto">
              <a:xfrm>
                <a:off x="4073247" y="3885633"/>
                <a:ext cx="173251" cy="204208"/>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51" name="Congo">
                <a:extLst>
                  <a:ext uri="{FF2B5EF4-FFF2-40B4-BE49-F238E27FC236}">
                    <a16:creationId xmlns:a16="http://schemas.microsoft.com/office/drawing/2014/main" id="{3120CD1B-8FFE-471E-9668-744EFF8E6529}"/>
                  </a:ext>
                </a:extLst>
              </p:cNvPr>
              <p:cNvSpPr>
                <a:spLocks/>
              </p:cNvSpPr>
              <p:nvPr/>
            </p:nvSpPr>
            <p:spPr bwMode="auto">
              <a:xfrm>
                <a:off x="4662609" y="4055807"/>
                <a:ext cx="533674" cy="600248"/>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52" name="Congo (Brazzaville)">
                <a:extLst>
                  <a:ext uri="{FF2B5EF4-FFF2-40B4-BE49-F238E27FC236}">
                    <a16:creationId xmlns:a16="http://schemas.microsoft.com/office/drawing/2014/main" id="{7188036E-77CA-4C9A-82A7-C68379FA9FE6}"/>
                  </a:ext>
                </a:extLst>
              </p:cNvPr>
              <p:cNvSpPr>
                <a:spLocks/>
              </p:cNvSpPr>
              <p:nvPr/>
            </p:nvSpPr>
            <p:spPr bwMode="auto">
              <a:xfrm>
                <a:off x="4628578" y="4108406"/>
                <a:ext cx="211923" cy="276919"/>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53" name="Chad">
                <a:extLst>
                  <a:ext uri="{FF2B5EF4-FFF2-40B4-BE49-F238E27FC236}">
                    <a16:creationId xmlns:a16="http://schemas.microsoft.com/office/drawing/2014/main" id="{57158C7B-119D-483B-B498-0B2C8766C9CE}"/>
                  </a:ext>
                </a:extLst>
              </p:cNvPr>
              <p:cNvSpPr>
                <a:spLocks/>
              </p:cNvSpPr>
              <p:nvPr/>
            </p:nvSpPr>
            <p:spPr bwMode="auto">
              <a:xfrm>
                <a:off x="4693547" y="3478764"/>
                <a:ext cx="293908" cy="510521"/>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54" name="Central African Republic">
                <a:extLst>
                  <a:ext uri="{FF2B5EF4-FFF2-40B4-BE49-F238E27FC236}">
                    <a16:creationId xmlns:a16="http://schemas.microsoft.com/office/drawing/2014/main" id="{F6F32E4F-1F37-4FB8-9B23-8CBE9C0B2C3A}"/>
                  </a:ext>
                </a:extLst>
              </p:cNvPr>
              <p:cNvSpPr>
                <a:spLocks/>
              </p:cNvSpPr>
              <p:nvPr/>
            </p:nvSpPr>
            <p:spPr bwMode="auto">
              <a:xfrm>
                <a:off x="4721391" y="3877898"/>
                <a:ext cx="361970" cy="276919"/>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55" name="Cameroon">
                <a:extLst>
                  <a:ext uri="{FF2B5EF4-FFF2-40B4-BE49-F238E27FC236}">
                    <a16:creationId xmlns:a16="http://schemas.microsoft.com/office/drawing/2014/main" id="{569F7ED9-347F-445C-98E4-CCC890B36FBB}"/>
                  </a:ext>
                </a:extLst>
              </p:cNvPr>
              <p:cNvSpPr>
                <a:spLocks/>
              </p:cNvSpPr>
              <p:nvPr/>
            </p:nvSpPr>
            <p:spPr bwMode="auto">
              <a:xfrm>
                <a:off x="4557421" y="3808282"/>
                <a:ext cx="216563" cy="366647"/>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56" name="Burundi">
                <a:extLst>
                  <a:ext uri="{FF2B5EF4-FFF2-40B4-BE49-F238E27FC236}">
                    <a16:creationId xmlns:a16="http://schemas.microsoft.com/office/drawing/2014/main" id="{17247C85-B9CC-451D-88A9-EF67D0C1AA2A}"/>
                  </a:ext>
                </a:extLst>
              </p:cNvPr>
              <p:cNvSpPr>
                <a:spLocks/>
              </p:cNvSpPr>
              <p:nvPr/>
            </p:nvSpPr>
            <p:spPr bwMode="auto">
              <a:xfrm>
                <a:off x="5132861" y="4304879"/>
                <a:ext cx="52594" cy="66522"/>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57" name="Burkina Faso">
                <a:extLst>
                  <a:ext uri="{FF2B5EF4-FFF2-40B4-BE49-F238E27FC236}">
                    <a16:creationId xmlns:a16="http://schemas.microsoft.com/office/drawing/2014/main" id="{13ABC602-40C8-4955-B27A-8EFBB04551D7}"/>
                  </a:ext>
                </a:extLst>
              </p:cNvPr>
              <p:cNvSpPr>
                <a:spLocks/>
              </p:cNvSpPr>
              <p:nvPr/>
            </p:nvSpPr>
            <p:spPr bwMode="auto">
              <a:xfrm>
                <a:off x="4161420" y="3747948"/>
                <a:ext cx="225845" cy="177909"/>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58" name="Botswana">
                <a:extLst>
                  <a:ext uri="{FF2B5EF4-FFF2-40B4-BE49-F238E27FC236}">
                    <a16:creationId xmlns:a16="http://schemas.microsoft.com/office/drawing/2014/main" id="{5924199E-B9A3-4278-8B29-E09F69A1B970}"/>
                  </a:ext>
                </a:extLst>
              </p:cNvPr>
              <p:cNvSpPr>
                <a:spLocks/>
              </p:cNvSpPr>
              <p:nvPr/>
            </p:nvSpPr>
            <p:spPr bwMode="auto">
              <a:xfrm>
                <a:off x="4871438" y="4793741"/>
                <a:ext cx="256782" cy="289295"/>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59" name="Benin">
                <a:extLst>
                  <a:ext uri="{FF2B5EF4-FFF2-40B4-BE49-F238E27FC236}">
                    <a16:creationId xmlns:a16="http://schemas.microsoft.com/office/drawing/2014/main" id="{D32607D4-D663-48D4-BE7D-161A8576048E}"/>
                  </a:ext>
                </a:extLst>
              </p:cNvPr>
              <p:cNvSpPr>
                <a:spLocks/>
              </p:cNvSpPr>
              <p:nvPr/>
            </p:nvSpPr>
            <p:spPr bwMode="auto">
              <a:xfrm>
                <a:off x="4339311" y="3833034"/>
                <a:ext cx="88172" cy="196473"/>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60" name="Angola">
                <a:extLst>
                  <a:ext uri="{FF2B5EF4-FFF2-40B4-BE49-F238E27FC236}">
                    <a16:creationId xmlns:a16="http://schemas.microsoft.com/office/drawing/2014/main" id="{45E8A8C9-C7C3-451A-AFA6-CB5083E4378E}"/>
                  </a:ext>
                </a:extLst>
              </p:cNvPr>
              <p:cNvSpPr>
                <a:spLocks noEditPoints="1"/>
              </p:cNvSpPr>
              <p:nvPr/>
            </p:nvSpPr>
            <p:spPr bwMode="auto">
              <a:xfrm>
                <a:off x="4644047" y="4363666"/>
                <a:ext cx="351142" cy="437810"/>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61" name="Algeria">
                <a:extLst>
                  <a:ext uri="{FF2B5EF4-FFF2-40B4-BE49-F238E27FC236}">
                    <a16:creationId xmlns:a16="http://schemas.microsoft.com/office/drawing/2014/main" id="{0F7AD9D7-25E8-493B-820C-03FE878229A8}"/>
                  </a:ext>
                </a:extLst>
              </p:cNvPr>
              <p:cNvSpPr>
                <a:spLocks/>
              </p:cNvSpPr>
              <p:nvPr/>
            </p:nvSpPr>
            <p:spPr bwMode="auto">
              <a:xfrm>
                <a:off x="4068607" y="3042501"/>
                <a:ext cx="584721" cy="578590"/>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sp>
            <p:nvSpPr>
              <p:cNvPr id="162" name="South Africa">
                <a:extLst>
                  <a:ext uri="{FF2B5EF4-FFF2-40B4-BE49-F238E27FC236}">
                    <a16:creationId xmlns:a16="http://schemas.microsoft.com/office/drawing/2014/main" id="{67F64E14-7B35-4779-879B-1A040761B93A}"/>
                  </a:ext>
                </a:extLst>
              </p:cNvPr>
              <p:cNvSpPr>
                <a:spLocks noEditPoints="1"/>
              </p:cNvSpPr>
              <p:nvPr/>
            </p:nvSpPr>
            <p:spPr bwMode="auto">
              <a:xfrm>
                <a:off x="4773985" y="4934521"/>
                <a:ext cx="448596" cy="403775"/>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grpFill/>
              <a:ln w="3175" algn="ctr">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grpSp>
        <p:grpSp>
          <p:nvGrpSpPr>
            <p:cNvPr id="35" name="Gruppieren 357">
              <a:extLst>
                <a:ext uri="{FF2B5EF4-FFF2-40B4-BE49-F238E27FC236}">
                  <a16:creationId xmlns:a16="http://schemas.microsoft.com/office/drawing/2014/main" id="{A60A04BA-C01C-46F8-8E59-A642E0C022E6}"/>
                </a:ext>
              </a:extLst>
            </p:cNvPr>
            <p:cNvGrpSpPr/>
            <p:nvPr/>
          </p:nvGrpSpPr>
          <p:grpSpPr>
            <a:xfrm>
              <a:off x="4987455" y="1777871"/>
              <a:ext cx="3423496" cy="2785100"/>
              <a:chOff x="9303031" y="601534"/>
              <a:chExt cx="5053907" cy="4111506"/>
            </a:xfrm>
            <a:grpFill/>
          </p:grpSpPr>
          <p:sp>
            <p:nvSpPr>
              <p:cNvPr id="41" name="Zypern" descr="© INSCALE GmbH, 05.05.2010&#10;http://www.presentationload.com/">
                <a:extLst>
                  <a:ext uri="{FF2B5EF4-FFF2-40B4-BE49-F238E27FC236}">
                    <a16:creationId xmlns:a16="http://schemas.microsoft.com/office/drawing/2014/main" id="{8AF11A59-8BF6-4C08-97D7-51E75E093BD1}"/>
                  </a:ext>
                </a:extLst>
              </p:cNvPr>
              <p:cNvSpPr>
                <a:spLocks/>
              </p:cNvSpPr>
              <p:nvPr/>
            </p:nvSpPr>
            <p:spPr bwMode="gray">
              <a:xfrm>
                <a:off x="9593539" y="2541136"/>
                <a:ext cx="87613" cy="50724"/>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42" name="Westjordanland" descr="© INSCALE GmbH, 05.05.2010&#10;http://www.presentationload.com/">
                <a:extLst>
                  <a:ext uri="{FF2B5EF4-FFF2-40B4-BE49-F238E27FC236}">
                    <a16:creationId xmlns:a16="http://schemas.microsoft.com/office/drawing/2014/main" id="{764F2B01-7ECD-4C08-9D33-15620FBD92B9}"/>
                  </a:ext>
                </a:extLst>
              </p:cNvPr>
              <p:cNvSpPr>
                <a:spLocks/>
              </p:cNvSpPr>
              <p:nvPr/>
            </p:nvSpPr>
            <p:spPr bwMode="gray">
              <a:xfrm>
                <a:off x="9718041" y="2691003"/>
                <a:ext cx="25360" cy="55336"/>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43" name="Vietnam" descr="© INSCALE GmbH, 05.05.2010&#10;http://www.presentationload.com/">
                <a:extLst>
                  <a:ext uri="{FF2B5EF4-FFF2-40B4-BE49-F238E27FC236}">
                    <a16:creationId xmlns:a16="http://schemas.microsoft.com/office/drawing/2014/main" id="{58FB15D2-608E-4A7D-98EF-A8E9E83A23A8}"/>
                  </a:ext>
                </a:extLst>
              </p:cNvPr>
              <p:cNvSpPr>
                <a:spLocks/>
              </p:cNvSpPr>
              <p:nvPr/>
            </p:nvSpPr>
            <p:spPr bwMode="gray">
              <a:xfrm>
                <a:off x="12480170" y="3117544"/>
                <a:ext cx="355064" cy="696300"/>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44" name="Vereinigte Arabische Emirate">
                <a:extLst>
                  <a:ext uri="{FF2B5EF4-FFF2-40B4-BE49-F238E27FC236}">
                    <a16:creationId xmlns:a16="http://schemas.microsoft.com/office/drawing/2014/main" id="{00C968A4-8685-42AA-988B-BC3C2E8393AF}"/>
                  </a:ext>
                </a:extLst>
              </p:cNvPr>
              <p:cNvSpPr>
                <a:spLocks/>
              </p:cNvSpPr>
              <p:nvPr/>
            </p:nvSpPr>
            <p:spPr bwMode="auto">
              <a:xfrm>
                <a:off x="10407865" y="2987157"/>
                <a:ext cx="192940" cy="175328"/>
              </a:xfrm>
              <a:custGeom>
                <a:avLst/>
                <a:gdLst/>
                <a:ahLst/>
                <a:cxnLst>
                  <a:cxn ang="0">
                    <a:pos x="97" y="13"/>
                  </a:cxn>
                  <a:cxn ang="0">
                    <a:pos x="95" y="4"/>
                  </a:cxn>
                  <a:cxn ang="0">
                    <a:pos x="94" y="0"/>
                  </a:cxn>
                  <a:cxn ang="0">
                    <a:pos x="89" y="11"/>
                  </a:cxn>
                  <a:cxn ang="0">
                    <a:pos x="87" y="14"/>
                  </a:cxn>
                  <a:cxn ang="0">
                    <a:pos x="81" y="16"/>
                  </a:cxn>
                  <a:cxn ang="0">
                    <a:pos x="70" y="30"/>
                  </a:cxn>
                  <a:cxn ang="0">
                    <a:pos x="63" y="35"/>
                  </a:cxn>
                  <a:cxn ang="0">
                    <a:pos x="61" y="45"/>
                  </a:cxn>
                  <a:cxn ang="0">
                    <a:pos x="59" y="50"/>
                  </a:cxn>
                  <a:cxn ang="0">
                    <a:pos x="46" y="52"/>
                  </a:cxn>
                  <a:cxn ang="0">
                    <a:pos x="27" y="50"/>
                  </a:cxn>
                  <a:cxn ang="0">
                    <a:pos x="15" y="56"/>
                  </a:cxn>
                  <a:cxn ang="0">
                    <a:pos x="3" y="52"/>
                  </a:cxn>
                  <a:cxn ang="0">
                    <a:pos x="0" y="54"/>
                  </a:cxn>
                  <a:cxn ang="0">
                    <a:pos x="9" y="67"/>
                  </a:cxn>
                  <a:cxn ang="0">
                    <a:pos x="18" y="79"/>
                  </a:cxn>
                  <a:cxn ang="0">
                    <a:pos x="24" y="84"/>
                  </a:cxn>
                  <a:cxn ang="0">
                    <a:pos x="40" y="86"/>
                  </a:cxn>
                  <a:cxn ang="0">
                    <a:pos x="83" y="93"/>
                  </a:cxn>
                  <a:cxn ang="0">
                    <a:pos x="78" y="78"/>
                  </a:cxn>
                  <a:cxn ang="0">
                    <a:pos x="81" y="73"/>
                  </a:cxn>
                  <a:cxn ang="0">
                    <a:pos x="85" y="67"/>
                  </a:cxn>
                  <a:cxn ang="0">
                    <a:pos x="87" y="60"/>
                  </a:cxn>
                  <a:cxn ang="0">
                    <a:pos x="89" y="54"/>
                  </a:cxn>
                  <a:cxn ang="0">
                    <a:pos x="93" y="52"/>
                  </a:cxn>
                  <a:cxn ang="0">
                    <a:pos x="94" y="54"/>
                  </a:cxn>
                  <a:cxn ang="0">
                    <a:pos x="89" y="47"/>
                  </a:cxn>
                  <a:cxn ang="0">
                    <a:pos x="91" y="34"/>
                  </a:cxn>
                  <a:cxn ang="0">
                    <a:pos x="93" y="30"/>
                  </a:cxn>
                  <a:cxn ang="0">
                    <a:pos x="94" y="32"/>
                  </a:cxn>
                  <a:cxn ang="0">
                    <a:pos x="98" y="34"/>
                  </a:cxn>
                  <a:cxn ang="0">
                    <a:pos x="100" y="24"/>
                  </a:cxn>
                </a:cxnLst>
                <a:rect l="0" t="0" r="r" b="b"/>
                <a:pathLst>
                  <a:path w="102" h="93">
                    <a:moveTo>
                      <a:pt x="100" y="14"/>
                    </a:moveTo>
                    <a:cubicBezTo>
                      <a:pt x="99" y="14"/>
                      <a:pt x="98" y="14"/>
                      <a:pt x="97" y="13"/>
                    </a:cubicBezTo>
                    <a:cubicBezTo>
                      <a:pt x="97" y="12"/>
                      <a:pt x="96" y="12"/>
                      <a:pt x="96" y="9"/>
                    </a:cubicBezTo>
                    <a:cubicBezTo>
                      <a:pt x="95" y="6"/>
                      <a:pt x="95" y="6"/>
                      <a:pt x="95" y="4"/>
                    </a:cubicBezTo>
                    <a:cubicBezTo>
                      <a:pt x="94" y="2"/>
                      <a:pt x="94" y="0"/>
                      <a:pt x="94" y="0"/>
                    </a:cubicBezTo>
                    <a:cubicBezTo>
                      <a:pt x="94" y="0"/>
                      <a:pt x="94" y="0"/>
                      <a:pt x="94" y="0"/>
                    </a:cubicBezTo>
                    <a:cubicBezTo>
                      <a:pt x="92" y="3"/>
                      <a:pt x="92" y="3"/>
                      <a:pt x="92" y="3"/>
                    </a:cubicBezTo>
                    <a:cubicBezTo>
                      <a:pt x="89" y="11"/>
                      <a:pt x="89" y="11"/>
                      <a:pt x="89" y="11"/>
                    </a:cubicBezTo>
                    <a:cubicBezTo>
                      <a:pt x="87" y="13"/>
                      <a:pt x="87" y="13"/>
                      <a:pt x="87" y="13"/>
                    </a:cubicBezTo>
                    <a:cubicBezTo>
                      <a:pt x="87" y="14"/>
                      <a:pt x="87" y="14"/>
                      <a:pt x="87" y="14"/>
                    </a:cubicBezTo>
                    <a:cubicBezTo>
                      <a:pt x="85" y="14"/>
                      <a:pt x="85" y="14"/>
                      <a:pt x="85" y="14"/>
                    </a:cubicBezTo>
                    <a:cubicBezTo>
                      <a:pt x="81" y="16"/>
                      <a:pt x="81" y="16"/>
                      <a:pt x="81" y="16"/>
                    </a:cubicBezTo>
                    <a:cubicBezTo>
                      <a:pt x="72" y="26"/>
                      <a:pt x="72" y="26"/>
                      <a:pt x="72" y="26"/>
                    </a:cubicBezTo>
                    <a:cubicBezTo>
                      <a:pt x="70" y="30"/>
                      <a:pt x="70" y="30"/>
                      <a:pt x="70" y="30"/>
                    </a:cubicBezTo>
                    <a:cubicBezTo>
                      <a:pt x="66" y="33"/>
                      <a:pt x="66" y="33"/>
                      <a:pt x="66" y="33"/>
                    </a:cubicBezTo>
                    <a:cubicBezTo>
                      <a:pt x="63" y="35"/>
                      <a:pt x="63" y="35"/>
                      <a:pt x="63" y="35"/>
                    </a:cubicBezTo>
                    <a:cubicBezTo>
                      <a:pt x="61" y="39"/>
                      <a:pt x="61" y="39"/>
                      <a:pt x="61" y="39"/>
                    </a:cubicBezTo>
                    <a:cubicBezTo>
                      <a:pt x="61" y="45"/>
                      <a:pt x="61" y="45"/>
                      <a:pt x="61" y="45"/>
                    </a:cubicBezTo>
                    <a:cubicBezTo>
                      <a:pt x="59" y="48"/>
                      <a:pt x="59" y="48"/>
                      <a:pt x="59" y="48"/>
                    </a:cubicBezTo>
                    <a:cubicBezTo>
                      <a:pt x="59" y="50"/>
                      <a:pt x="59" y="50"/>
                      <a:pt x="59" y="50"/>
                    </a:cubicBezTo>
                    <a:cubicBezTo>
                      <a:pt x="57" y="52"/>
                      <a:pt x="57" y="52"/>
                      <a:pt x="57" y="52"/>
                    </a:cubicBezTo>
                    <a:cubicBezTo>
                      <a:pt x="46" y="52"/>
                      <a:pt x="46" y="52"/>
                      <a:pt x="46" y="52"/>
                    </a:cubicBezTo>
                    <a:cubicBezTo>
                      <a:pt x="40" y="50"/>
                      <a:pt x="40" y="50"/>
                      <a:pt x="40" y="50"/>
                    </a:cubicBezTo>
                    <a:cubicBezTo>
                      <a:pt x="27" y="50"/>
                      <a:pt x="27" y="50"/>
                      <a:pt x="27" y="50"/>
                    </a:cubicBezTo>
                    <a:cubicBezTo>
                      <a:pt x="22" y="52"/>
                      <a:pt x="22" y="52"/>
                      <a:pt x="22" y="52"/>
                    </a:cubicBezTo>
                    <a:cubicBezTo>
                      <a:pt x="15" y="56"/>
                      <a:pt x="15" y="56"/>
                      <a:pt x="15" y="56"/>
                    </a:cubicBezTo>
                    <a:cubicBezTo>
                      <a:pt x="7" y="56"/>
                      <a:pt x="7" y="56"/>
                      <a:pt x="7" y="56"/>
                    </a:cubicBezTo>
                    <a:cubicBezTo>
                      <a:pt x="3" y="52"/>
                      <a:pt x="3" y="52"/>
                      <a:pt x="3" y="52"/>
                    </a:cubicBezTo>
                    <a:cubicBezTo>
                      <a:pt x="0" y="50"/>
                      <a:pt x="0" y="50"/>
                      <a:pt x="0" y="50"/>
                    </a:cubicBezTo>
                    <a:cubicBezTo>
                      <a:pt x="0" y="54"/>
                      <a:pt x="0" y="54"/>
                      <a:pt x="0" y="54"/>
                    </a:cubicBezTo>
                    <a:cubicBezTo>
                      <a:pt x="5" y="60"/>
                      <a:pt x="5" y="60"/>
                      <a:pt x="5" y="60"/>
                    </a:cubicBezTo>
                    <a:cubicBezTo>
                      <a:pt x="9" y="67"/>
                      <a:pt x="9" y="67"/>
                      <a:pt x="9" y="67"/>
                    </a:cubicBezTo>
                    <a:cubicBezTo>
                      <a:pt x="16" y="75"/>
                      <a:pt x="16" y="75"/>
                      <a:pt x="16" y="75"/>
                    </a:cubicBezTo>
                    <a:cubicBezTo>
                      <a:pt x="18" y="79"/>
                      <a:pt x="18" y="79"/>
                      <a:pt x="18" y="79"/>
                    </a:cubicBezTo>
                    <a:cubicBezTo>
                      <a:pt x="22" y="80"/>
                      <a:pt x="22" y="80"/>
                      <a:pt x="22" y="80"/>
                    </a:cubicBezTo>
                    <a:cubicBezTo>
                      <a:pt x="24" y="84"/>
                      <a:pt x="24" y="84"/>
                      <a:pt x="24" y="84"/>
                    </a:cubicBezTo>
                    <a:cubicBezTo>
                      <a:pt x="29" y="84"/>
                      <a:pt x="29" y="84"/>
                      <a:pt x="29" y="84"/>
                    </a:cubicBezTo>
                    <a:cubicBezTo>
                      <a:pt x="40" y="86"/>
                      <a:pt x="40" y="86"/>
                      <a:pt x="40" y="86"/>
                    </a:cubicBezTo>
                    <a:cubicBezTo>
                      <a:pt x="70" y="90"/>
                      <a:pt x="70" y="90"/>
                      <a:pt x="70" y="90"/>
                    </a:cubicBezTo>
                    <a:cubicBezTo>
                      <a:pt x="83" y="93"/>
                      <a:pt x="83" y="93"/>
                      <a:pt x="83" y="93"/>
                    </a:cubicBezTo>
                    <a:cubicBezTo>
                      <a:pt x="78" y="82"/>
                      <a:pt x="78" y="82"/>
                      <a:pt x="78" y="82"/>
                    </a:cubicBezTo>
                    <a:cubicBezTo>
                      <a:pt x="78" y="78"/>
                      <a:pt x="78" y="78"/>
                      <a:pt x="78" y="78"/>
                    </a:cubicBezTo>
                    <a:cubicBezTo>
                      <a:pt x="79" y="76"/>
                      <a:pt x="79" y="76"/>
                      <a:pt x="79" y="76"/>
                    </a:cubicBezTo>
                    <a:cubicBezTo>
                      <a:pt x="81" y="73"/>
                      <a:pt x="81" y="73"/>
                      <a:pt x="81" y="73"/>
                    </a:cubicBezTo>
                    <a:cubicBezTo>
                      <a:pt x="83" y="71"/>
                      <a:pt x="83" y="71"/>
                      <a:pt x="83" y="71"/>
                    </a:cubicBezTo>
                    <a:cubicBezTo>
                      <a:pt x="85" y="67"/>
                      <a:pt x="85" y="67"/>
                      <a:pt x="85" y="67"/>
                    </a:cubicBezTo>
                    <a:cubicBezTo>
                      <a:pt x="85" y="63"/>
                      <a:pt x="85" y="63"/>
                      <a:pt x="85" y="63"/>
                    </a:cubicBezTo>
                    <a:cubicBezTo>
                      <a:pt x="87" y="60"/>
                      <a:pt x="87" y="60"/>
                      <a:pt x="87" y="60"/>
                    </a:cubicBezTo>
                    <a:cubicBezTo>
                      <a:pt x="87" y="56"/>
                      <a:pt x="87" y="56"/>
                      <a:pt x="87" y="56"/>
                    </a:cubicBezTo>
                    <a:cubicBezTo>
                      <a:pt x="89" y="54"/>
                      <a:pt x="89" y="54"/>
                      <a:pt x="89" y="54"/>
                    </a:cubicBezTo>
                    <a:cubicBezTo>
                      <a:pt x="89" y="52"/>
                      <a:pt x="89" y="52"/>
                      <a:pt x="89" y="52"/>
                    </a:cubicBezTo>
                    <a:cubicBezTo>
                      <a:pt x="93" y="52"/>
                      <a:pt x="93" y="52"/>
                      <a:pt x="93" y="52"/>
                    </a:cubicBezTo>
                    <a:cubicBezTo>
                      <a:pt x="93" y="54"/>
                      <a:pt x="93" y="54"/>
                      <a:pt x="93" y="54"/>
                    </a:cubicBezTo>
                    <a:cubicBezTo>
                      <a:pt x="94" y="54"/>
                      <a:pt x="94" y="54"/>
                      <a:pt x="94" y="54"/>
                    </a:cubicBezTo>
                    <a:cubicBezTo>
                      <a:pt x="94" y="52"/>
                      <a:pt x="94" y="52"/>
                      <a:pt x="94" y="52"/>
                    </a:cubicBezTo>
                    <a:cubicBezTo>
                      <a:pt x="89" y="47"/>
                      <a:pt x="89" y="47"/>
                      <a:pt x="89" y="47"/>
                    </a:cubicBezTo>
                    <a:cubicBezTo>
                      <a:pt x="89" y="37"/>
                      <a:pt x="89" y="37"/>
                      <a:pt x="89" y="37"/>
                    </a:cubicBezTo>
                    <a:cubicBezTo>
                      <a:pt x="91" y="34"/>
                      <a:pt x="91" y="34"/>
                      <a:pt x="91" y="34"/>
                    </a:cubicBezTo>
                    <a:cubicBezTo>
                      <a:pt x="91" y="32"/>
                      <a:pt x="91" y="32"/>
                      <a:pt x="91" y="32"/>
                    </a:cubicBezTo>
                    <a:cubicBezTo>
                      <a:pt x="93" y="30"/>
                      <a:pt x="93" y="30"/>
                      <a:pt x="93" y="30"/>
                    </a:cubicBezTo>
                    <a:cubicBezTo>
                      <a:pt x="94" y="30"/>
                      <a:pt x="94" y="30"/>
                      <a:pt x="94" y="30"/>
                    </a:cubicBezTo>
                    <a:cubicBezTo>
                      <a:pt x="94" y="32"/>
                      <a:pt x="94" y="32"/>
                      <a:pt x="94" y="32"/>
                    </a:cubicBezTo>
                    <a:cubicBezTo>
                      <a:pt x="96" y="34"/>
                      <a:pt x="96" y="34"/>
                      <a:pt x="96" y="34"/>
                    </a:cubicBezTo>
                    <a:cubicBezTo>
                      <a:pt x="98" y="34"/>
                      <a:pt x="98" y="34"/>
                      <a:pt x="98" y="34"/>
                    </a:cubicBezTo>
                    <a:cubicBezTo>
                      <a:pt x="102" y="30"/>
                      <a:pt x="102" y="30"/>
                      <a:pt x="102" y="30"/>
                    </a:cubicBezTo>
                    <a:cubicBezTo>
                      <a:pt x="100" y="24"/>
                      <a:pt x="100" y="24"/>
                      <a:pt x="100" y="24"/>
                    </a:cubicBezTo>
                    <a:lnTo>
                      <a:pt x="100" y="14"/>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45" name="Uzbekistan" descr="© INSCALE GmbH, 05.05.2010&#10;http://www.presentationload.com/">
                <a:extLst>
                  <a:ext uri="{FF2B5EF4-FFF2-40B4-BE49-F238E27FC236}">
                    <a16:creationId xmlns:a16="http://schemas.microsoft.com/office/drawing/2014/main" id="{3EFEEE97-4E54-4C96-AFF4-8903BA27A0CA}"/>
                  </a:ext>
                </a:extLst>
              </p:cNvPr>
              <p:cNvSpPr>
                <a:spLocks/>
              </p:cNvSpPr>
              <p:nvPr/>
            </p:nvSpPr>
            <p:spPr bwMode="gray">
              <a:xfrm>
                <a:off x="10442004" y="2080009"/>
                <a:ext cx="691684" cy="389652"/>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46" name="Turkmenistan" descr="© INSCALE GmbH, 05.05.2010&#10;http://www.presentationload.com/">
                <a:extLst>
                  <a:ext uri="{FF2B5EF4-FFF2-40B4-BE49-F238E27FC236}">
                    <a16:creationId xmlns:a16="http://schemas.microsoft.com/office/drawing/2014/main" id="{863A2BDB-5D75-4CB9-8D91-99EB88709E65}"/>
                  </a:ext>
                </a:extLst>
              </p:cNvPr>
              <p:cNvSpPr>
                <a:spLocks/>
              </p:cNvSpPr>
              <p:nvPr/>
            </p:nvSpPr>
            <p:spPr bwMode="gray">
              <a:xfrm>
                <a:off x="10335945" y="2206821"/>
                <a:ext cx="590238" cy="352763"/>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47" name="Türkei" descr="© INSCALE GmbH, 05.05.2010&#10;http://www.presentationload.com/">
                <a:extLst>
                  <a:ext uri="{FF2B5EF4-FFF2-40B4-BE49-F238E27FC236}">
                    <a16:creationId xmlns:a16="http://schemas.microsoft.com/office/drawing/2014/main" id="{828DED93-C515-4DAA-853A-429C1AE13A51}"/>
                  </a:ext>
                </a:extLst>
              </p:cNvPr>
              <p:cNvSpPr>
                <a:spLocks noEditPoints="1"/>
              </p:cNvSpPr>
              <p:nvPr/>
            </p:nvSpPr>
            <p:spPr bwMode="gray">
              <a:xfrm>
                <a:off x="9303031" y="2234487"/>
                <a:ext cx="776992" cy="29512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48" name="Thailand" descr="© INSCALE GmbH, 05.05.2010&#10;http://www.presentationload.com/">
                <a:extLst>
                  <a:ext uri="{FF2B5EF4-FFF2-40B4-BE49-F238E27FC236}">
                    <a16:creationId xmlns:a16="http://schemas.microsoft.com/office/drawing/2014/main" id="{C10BA98F-D78D-4AC1-9CEC-D29541760500}"/>
                  </a:ext>
                </a:extLst>
              </p:cNvPr>
              <p:cNvSpPr>
                <a:spLocks/>
              </p:cNvSpPr>
              <p:nvPr/>
            </p:nvSpPr>
            <p:spPr bwMode="gray">
              <a:xfrm>
                <a:off x="12309553" y="3258187"/>
                <a:ext cx="361980" cy="693996"/>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49" name="Tadschikistan" descr="© INSCALE GmbH, 05.05.2010&#10;http://www.presentationload.com/">
                <a:extLst>
                  <a:ext uri="{FF2B5EF4-FFF2-40B4-BE49-F238E27FC236}">
                    <a16:creationId xmlns:a16="http://schemas.microsoft.com/office/drawing/2014/main" id="{D4CD94ED-12D5-4914-83D9-0D460771EC54}"/>
                  </a:ext>
                </a:extLst>
              </p:cNvPr>
              <p:cNvSpPr>
                <a:spLocks/>
              </p:cNvSpPr>
              <p:nvPr/>
            </p:nvSpPr>
            <p:spPr bwMode="gray">
              <a:xfrm>
                <a:off x="10933101" y="2289823"/>
                <a:ext cx="322786" cy="205202"/>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50" name="Taiwan" descr="© INSCALE GmbH, 05.05.2010&#10;http://www.presentationload.com/">
                <a:extLst>
                  <a:ext uri="{FF2B5EF4-FFF2-40B4-BE49-F238E27FC236}">
                    <a16:creationId xmlns:a16="http://schemas.microsoft.com/office/drawing/2014/main" id="{F0ADBDA1-83C9-4556-8567-76216050BE49}"/>
                  </a:ext>
                </a:extLst>
              </p:cNvPr>
              <p:cNvSpPr>
                <a:spLocks/>
              </p:cNvSpPr>
              <p:nvPr/>
            </p:nvSpPr>
            <p:spPr bwMode="gray">
              <a:xfrm>
                <a:off x="13192604" y="3027624"/>
                <a:ext cx="69168" cy="156782"/>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51" name="Syrien" descr="© INSCALE GmbH, 05.05.2010&#10;http://www.presentationload.com/">
                <a:extLst>
                  <a:ext uri="{FF2B5EF4-FFF2-40B4-BE49-F238E27FC236}">
                    <a16:creationId xmlns:a16="http://schemas.microsoft.com/office/drawing/2014/main" id="{93D4B662-8CF5-4B7F-B327-56E074B79D68}"/>
                  </a:ext>
                </a:extLst>
              </p:cNvPr>
              <p:cNvSpPr>
                <a:spLocks/>
              </p:cNvSpPr>
              <p:nvPr/>
            </p:nvSpPr>
            <p:spPr bwMode="gray">
              <a:xfrm>
                <a:off x="9724958" y="2458132"/>
                <a:ext cx="262840" cy="242092"/>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52" name="Sri Lanka" descr="© INSCALE GmbH, 05.05.2010&#10;http://www.presentationload.com/">
                <a:extLst>
                  <a:ext uri="{FF2B5EF4-FFF2-40B4-BE49-F238E27FC236}">
                    <a16:creationId xmlns:a16="http://schemas.microsoft.com/office/drawing/2014/main" id="{79619F7D-FD1D-48AD-B368-CF685D51AE77}"/>
                  </a:ext>
                </a:extLst>
              </p:cNvPr>
              <p:cNvSpPr>
                <a:spLocks/>
              </p:cNvSpPr>
              <p:nvPr/>
            </p:nvSpPr>
            <p:spPr bwMode="gray">
              <a:xfrm>
                <a:off x="11615565" y="3767732"/>
                <a:ext cx="99140" cy="177535"/>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53" name="Saudi-Arabien" descr="© INSCALE GmbH, 05.05.2010&#10;http://www.presentationload.com/">
                <a:extLst>
                  <a:ext uri="{FF2B5EF4-FFF2-40B4-BE49-F238E27FC236}">
                    <a16:creationId xmlns:a16="http://schemas.microsoft.com/office/drawing/2014/main" id="{A412405E-C49B-448D-93E0-46700AFA65FA}"/>
                  </a:ext>
                </a:extLst>
              </p:cNvPr>
              <p:cNvSpPr>
                <a:spLocks/>
              </p:cNvSpPr>
              <p:nvPr/>
            </p:nvSpPr>
            <p:spPr bwMode="gray">
              <a:xfrm>
                <a:off x="9718041" y="2704837"/>
                <a:ext cx="866911" cy="744718"/>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54" name="Russland (Urup,Simuschir)" descr="© INSCALE GmbH, 05.05.2010&#10;http://www.presentationload.com/">
                <a:extLst>
                  <a:ext uri="{FF2B5EF4-FFF2-40B4-BE49-F238E27FC236}">
                    <a16:creationId xmlns:a16="http://schemas.microsoft.com/office/drawing/2014/main" id="{F1DAD4F2-BAD9-4FAE-9C7D-29A0986C7ED5}"/>
                  </a:ext>
                </a:extLst>
              </p:cNvPr>
              <p:cNvSpPr>
                <a:spLocks noEditPoints="1"/>
              </p:cNvSpPr>
              <p:nvPr/>
            </p:nvSpPr>
            <p:spPr bwMode="gray">
              <a:xfrm>
                <a:off x="13812815" y="1459795"/>
                <a:ext cx="177531" cy="700912"/>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55" name="Philippinen" descr="© INSCALE GmbH, 05.05.2010&#10;http://www.presentationload.com/">
                <a:extLst>
                  <a:ext uri="{FF2B5EF4-FFF2-40B4-BE49-F238E27FC236}">
                    <a16:creationId xmlns:a16="http://schemas.microsoft.com/office/drawing/2014/main" id="{1F1FD5D9-EE26-4AF7-97DA-73698302A0E8}"/>
                  </a:ext>
                </a:extLst>
              </p:cNvPr>
              <p:cNvSpPr>
                <a:spLocks noEditPoints="1"/>
              </p:cNvSpPr>
              <p:nvPr/>
            </p:nvSpPr>
            <p:spPr bwMode="gray">
              <a:xfrm>
                <a:off x="13171854" y="3336578"/>
                <a:ext cx="417316" cy="703218"/>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56" name="Pakistan" descr="© INSCALE GmbH, 05.05.2010&#10;http://www.presentationload.com/">
                <a:extLst>
                  <a:ext uri="{FF2B5EF4-FFF2-40B4-BE49-F238E27FC236}">
                    <a16:creationId xmlns:a16="http://schemas.microsoft.com/office/drawing/2014/main" id="{6ADD9EDD-E2A3-4FF0-B294-A6C988EA319D}"/>
                  </a:ext>
                </a:extLst>
              </p:cNvPr>
              <p:cNvSpPr>
                <a:spLocks/>
              </p:cNvSpPr>
              <p:nvPr/>
            </p:nvSpPr>
            <p:spPr bwMode="gray">
              <a:xfrm>
                <a:off x="10762486" y="2476578"/>
                <a:ext cx="613294" cy="615604"/>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57" name="Paracel Inseln" descr="© INSCALE GmbH, 05.05.2010&#10;http://www.presentationload.com/">
                <a:extLst>
                  <a:ext uri="{FF2B5EF4-FFF2-40B4-BE49-F238E27FC236}">
                    <a16:creationId xmlns:a16="http://schemas.microsoft.com/office/drawing/2014/main" id="{E94012A5-2A6A-4CD2-8C6C-415E30F58109}"/>
                  </a:ext>
                </a:extLst>
              </p:cNvPr>
              <p:cNvSpPr>
                <a:spLocks noEditPoints="1"/>
              </p:cNvSpPr>
              <p:nvPr/>
            </p:nvSpPr>
            <p:spPr bwMode="gray">
              <a:xfrm>
                <a:off x="12888264" y="3405748"/>
                <a:ext cx="55335" cy="36890"/>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58" name="Osttimor" descr="© INSCALE GmbH, 05.05.2010&#10;http://www.presentationload.com/">
                <a:extLst>
                  <a:ext uri="{FF2B5EF4-FFF2-40B4-BE49-F238E27FC236}">
                    <a16:creationId xmlns:a16="http://schemas.microsoft.com/office/drawing/2014/main" id="{30CAB8A7-5CD9-4407-B44D-2FF817B3391C}"/>
                  </a:ext>
                </a:extLst>
              </p:cNvPr>
              <p:cNvSpPr>
                <a:spLocks noEditPoints="1"/>
              </p:cNvSpPr>
              <p:nvPr/>
            </p:nvSpPr>
            <p:spPr bwMode="gray">
              <a:xfrm>
                <a:off x="13453139" y="4606980"/>
                <a:ext cx="145253" cy="69168"/>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grpSp>
            <p:nvGrpSpPr>
              <p:cNvPr id="59" name="Oman">
                <a:extLst>
                  <a:ext uri="{FF2B5EF4-FFF2-40B4-BE49-F238E27FC236}">
                    <a16:creationId xmlns:a16="http://schemas.microsoft.com/office/drawing/2014/main" id="{F5C273DF-A183-4123-A990-C61D371F9D29}"/>
                  </a:ext>
                </a:extLst>
              </p:cNvPr>
              <p:cNvGrpSpPr/>
              <p:nvPr/>
            </p:nvGrpSpPr>
            <p:grpSpPr>
              <a:xfrm>
                <a:off x="10444938" y="2971426"/>
                <a:ext cx="313949" cy="459454"/>
                <a:chOff x="2533651" y="3885663"/>
                <a:chExt cx="397390" cy="581562"/>
              </a:xfrm>
              <a:grpFill/>
            </p:grpSpPr>
            <p:sp>
              <p:nvSpPr>
                <p:cNvPr id="112" name="Oman">
                  <a:extLst>
                    <a:ext uri="{FF2B5EF4-FFF2-40B4-BE49-F238E27FC236}">
                      <a16:creationId xmlns:a16="http://schemas.microsoft.com/office/drawing/2014/main" id="{7678F6E5-9F6E-4D7B-8461-F46B303A0D83}"/>
                    </a:ext>
                  </a:extLst>
                </p:cNvPr>
                <p:cNvSpPr>
                  <a:spLocks/>
                </p:cNvSpPr>
                <p:nvPr/>
              </p:nvSpPr>
              <p:spPr bwMode="auto">
                <a:xfrm>
                  <a:off x="2533651" y="3975750"/>
                  <a:ext cx="397390" cy="491475"/>
                </a:xfrm>
                <a:custGeom>
                  <a:avLst/>
                  <a:gdLst/>
                  <a:ahLst/>
                  <a:cxnLst>
                    <a:cxn ang="0">
                      <a:pos x="375" y="139"/>
                    </a:cxn>
                    <a:cxn ang="0">
                      <a:pos x="361" y="122"/>
                    </a:cxn>
                    <a:cxn ang="0">
                      <a:pos x="340" y="92"/>
                    </a:cxn>
                    <a:cxn ang="0">
                      <a:pos x="316" y="70"/>
                    </a:cxn>
                    <a:cxn ang="0">
                      <a:pos x="269" y="56"/>
                    </a:cxn>
                    <a:cxn ang="0">
                      <a:pos x="250" y="51"/>
                    </a:cxn>
                    <a:cxn ang="0">
                      <a:pos x="234" y="42"/>
                    </a:cxn>
                    <a:cxn ang="0">
                      <a:pos x="210" y="26"/>
                    </a:cxn>
                    <a:cxn ang="0">
                      <a:pos x="208" y="11"/>
                    </a:cxn>
                    <a:cxn ang="0">
                      <a:pos x="203" y="7"/>
                    </a:cxn>
                    <a:cxn ang="0">
                      <a:pos x="189" y="9"/>
                    </a:cxn>
                    <a:cxn ang="0">
                      <a:pos x="179" y="4"/>
                    </a:cxn>
                    <a:cxn ang="0">
                      <a:pos x="177" y="0"/>
                    </a:cxn>
                    <a:cxn ang="0">
                      <a:pos x="172" y="9"/>
                    </a:cxn>
                    <a:cxn ang="0">
                      <a:pos x="167" y="40"/>
                    </a:cxn>
                    <a:cxn ang="0">
                      <a:pos x="179" y="56"/>
                    </a:cxn>
                    <a:cxn ang="0">
                      <a:pos x="177" y="51"/>
                    </a:cxn>
                    <a:cxn ang="0">
                      <a:pos x="167" y="56"/>
                    </a:cxn>
                    <a:cxn ang="0">
                      <a:pos x="163" y="70"/>
                    </a:cxn>
                    <a:cxn ang="0">
                      <a:pos x="158" y="87"/>
                    </a:cxn>
                    <a:cxn ang="0">
                      <a:pos x="149" y="101"/>
                    </a:cxn>
                    <a:cxn ang="0">
                      <a:pos x="141" y="113"/>
                    </a:cxn>
                    <a:cxn ang="0">
                      <a:pos x="153" y="148"/>
                    </a:cxn>
                    <a:cxn ang="0">
                      <a:pos x="158" y="153"/>
                    </a:cxn>
                    <a:cxn ang="0">
                      <a:pos x="163" y="165"/>
                    </a:cxn>
                    <a:cxn ang="0">
                      <a:pos x="177" y="174"/>
                    </a:cxn>
                    <a:cxn ang="0">
                      <a:pos x="0" y="354"/>
                    </a:cxn>
                    <a:cxn ang="0">
                      <a:pos x="82" y="481"/>
                    </a:cxn>
                    <a:cxn ang="0">
                      <a:pos x="167" y="455"/>
                    </a:cxn>
                    <a:cxn ang="0">
                      <a:pos x="184" y="441"/>
                    </a:cxn>
                    <a:cxn ang="0">
                      <a:pos x="189" y="425"/>
                    </a:cxn>
                    <a:cxn ang="0">
                      <a:pos x="203" y="410"/>
                    </a:cxn>
                    <a:cxn ang="0">
                      <a:pos x="224" y="403"/>
                    </a:cxn>
                    <a:cxn ang="0">
                      <a:pos x="245" y="384"/>
                    </a:cxn>
                    <a:cxn ang="0">
                      <a:pos x="250" y="363"/>
                    </a:cxn>
                    <a:cxn ang="0">
                      <a:pos x="260" y="358"/>
                    </a:cxn>
                    <a:cxn ang="0">
                      <a:pos x="281" y="349"/>
                    </a:cxn>
                    <a:cxn ang="0">
                      <a:pos x="304" y="323"/>
                    </a:cxn>
                    <a:cxn ang="0">
                      <a:pos x="309" y="297"/>
                    </a:cxn>
                    <a:cxn ang="0">
                      <a:pos x="312" y="271"/>
                    </a:cxn>
                    <a:cxn ang="0">
                      <a:pos x="326" y="276"/>
                    </a:cxn>
                    <a:cxn ang="0">
                      <a:pos x="340" y="281"/>
                    </a:cxn>
                    <a:cxn ang="0">
                      <a:pos x="352" y="257"/>
                    </a:cxn>
                    <a:cxn ang="0">
                      <a:pos x="392" y="200"/>
                    </a:cxn>
                    <a:cxn ang="0">
                      <a:pos x="397" y="184"/>
                    </a:cxn>
                    <a:cxn ang="0">
                      <a:pos x="387" y="139"/>
                    </a:cxn>
                  </a:cxnLst>
                  <a:rect l="0" t="0" r="r" b="b"/>
                  <a:pathLst>
                    <a:path w="397" h="491">
                      <a:moveTo>
                        <a:pt x="387" y="139"/>
                      </a:moveTo>
                      <a:lnTo>
                        <a:pt x="375" y="139"/>
                      </a:lnTo>
                      <a:lnTo>
                        <a:pt x="375" y="134"/>
                      </a:lnTo>
                      <a:lnTo>
                        <a:pt x="361" y="122"/>
                      </a:lnTo>
                      <a:lnTo>
                        <a:pt x="356" y="108"/>
                      </a:lnTo>
                      <a:lnTo>
                        <a:pt x="340" y="92"/>
                      </a:lnTo>
                      <a:lnTo>
                        <a:pt x="335" y="82"/>
                      </a:lnTo>
                      <a:lnTo>
                        <a:pt x="316" y="70"/>
                      </a:lnTo>
                      <a:lnTo>
                        <a:pt x="290" y="61"/>
                      </a:lnTo>
                      <a:lnTo>
                        <a:pt x="269" y="56"/>
                      </a:lnTo>
                      <a:lnTo>
                        <a:pt x="255" y="56"/>
                      </a:lnTo>
                      <a:lnTo>
                        <a:pt x="250" y="51"/>
                      </a:lnTo>
                      <a:lnTo>
                        <a:pt x="243" y="51"/>
                      </a:lnTo>
                      <a:lnTo>
                        <a:pt x="234" y="42"/>
                      </a:lnTo>
                      <a:lnTo>
                        <a:pt x="215" y="35"/>
                      </a:lnTo>
                      <a:lnTo>
                        <a:pt x="210" y="26"/>
                      </a:lnTo>
                      <a:lnTo>
                        <a:pt x="210" y="21"/>
                      </a:lnTo>
                      <a:lnTo>
                        <a:pt x="208" y="11"/>
                      </a:lnTo>
                      <a:lnTo>
                        <a:pt x="203" y="9"/>
                      </a:lnTo>
                      <a:lnTo>
                        <a:pt x="203" y="7"/>
                      </a:lnTo>
                      <a:lnTo>
                        <a:pt x="198" y="0"/>
                      </a:lnTo>
                      <a:lnTo>
                        <a:pt x="189" y="9"/>
                      </a:lnTo>
                      <a:lnTo>
                        <a:pt x="184" y="9"/>
                      </a:lnTo>
                      <a:lnTo>
                        <a:pt x="179" y="4"/>
                      </a:lnTo>
                      <a:lnTo>
                        <a:pt x="179" y="0"/>
                      </a:lnTo>
                      <a:lnTo>
                        <a:pt x="177" y="0"/>
                      </a:lnTo>
                      <a:lnTo>
                        <a:pt x="172" y="4"/>
                      </a:lnTo>
                      <a:lnTo>
                        <a:pt x="172" y="9"/>
                      </a:lnTo>
                      <a:lnTo>
                        <a:pt x="167" y="16"/>
                      </a:lnTo>
                      <a:lnTo>
                        <a:pt x="167" y="40"/>
                      </a:lnTo>
                      <a:lnTo>
                        <a:pt x="179" y="51"/>
                      </a:lnTo>
                      <a:lnTo>
                        <a:pt x="179" y="56"/>
                      </a:lnTo>
                      <a:lnTo>
                        <a:pt x="177" y="56"/>
                      </a:lnTo>
                      <a:lnTo>
                        <a:pt x="177" y="51"/>
                      </a:lnTo>
                      <a:lnTo>
                        <a:pt x="167" y="51"/>
                      </a:lnTo>
                      <a:lnTo>
                        <a:pt x="167" y="56"/>
                      </a:lnTo>
                      <a:lnTo>
                        <a:pt x="163" y="61"/>
                      </a:lnTo>
                      <a:lnTo>
                        <a:pt x="163" y="70"/>
                      </a:lnTo>
                      <a:lnTo>
                        <a:pt x="158" y="77"/>
                      </a:lnTo>
                      <a:lnTo>
                        <a:pt x="158" y="87"/>
                      </a:lnTo>
                      <a:lnTo>
                        <a:pt x="153" y="96"/>
                      </a:lnTo>
                      <a:lnTo>
                        <a:pt x="149" y="101"/>
                      </a:lnTo>
                      <a:lnTo>
                        <a:pt x="144" y="108"/>
                      </a:lnTo>
                      <a:lnTo>
                        <a:pt x="141" y="113"/>
                      </a:lnTo>
                      <a:lnTo>
                        <a:pt x="141" y="122"/>
                      </a:lnTo>
                      <a:lnTo>
                        <a:pt x="153" y="148"/>
                      </a:lnTo>
                      <a:lnTo>
                        <a:pt x="156" y="148"/>
                      </a:lnTo>
                      <a:lnTo>
                        <a:pt x="158" y="153"/>
                      </a:lnTo>
                      <a:lnTo>
                        <a:pt x="158" y="162"/>
                      </a:lnTo>
                      <a:lnTo>
                        <a:pt x="163" y="165"/>
                      </a:lnTo>
                      <a:lnTo>
                        <a:pt x="172" y="170"/>
                      </a:lnTo>
                      <a:lnTo>
                        <a:pt x="177" y="174"/>
                      </a:lnTo>
                      <a:lnTo>
                        <a:pt x="149" y="302"/>
                      </a:lnTo>
                      <a:lnTo>
                        <a:pt x="0" y="354"/>
                      </a:lnTo>
                      <a:lnTo>
                        <a:pt x="61" y="491"/>
                      </a:lnTo>
                      <a:lnTo>
                        <a:pt x="82" y="481"/>
                      </a:lnTo>
                      <a:lnTo>
                        <a:pt x="144" y="465"/>
                      </a:lnTo>
                      <a:lnTo>
                        <a:pt x="167" y="455"/>
                      </a:lnTo>
                      <a:lnTo>
                        <a:pt x="179" y="451"/>
                      </a:lnTo>
                      <a:lnTo>
                        <a:pt x="184" y="441"/>
                      </a:lnTo>
                      <a:lnTo>
                        <a:pt x="184" y="434"/>
                      </a:lnTo>
                      <a:lnTo>
                        <a:pt x="189" y="425"/>
                      </a:lnTo>
                      <a:lnTo>
                        <a:pt x="189" y="410"/>
                      </a:lnTo>
                      <a:lnTo>
                        <a:pt x="203" y="410"/>
                      </a:lnTo>
                      <a:lnTo>
                        <a:pt x="210" y="408"/>
                      </a:lnTo>
                      <a:lnTo>
                        <a:pt x="224" y="403"/>
                      </a:lnTo>
                      <a:lnTo>
                        <a:pt x="243" y="394"/>
                      </a:lnTo>
                      <a:lnTo>
                        <a:pt x="245" y="384"/>
                      </a:lnTo>
                      <a:lnTo>
                        <a:pt x="250" y="373"/>
                      </a:lnTo>
                      <a:lnTo>
                        <a:pt x="250" y="363"/>
                      </a:lnTo>
                      <a:lnTo>
                        <a:pt x="255" y="363"/>
                      </a:lnTo>
                      <a:lnTo>
                        <a:pt x="260" y="358"/>
                      </a:lnTo>
                      <a:lnTo>
                        <a:pt x="269" y="354"/>
                      </a:lnTo>
                      <a:lnTo>
                        <a:pt x="281" y="349"/>
                      </a:lnTo>
                      <a:lnTo>
                        <a:pt x="300" y="332"/>
                      </a:lnTo>
                      <a:lnTo>
                        <a:pt x="304" y="323"/>
                      </a:lnTo>
                      <a:lnTo>
                        <a:pt x="304" y="311"/>
                      </a:lnTo>
                      <a:lnTo>
                        <a:pt x="309" y="297"/>
                      </a:lnTo>
                      <a:lnTo>
                        <a:pt x="309" y="276"/>
                      </a:lnTo>
                      <a:lnTo>
                        <a:pt x="312" y="271"/>
                      </a:lnTo>
                      <a:lnTo>
                        <a:pt x="316" y="271"/>
                      </a:lnTo>
                      <a:lnTo>
                        <a:pt x="326" y="276"/>
                      </a:lnTo>
                      <a:lnTo>
                        <a:pt x="330" y="281"/>
                      </a:lnTo>
                      <a:lnTo>
                        <a:pt x="340" y="281"/>
                      </a:lnTo>
                      <a:lnTo>
                        <a:pt x="342" y="276"/>
                      </a:lnTo>
                      <a:lnTo>
                        <a:pt x="352" y="257"/>
                      </a:lnTo>
                      <a:lnTo>
                        <a:pt x="352" y="240"/>
                      </a:lnTo>
                      <a:lnTo>
                        <a:pt x="392" y="200"/>
                      </a:lnTo>
                      <a:lnTo>
                        <a:pt x="392" y="193"/>
                      </a:lnTo>
                      <a:lnTo>
                        <a:pt x="397" y="184"/>
                      </a:lnTo>
                      <a:lnTo>
                        <a:pt x="397" y="148"/>
                      </a:lnTo>
                      <a:lnTo>
                        <a:pt x="387" y="139"/>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113" name="Oman">
                  <a:extLst>
                    <a:ext uri="{FF2B5EF4-FFF2-40B4-BE49-F238E27FC236}">
                      <a16:creationId xmlns:a16="http://schemas.microsoft.com/office/drawing/2014/main" id="{17D7CD77-4114-4F8A-A511-5F94045FE640}"/>
                    </a:ext>
                  </a:extLst>
                </p:cNvPr>
                <p:cNvSpPr>
                  <a:spLocks/>
                </p:cNvSpPr>
                <p:nvPr/>
              </p:nvSpPr>
              <p:spPr bwMode="auto">
                <a:xfrm>
                  <a:off x="2712827" y="3885663"/>
                  <a:ext cx="19019" cy="52050"/>
                </a:xfrm>
                <a:custGeom>
                  <a:avLst/>
                  <a:gdLst/>
                  <a:ahLst/>
                  <a:cxnLst>
                    <a:cxn ang="0">
                      <a:pos x="1" y="12"/>
                    </a:cxn>
                    <a:cxn ang="0">
                      <a:pos x="2" y="17"/>
                    </a:cxn>
                    <a:cxn ang="0">
                      <a:pos x="3" y="21"/>
                    </a:cxn>
                    <a:cxn ang="0">
                      <a:pos x="6" y="22"/>
                    </a:cxn>
                    <a:cxn ang="0">
                      <a:pos x="6" y="19"/>
                    </a:cxn>
                    <a:cxn ang="0">
                      <a:pos x="8" y="13"/>
                    </a:cxn>
                    <a:cxn ang="0">
                      <a:pos x="8" y="2"/>
                    </a:cxn>
                    <a:cxn ang="0">
                      <a:pos x="6" y="0"/>
                    </a:cxn>
                    <a:cxn ang="0">
                      <a:pos x="4" y="0"/>
                    </a:cxn>
                    <a:cxn ang="0">
                      <a:pos x="2" y="2"/>
                    </a:cxn>
                    <a:cxn ang="0">
                      <a:pos x="0" y="5"/>
                    </a:cxn>
                    <a:cxn ang="0">
                      <a:pos x="0" y="8"/>
                    </a:cxn>
                    <a:cxn ang="0">
                      <a:pos x="0" y="8"/>
                    </a:cxn>
                    <a:cxn ang="0">
                      <a:pos x="1" y="12"/>
                    </a:cxn>
                  </a:cxnLst>
                  <a:rect l="0" t="0" r="r" b="b"/>
                  <a:pathLst>
                    <a:path w="8" h="22">
                      <a:moveTo>
                        <a:pt x="1" y="12"/>
                      </a:moveTo>
                      <a:cubicBezTo>
                        <a:pt x="1" y="14"/>
                        <a:pt x="1" y="14"/>
                        <a:pt x="2" y="17"/>
                      </a:cubicBezTo>
                      <a:cubicBezTo>
                        <a:pt x="2" y="20"/>
                        <a:pt x="3" y="20"/>
                        <a:pt x="3" y="21"/>
                      </a:cubicBezTo>
                      <a:cubicBezTo>
                        <a:pt x="4" y="22"/>
                        <a:pt x="5" y="22"/>
                        <a:pt x="6" y="22"/>
                      </a:cubicBezTo>
                      <a:cubicBezTo>
                        <a:pt x="6" y="19"/>
                        <a:pt x="6" y="19"/>
                        <a:pt x="6" y="19"/>
                      </a:cubicBezTo>
                      <a:cubicBezTo>
                        <a:pt x="8" y="13"/>
                        <a:pt x="8" y="13"/>
                        <a:pt x="8" y="13"/>
                      </a:cubicBezTo>
                      <a:cubicBezTo>
                        <a:pt x="8" y="2"/>
                        <a:pt x="8" y="2"/>
                        <a:pt x="8" y="2"/>
                      </a:cubicBezTo>
                      <a:cubicBezTo>
                        <a:pt x="6" y="0"/>
                        <a:pt x="6" y="0"/>
                        <a:pt x="6" y="0"/>
                      </a:cubicBezTo>
                      <a:cubicBezTo>
                        <a:pt x="4" y="0"/>
                        <a:pt x="4" y="0"/>
                        <a:pt x="4" y="0"/>
                      </a:cubicBezTo>
                      <a:cubicBezTo>
                        <a:pt x="2" y="2"/>
                        <a:pt x="2" y="2"/>
                        <a:pt x="2" y="2"/>
                      </a:cubicBezTo>
                      <a:cubicBezTo>
                        <a:pt x="0" y="5"/>
                        <a:pt x="0" y="5"/>
                        <a:pt x="0" y="5"/>
                      </a:cubicBezTo>
                      <a:cubicBezTo>
                        <a:pt x="0" y="8"/>
                        <a:pt x="0" y="8"/>
                        <a:pt x="0" y="8"/>
                      </a:cubicBezTo>
                      <a:cubicBezTo>
                        <a:pt x="0" y="8"/>
                        <a:pt x="0" y="8"/>
                        <a:pt x="0" y="8"/>
                      </a:cubicBezTo>
                      <a:cubicBezTo>
                        <a:pt x="0" y="8"/>
                        <a:pt x="0" y="10"/>
                        <a:pt x="1" y="12"/>
                      </a:cubicBez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grpSp>
          <p:sp>
            <p:nvSpPr>
              <p:cNvPr id="60" name="Nepal" descr="© INSCALE GmbH, 05.05.2010&#10;http://www.presentationload.com/">
                <a:extLst>
                  <a:ext uri="{FF2B5EF4-FFF2-40B4-BE49-F238E27FC236}">
                    <a16:creationId xmlns:a16="http://schemas.microsoft.com/office/drawing/2014/main" id="{7D0EB5A6-D191-4CF8-BD82-DA1B67FA63F4}"/>
                  </a:ext>
                </a:extLst>
              </p:cNvPr>
              <p:cNvSpPr>
                <a:spLocks/>
              </p:cNvSpPr>
              <p:nvPr/>
            </p:nvSpPr>
            <p:spPr bwMode="gray">
              <a:xfrm>
                <a:off x="11534866" y="2783227"/>
                <a:ext cx="343536" cy="193672"/>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61" name="Myanmar" descr="© INSCALE GmbH, 05.05.2010&#10;http://www.presentationload.com/">
                <a:extLst>
                  <a:ext uri="{FF2B5EF4-FFF2-40B4-BE49-F238E27FC236}">
                    <a16:creationId xmlns:a16="http://schemas.microsoft.com/office/drawing/2014/main" id="{2A9A0DA8-13BB-48D3-B30B-00F8D21211A9}"/>
                  </a:ext>
                </a:extLst>
              </p:cNvPr>
              <p:cNvSpPr>
                <a:spLocks/>
              </p:cNvSpPr>
              <p:nvPr/>
            </p:nvSpPr>
            <p:spPr bwMode="gray">
              <a:xfrm>
                <a:off x="12074381" y="2875453"/>
                <a:ext cx="371204" cy="876140"/>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62" name="Mongolei" descr="© INSCALE GmbH, 05.05.2010&#10;http://www.presentationload.com/">
                <a:extLst>
                  <a:ext uri="{FF2B5EF4-FFF2-40B4-BE49-F238E27FC236}">
                    <a16:creationId xmlns:a16="http://schemas.microsoft.com/office/drawing/2014/main" id="{A7C98A85-90F6-49DB-9519-F826B99FA5DC}"/>
                  </a:ext>
                </a:extLst>
              </p:cNvPr>
              <p:cNvSpPr>
                <a:spLocks/>
              </p:cNvSpPr>
              <p:nvPr/>
            </p:nvSpPr>
            <p:spPr bwMode="gray">
              <a:xfrm>
                <a:off x="11555618" y="1773361"/>
                <a:ext cx="1226587" cy="486490"/>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63" name="Malaysia" descr="© INSCALE GmbH, 05.05.2010&#10;http://www.presentationload.com/">
                <a:extLst>
                  <a:ext uri="{FF2B5EF4-FFF2-40B4-BE49-F238E27FC236}">
                    <a16:creationId xmlns:a16="http://schemas.microsoft.com/office/drawing/2014/main" id="{9EB2894C-5AFB-4297-9751-5AB705BB31EF}"/>
                  </a:ext>
                </a:extLst>
              </p:cNvPr>
              <p:cNvSpPr>
                <a:spLocks/>
              </p:cNvSpPr>
              <p:nvPr/>
            </p:nvSpPr>
            <p:spPr bwMode="gray">
              <a:xfrm>
                <a:off x="12461724" y="3901458"/>
                <a:ext cx="179837" cy="255926"/>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64" name="Malaysia" descr="© INSCALE GmbH, 05.05.2010&#10;http://www.presentationload.com/">
                <a:extLst>
                  <a:ext uri="{FF2B5EF4-FFF2-40B4-BE49-F238E27FC236}">
                    <a16:creationId xmlns:a16="http://schemas.microsoft.com/office/drawing/2014/main" id="{34D74819-F7DF-410C-A236-7338CACE2D9D}"/>
                  </a:ext>
                </a:extLst>
              </p:cNvPr>
              <p:cNvSpPr>
                <a:spLocks/>
              </p:cNvSpPr>
              <p:nvPr/>
            </p:nvSpPr>
            <p:spPr bwMode="gray">
              <a:xfrm>
                <a:off x="12881346" y="3871486"/>
                <a:ext cx="401178" cy="308954"/>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Arial"/>
                  <a:ea typeface="+mn-ea"/>
                  <a:cs typeface="+mn-cs"/>
                </a:endParaRPr>
              </a:p>
            </p:txBody>
          </p:sp>
          <p:sp>
            <p:nvSpPr>
              <p:cNvPr id="65" name="Libanon" descr="© INSCALE GmbH, 05.05.2010&#10;http://www.presentationload.com/">
                <a:extLst>
                  <a:ext uri="{FF2B5EF4-FFF2-40B4-BE49-F238E27FC236}">
                    <a16:creationId xmlns:a16="http://schemas.microsoft.com/office/drawing/2014/main" id="{D4FF3B0F-9D03-44DD-8406-8DF51DCA1448}"/>
                  </a:ext>
                </a:extLst>
              </p:cNvPr>
              <p:cNvSpPr>
                <a:spLocks/>
              </p:cNvSpPr>
              <p:nvPr/>
            </p:nvSpPr>
            <p:spPr bwMode="gray">
              <a:xfrm>
                <a:off x="9706514" y="2587249"/>
                <a:ext cx="62250" cy="92224"/>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66" name="Laos" descr="© INSCALE GmbH, 05.05.2010&#10;http://www.presentationload.com/">
                <a:extLst>
                  <a:ext uri="{FF2B5EF4-FFF2-40B4-BE49-F238E27FC236}">
                    <a16:creationId xmlns:a16="http://schemas.microsoft.com/office/drawing/2014/main" id="{5B8325A1-2119-4AC4-B9A5-B86FCB4A927C}"/>
                  </a:ext>
                </a:extLst>
              </p:cNvPr>
              <p:cNvSpPr>
                <a:spLocks/>
              </p:cNvSpPr>
              <p:nvPr/>
            </p:nvSpPr>
            <p:spPr bwMode="gray">
              <a:xfrm>
                <a:off x="12404084" y="3159044"/>
                <a:ext cx="350454" cy="405790"/>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67" name="Kirgisistan" descr="© INSCALE GmbH, 05.05.2010&#10;http://www.presentationload.com/">
                <a:extLst>
                  <a:ext uri="{FF2B5EF4-FFF2-40B4-BE49-F238E27FC236}">
                    <a16:creationId xmlns:a16="http://schemas.microsoft.com/office/drawing/2014/main" id="{BFE5FEE8-C4AD-4A5B-8E3D-040A0CA41987}"/>
                  </a:ext>
                </a:extLst>
              </p:cNvPr>
              <p:cNvSpPr>
                <a:spLocks/>
              </p:cNvSpPr>
              <p:nvPr/>
            </p:nvSpPr>
            <p:spPr bwMode="gray">
              <a:xfrm>
                <a:off x="10999965" y="2188375"/>
                <a:ext cx="391955" cy="182144"/>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68" name="Kuwait" descr="© INSCALE GmbH, 05.05.2010&#10;http://www.presentationload.com/">
                <a:extLst>
                  <a:ext uri="{FF2B5EF4-FFF2-40B4-BE49-F238E27FC236}">
                    <a16:creationId xmlns:a16="http://schemas.microsoft.com/office/drawing/2014/main" id="{9EDE6FAC-88E3-4511-BFC1-E4673CB74FE0}"/>
                  </a:ext>
                </a:extLst>
              </p:cNvPr>
              <p:cNvSpPr>
                <a:spLocks/>
              </p:cNvSpPr>
              <p:nvPr/>
            </p:nvSpPr>
            <p:spPr bwMode="gray">
              <a:xfrm>
                <a:off x="10190693" y="2803978"/>
                <a:ext cx="80696" cy="71476"/>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69" name="Korea, Süd" descr="© INSCALE GmbH, 05.05.2010&#10;http://www.presentationload.com/">
                <a:extLst>
                  <a:ext uri="{FF2B5EF4-FFF2-40B4-BE49-F238E27FC236}">
                    <a16:creationId xmlns:a16="http://schemas.microsoft.com/office/drawing/2014/main" id="{EFB7B877-3BA3-4CF4-9647-601508ECB7EF}"/>
                  </a:ext>
                </a:extLst>
              </p:cNvPr>
              <p:cNvSpPr>
                <a:spLocks noEditPoints="1"/>
              </p:cNvSpPr>
              <p:nvPr/>
            </p:nvSpPr>
            <p:spPr bwMode="gray">
              <a:xfrm>
                <a:off x="13243328" y="2405105"/>
                <a:ext cx="159086" cy="249008"/>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70" name="Korea, Nord" descr="© INSCALE GmbH, 05.05.2010&#10;http://www.presentationload.com/">
                <a:extLst>
                  <a:ext uri="{FF2B5EF4-FFF2-40B4-BE49-F238E27FC236}">
                    <a16:creationId xmlns:a16="http://schemas.microsoft.com/office/drawing/2014/main" id="{58A9ABE2-CB65-4457-A528-3255F9733316}"/>
                  </a:ext>
                </a:extLst>
              </p:cNvPr>
              <p:cNvSpPr>
                <a:spLocks/>
              </p:cNvSpPr>
              <p:nvPr/>
            </p:nvSpPr>
            <p:spPr bwMode="gray">
              <a:xfrm>
                <a:off x="13109602" y="2199903"/>
                <a:ext cx="191365" cy="244396"/>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71" name="Katar" descr="© INSCALE GmbH, 05.05.2010&#10;http://www.presentationload.com/">
                <a:extLst>
                  <a:ext uri="{FF2B5EF4-FFF2-40B4-BE49-F238E27FC236}">
                    <a16:creationId xmlns:a16="http://schemas.microsoft.com/office/drawing/2014/main" id="{4B86AD7E-CAAE-4A0E-9334-528EA92A38F1}"/>
                  </a:ext>
                </a:extLst>
              </p:cNvPr>
              <p:cNvSpPr>
                <a:spLocks/>
              </p:cNvSpPr>
              <p:nvPr/>
            </p:nvSpPr>
            <p:spPr bwMode="gray">
              <a:xfrm>
                <a:off x="10382059" y="2983817"/>
                <a:ext cx="39194" cy="83002"/>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72" name="Kasachstan" descr="© INSCALE GmbH, 05.05.2010&#10;http://www.presentationload.com/">
                <a:extLst>
                  <a:ext uri="{FF2B5EF4-FFF2-40B4-BE49-F238E27FC236}">
                    <a16:creationId xmlns:a16="http://schemas.microsoft.com/office/drawing/2014/main" id="{B2533501-4643-423E-8B24-E8ED0242AC0A}"/>
                  </a:ext>
                </a:extLst>
              </p:cNvPr>
              <p:cNvSpPr>
                <a:spLocks noEditPoints="1"/>
              </p:cNvSpPr>
              <p:nvPr/>
            </p:nvSpPr>
            <p:spPr bwMode="gray">
              <a:xfrm>
                <a:off x="10059273" y="1630411"/>
                <a:ext cx="1470983" cy="680162"/>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73" name="Kambodscha" descr="© INSCALE GmbH, 05.05.2010&#10;http://www.presentationload.com/">
                <a:extLst>
                  <a:ext uri="{FF2B5EF4-FFF2-40B4-BE49-F238E27FC236}">
                    <a16:creationId xmlns:a16="http://schemas.microsoft.com/office/drawing/2014/main" id="{E4A04E4E-957D-4AB8-8D52-A8CF7C2DDC50}"/>
                  </a:ext>
                </a:extLst>
              </p:cNvPr>
              <p:cNvSpPr>
                <a:spLocks/>
              </p:cNvSpPr>
              <p:nvPr/>
            </p:nvSpPr>
            <p:spPr bwMode="gray">
              <a:xfrm>
                <a:off x="12540114" y="3534863"/>
                <a:ext cx="221339" cy="195980"/>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74" name="Jordanien" descr="© INSCALE GmbH, 05.05.2010&#10;http://www.presentationload.com/">
                <a:extLst>
                  <a:ext uri="{FF2B5EF4-FFF2-40B4-BE49-F238E27FC236}">
                    <a16:creationId xmlns:a16="http://schemas.microsoft.com/office/drawing/2014/main" id="{9715552E-8F84-4775-962D-B1D4058FFDD6}"/>
                  </a:ext>
                </a:extLst>
              </p:cNvPr>
              <p:cNvSpPr>
                <a:spLocks/>
              </p:cNvSpPr>
              <p:nvPr/>
            </p:nvSpPr>
            <p:spPr bwMode="gray">
              <a:xfrm>
                <a:off x="9724958" y="2651806"/>
                <a:ext cx="163697" cy="195980"/>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75" name="Jemen" descr="© INSCALE GmbH, 05.05.2010&#10;http://www.presentationload.com/">
                <a:extLst>
                  <a:ext uri="{FF2B5EF4-FFF2-40B4-BE49-F238E27FC236}">
                    <a16:creationId xmlns:a16="http://schemas.microsoft.com/office/drawing/2014/main" id="{EDF6A99E-A979-48E3-ACE0-090AD65D2253}"/>
                  </a:ext>
                </a:extLst>
              </p:cNvPr>
              <p:cNvSpPr>
                <a:spLocks/>
              </p:cNvSpPr>
              <p:nvPr/>
            </p:nvSpPr>
            <p:spPr bwMode="gray">
              <a:xfrm>
                <a:off x="10066190" y="3322745"/>
                <a:ext cx="428845" cy="292816"/>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76" name="Japan" descr="© INSCALE GmbH, 05.05.2010&#10;http://www.presentationload.com/">
                <a:extLst>
                  <a:ext uri="{FF2B5EF4-FFF2-40B4-BE49-F238E27FC236}">
                    <a16:creationId xmlns:a16="http://schemas.microsoft.com/office/drawing/2014/main" id="{4E419670-EB92-40B3-9CFF-962EC0266799}"/>
                  </a:ext>
                </a:extLst>
              </p:cNvPr>
              <p:cNvSpPr>
                <a:spLocks noEditPoints="1"/>
              </p:cNvSpPr>
              <p:nvPr/>
            </p:nvSpPr>
            <p:spPr bwMode="gray">
              <a:xfrm>
                <a:off x="13333247" y="2080009"/>
                <a:ext cx="511847" cy="998338"/>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77" name="Israel" descr="© INSCALE GmbH, 05.05.2010&#10;http://www.presentationload.com/">
                <a:extLst>
                  <a:ext uri="{FF2B5EF4-FFF2-40B4-BE49-F238E27FC236}">
                    <a16:creationId xmlns:a16="http://schemas.microsoft.com/office/drawing/2014/main" id="{3703DF97-80A2-47B1-8BD7-7885969F5CF6}"/>
                  </a:ext>
                </a:extLst>
              </p:cNvPr>
              <p:cNvSpPr>
                <a:spLocks/>
              </p:cNvSpPr>
              <p:nvPr/>
            </p:nvSpPr>
            <p:spPr bwMode="gray">
              <a:xfrm>
                <a:off x="9690376" y="2644889"/>
                <a:ext cx="59946" cy="186758"/>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78" name="Irak" descr="© INSCALE GmbH, 05.05.2010&#10;http://www.presentationload.com/">
                <a:extLst>
                  <a:ext uri="{FF2B5EF4-FFF2-40B4-BE49-F238E27FC236}">
                    <a16:creationId xmlns:a16="http://schemas.microsoft.com/office/drawing/2014/main" id="{78268012-97FD-4DA9-AC4E-3401FCC10FC8}"/>
                  </a:ext>
                </a:extLst>
              </p:cNvPr>
              <p:cNvSpPr>
                <a:spLocks/>
              </p:cNvSpPr>
              <p:nvPr/>
            </p:nvSpPr>
            <p:spPr bwMode="gray">
              <a:xfrm>
                <a:off x="9860991" y="2462745"/>
                <a:ext cx="401178" cy="385042"/>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79" name="Iran" descr="© INSCALE GmbH, 05.05.2010&#10;http://www.presentationload.com/">
                <a:extLst>
                  <a:ext uri="{FF2B5EF4-FFF2-40B4-BE49-F238E27FC236}">
                    <a16:creationId xmlns:a16="http://schemas.microsoft.com/office/drawing/2014/main" id="{9CE01E12-7467-44CE-879C-F01C302CA674}"/>
                  </a:ext>
                </a:extLst>
              </p:cNvPr>
              <p:cNvSpPr>
                <a:spLocks/>
              </p:cNvSpPr>
              <p:nvPr/>
            </p:nvSpPr>
            <p:spPr bwMode="gray">
              <a:xfrm>
                <a:off x="10031606" y="2345159"/>
                <a:ext cx="841549" cy="689385"/>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80" name="Indonesien" descr="© INSCALE GmbH, 05.05.2010&#10;http://www.presentationload.com/">
                <a:extLst>
                  <a:ext uri="{FF2B5EF4-FFF2-40B4-BE49-F238E27FC236}">
                    <a16:creationId xmlns:a16="http://schemas.microsoft.com/office/drawing/2014/main" id="{ECA51CEF-777C-425A-B809-910DEF2B8E7D}"/>
                  </a:ext>
                </a:extLst>
              </p:cNvPr>
              <p:cNvSpPr>
                <a:spLocks noEditPoints="1"/>
              </p:cNvSpPr>
              <p:nvPr/>
            </p:nvSpPr>
            <p:spPr bwMode="gray">
              <a:xfrm>
                <a:off x="12265749" y="3952182"/>
                <a:ext cx="1909051" cy="760858"/>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81" name="Indien" descr="© INSCALE GmbH, 05.05.2010&#10;http://www.presentationload.com/">
                <a:extLst>
                  <a:ext uri="{FF2B5EF4-FFF2-40B4-BE49-F238E27FC236}">
                    <a16:creationId xmlns:a16="http://schemas.microsoft.com/office/drawing/2014/main" id="{8F7226DC-51A9-40A7-9260-0F323047D981}"/>
                  </a:ext>
                </a:extLst>
              </p:cNvPr>
              <p:cNvSpPr>
                <a:spLocks noEditPoints="1"/>
              </p:cNvSpPr>
              <p:nvPr/>
            </p:nvSpPr>
            <p:spPr bwMode="gray">
              <a:xfrm>
                <a:off x="11096801" y="2522690"/>
                <a:ext cx="1141280" cy="1378768"/>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82" name="Georgien" descr="© INSCALE GmbH, 05.05.2010&#10;http://www.presentationload.com/">
                <a:extLst>
                  <a:ext uri="{FF2B5EF4-FFF2-40B4-BE49-F238E27FC236}">
                    <a16:creationId xmlns:a16="http://schemas.microsoft.com/office/drawing/2014/main" id="{D3CCB374-3D4E-461C-93A3-429004E5C136}"/>
                  </a:ext>
                </a:extLst>
              </p:cNvPr>
              <p:cNvSpPr>
                <a:spLocks/>
              </p:cNvSpPr>
              <p:nvPr/>
            </p:nvSpPr>
            <p:spPr bwMode="gray">
              <a:xfrm>
                <a:off x="9854073" y="2167623"/>
                <a:ext cx="269757" cy="122200"/>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83" name="Bhutan" descr="© INSCALE GmbH, 05.05.2010&#10;http://www.presentationload.com/">
                <a:extLst>
                  <a:ext uri="{FF2B5EF4-FFF2-40B4-BE49-F238E27FC236}">
                    <a16:creationId xmlns:a16="http://schemas.microsoft.com/office/drawing/2014/main" id="{F34C801D-FD63-44ED-BCF4-48B3351228E8}"/>
                  </a:ext>
                </a:extLst>
              </p:cNvPr>
              <p:cNvSpPr>
                <a:spLocks/>
              </p:cNvSpPr>
              <p:nvPr/>
            </p:nvSpPr>
            <p:spPr bwMode="gray">
              <a:xfrm>
                <a:off x="11899154" y="2884675"/>
                <a:ext cx="136031" cy="78392"/>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84" name="Bangladesch" descr="© INSCALE GmbH, 05.05.2010&#10;http://www.presentationload.com/">
                <a:extLst>
                  <a:ext uri="{FF2B5EF4-FFF2-40B4-BE49-F238E27FC236}">
                    <a16:creationId xmlns:a16="http://schemas.microsoft.com/office/drawing/2014/main" id="{94B77F1B-44B4-465C-AD85-6B587B9365A0}"/>
                  </a:ext>
                </a:extLst>
              </p:cNvPr>
              <p:cNvSpPr>
                <a:spLocks/>
              </p:cNvSpPr>
              <p:nvPr/>
            </p:nvSpPr>
            <p:spPr bwMode="gray">
              <a:xfrm>
                <a:off x="11880709" y="2969982"/>
                <a:ext cx="219033" cy="249008"/>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85" name="Bahrain" descr="© INSCALE GmbH, 05.05.2010&#10;http://www.presentationload.com/">
                <a:extLst>
                  <a:ext uri="{FF2B5EF4-FFF2-40B4-BE49-F238E27FC236}">
                    <a16:creationId xmlns:a16="http://schemas.microsoft.com/office/drawing/2014/main" id="{66F739E2-4AD8-4C44-A25C-27BBCBE198C0}"/>
                  </a:ext>
                </a:extLst>
              </p:cNvPr>
              <p:cNvSpPr>
                <a:spLocks/>
              </p:cNvSpPr>
              <p:nvPr/>
            </p:nvSpPr>
            <p:spPr bwMode="gray">
              <a:xfrm>
                <a:off x="10363613" y="2972289"/>
                <a:ext cx="16138" cy="32280"/>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1">
                  <a:ln>
                    <a:noFill/>
                  </a:ln>
                  <a:solidFill>
                    <a:prstClr val="black"/>
                  </a:solidFill>
                  <a:effectLst/>
                  <a:uLnTx/>
                  <a:uFillTx/>
                  <a:latin typeface="Arial"/>
                  <a:ea typeface="+mn-ea"/>
                  <a:cs typeface="+mn-cs"/>
                </a:endParaRPr>
              </a:p>
            </p:txBody>
          </p:sp>
          <p:sp>
            <p:nvSpPr>
              <p:cNvPr id="86" name="Aserbaidschan" descr="© INSCALE GmbH, 05.05.2010&#10;http://www.presentationload.com/">
                <a:extLst>
                  <a:ext uri="{FF2B5EF4-FFF2-40B4-BE49-F238E27FC236}">
                    <a16:creationId xmlns:a16="http://schemas.microsoft.com/office/drawing/2014/main" id="{26AE949D-739C-417A-AB98-83C96C435B69}"/>
                  </a:ext>
                </a:extLst>
              </p:cNvPr>
              <p:cNvSpPr>
                <a:spLocks noEditPoints="1"/>
              </p:cNvSpPr>
              <p:nvPr/>
            </p:nvSpPr>
            <p:spPr bwMode="gray">
              <a:xfrm>
                <a:off x="10059272" y="2246015"/>
                <a:ext cx="212117" cy="170616"/>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87" name="Afghanistan" descr="© INSCALE GmbH, 05.05.2010&#10;http://www.presentationload.com/">
                <a:extLst>
                  <a:ext uri="{FF2B5EF4-FFF2-40B4-BE49-F238E27FC236}">
                    <a16:creationId xmlns:a16="http://schemas.microsoft.com/office/drawing/2014/main" id="{631B6488-AB2E-49EA-90C3-4CC0D7D2AB06}"/>
                  </a:ext>
                </a:extLst>
              </p:cNvPr>
              <p:cNvSpPr>
                <a:spLocks/>
              </p:cNvSpPr>
              <p:nvPr/>
            </p:nvSpPr>
            <p:spPr bwMode="gray">
              <a:xfrm>
                <a:off x="10709456" y="2405105"/>
                <a:ext cx="530291" cy="431154"/>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88" name="China (Beispiel: eingefärbt)" descr="© INSCALE GmbH, 05.05.2010&#10;http://www.presentationload.com/">
                <a:extLst>
                  <a:ext uri="{FF2B5EF4-FFF2-40B4-BE49-F238E27FC236}">
                    <a16:creationId xmlns:a16="http://schemas.microsoft.com/office/drawing/2014/main" id="{E771A9E7-A1EF-4C44-9FDB-8B49F9BD2BE8}"/>
                  </a:ext>
                </a:extLst>
              </p:cNvPr>
              <p:cNvSpPr>
                <a:spLocks noEditPoints="1"/>
              </p:cNvSpPr>
              <p:nvPr/>
            </p:nvSpPr>
            <p:spPr bwMode="gray">
              <a:xfrm>
                <a:off x="11175190" y="1708803"/>
                <a:ext cx="2139611" cy="1650832"/>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grpFill/>
              <a:ln w="3175">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89" name="Armenien" descr="© INSCALE GmbH, 05.05.2010&#10;http://www.presentationload.com/">
                <a:extLst>
                  <a:ext uri="{FF2B5EF4-FFF2-40B4-BE49-F238E27FC236}">
                    <a16:creationId xmlns:a16="http://schemas.microsoft.com/office/drawing/2014/main" id="{02C41676-169B-4DD8-863D-5EA1568F8799}"/>
                  </a:ext>
                </a:extLst>
              </p:cNvPr>
              <p:cNvSpPr>
                <a:spLocks/>
              </p:cNvSpPr>
              <p:nvPr/>
            </p:nvSpPr>
            <p:spPr bwMode="gray">
              <a:xfrm>
                <a:off x="10001631" y="2271377"/>
                <a:ext cx="129114" cy="124504"/>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solidFill>
                <a:round/>
                <a:headEnd/>
                <a:tailEnd/>
              </a:ln>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90" name="Freeform 28">
                <a:extLst>
                  <a:ext uri="{FF2B5EF4-FFF2-40B4-BE49-F238E27FC236}">
                    <a16:creationId xmlns:a16="http://schemas.microsoft.com/office/drawing/2014/main" id="{62F2A1D2-9983-4469-A13C-0675829531A7}"/>
                  </a:ext>
                </a:extLst>
              </p:cNvPr>
              <p:cNvSpPr>
                <a:spLocks/>
              </p:cNvSpPr>
              <p:nvPr/>
            </p:nvSpPr>
            <p:spPr bwMode="auto">
              <a:xfrm>
                <a:off x="11110841" y="661095"/>
                <a:ext cx="147415" cy="62540"/>
              </a:xfrm>
              <a:custGeom>
                <a:avLst/>
                <a:gdLst/>
                <a:ahLst/>
                <a:cxnLst>
                  <a:cxn ang="0">
                    <a:pos x="16" y="40"/>
                  </a:cxn>
                  <a:cxn ang="0">
                    <a:pos x="21" y="40"/>
                  </a:cxn>
                  <a:cxn ang="0">
                    <a:pos x="35" y="33"/>
                  </a:cxn>
                  <a:cxn ang="0">
                    <a:pos x="99" y="31"/>
                  </a:cxn>
                  <a:cxn ang="0">
                    <a:pos x="82" y="21"/>
                  </a:cxn>
                  <a:cxn ang="0">
                    <a:pos x="80" y="21"/>
                  </a:cxn>
                  <a:cxn ang="0">
                    <a:pos x="77" y="19"/>
                  </a:cxn>
                  <a:cxn ang="0">
                    <a:pos x="68" y="14"/>
                  </a:cxn>
                  <a:cxn ang="0">
                    <a:pos x="61" y="12"/>
                  </a:cxn>
                  <a:cxn ang="0">
                    <a:pos x="56" y="9"/>
                  </a:cxn>
                  <a:cxn ang="0">
                    <a:pos x="49" y="9"/>
                  </a:cxn>
                  <a:cxn ang="0">
                    <a:pos x="44" y="12"/>
                  </a:cxn>
                  <a:cxn ang="0">
                    <a:pos x="42" y="14"/>
                  </a:cxn>
                  <a:cxn ang="0">
                    <a:pos x="37" y="16"/>
                  </a:cxn>
                  <a:cxn ang="0">
                    <a:pos x="37" y="14"/>
                  </a:cxn>
                  <a:cxn ang="0">
                    <a:pos x="35" y="12"/>
                  </a:cxn>
                  <a:cxn ang="0">
                    <a:pos x="33" y="7"/>
                  </a:cxn>
                  <a:cxn ang="0">
                    <a:pos x="30" y="5"/>
                  </a:cxn>
                  <a:cxn ang="0">
                    <a:pos x="21" y="0"/>
                  </a:cxn>
                  <a:cxn ang="0">
                    <a:pos x="11" y="5"/>
                  </a:cxn>
                  <a:cxn ang="0">
                    <a:pos x="4" y="19"/>
                  </a:cxn>
                  <a:cxn ang="0">
                    <a:pos x="2" y="31"/>
                  </a:cxn>
                  <a:cxn ang="0">
                    <a:pos x="0" y="38"/>
                  </a:cxn>
                  <a:cxn ang="0">
                    <a:pos x="9" y="42"/>
                  </a:cxn>
                  <a:cxn ang="0">
                    <a:pos x="16" y="40"/>
                  </a:cxn>
                </a:cxnLst>
                <a:rect l="0" t="0" r="r" b="b"/>
                <a:pathLst>
                  <a:path w="99" h="42">
                    <a:moveTo>
                      <a:pt x="16" y="40"/>
                    </a:moveTo>
                    <a:lnTo>
                      <a:pt x="21" y="40"/>
                    </a:lnTo>
                    <a:lnTo>
                      <a:pt x="35" y="33"/>
                    </a:lnTo>
                    <a:lnTo>
                      <a:pt x="99" y="31"/>
                    </a:lnTo>
                    <a:lnTo>
                      <a:pt x="82" y="21"/>
                    </a:lnTo>
                    <a:lnTo>
                      <a:pt x="80" y="21"/>
                    </a:lnTo>
                    <a:lnTo>
                      <a:pt x="77" y="19"/>
                    </a:lnTo>
                    <a:lnTo>
                      <a:pt x="68" y="14"/>
                    </a:lnTo>
                    <a:lnTo>
                      <a:pt x="61" y="12"/>
                    </a:lnTo>
                    <a:lnTo>
                      <a:pt x="56" y="9"/>
                    </a:lnTo>
                    <a:lnTo>
                      <a:pt x="49" y="9"/>
                    </a:lnTo>
                    <a:lnTo>
                      <a:pt x="44" y="12"/>
                    </a:lnTo>
                    <a:lnTo>
                      <a:pt x="42" y="14"/>
                    </a:lnTo>
                    <a:lnTo>
                      <a:pt x="37" y="16"/>
                    </a:lnTo>
                    <a:lnTo>
                      <a:pt x="37" y="14"/>
                    </a:lnTo>
                    <a:lnTo>
                      <a:pt x="35" y="12"/>
                    </a:lnTo>
                    <a:lnTo>
                      <a:pt x="33" y="7"/>
                    </a:lnTo>
                    <a:lnTo>
                      <a:pt x="30" y="5"/>
                    </a:lnTo>
                    <a:lnTo>
                      <a:pt x="21" y="0"/>
                    </a:lnTo>
                    <a:lnTo>
                      <a:pt x="11" y="5"/>
                    </a:lnTo>
                    <a:lnTo>
                      <a:pt x="4" y="19"/>
                    </a:lnTo>
                    <a:lnTo>
                      <a:pt x="2" y="31"/>
                    </a:lnTo>
                    <a:lnTo>
                      <a:pt x="0" y="38"/>
                    </a:lnTo>
                    <a:lnTo>
                      <a:pt x="9" y="42"/>
                    </a:lnTo>
                    <a:lnTo>
                      <a:pt x="16" y="4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91" name="Freeform 29">
                <a:extLst>
                  <a:ext uri="{FF2B5EF4-FFF2-40B4-BE49-F238E27FC236}">
                    <a16:creationId xmlns:a16="http://schemas.microsoft.com/office/drawing/2014/main" id="{AD021796-4F7F-4FAE-B579-C9615B498545}"/>
                  </a:ext>
                </a:extLst>
              </p:cNvPr>
              <p:cNvSpPr>
                <a:spLocks/>
              </p:cNvSpPr>
              <p:nvPr/>
            </p:nvSpPr>
            <p:spPr bwMode="auto">
              <a:xfrm>
                <a:off x="10917266" y="646205"/>
                <a:ext cx="157837" cy="38715"/>
              </a:xfrm>
              <a:custGeom>
                <a:avLst/>
                <a:gdLst/>
                <a:ahLst/>
                <a:cxnLst>
                  <a:cxn ang="0">
                    <a:pos x="4" y="10"/>
                  </a:cxn>
                  <a:cxn ang="0">
                    <a:pos x="0" y="12"/>
                  </a:cxn>
                  <a:cxn ang="0">
                    <a:pos x="21" y="19"/>
                  </a:cxn>
                  <a:cxn ang="0">
                    <a:pos x="33" y="22"/>
                  </a:cxn>
                  <a:cxn ang="0">
                    <a:pos x="40" y="22"/>
                  </a:cxn>
                  <a:cxn ang="0">
                    <a:pos x="59" y="19"/>
                  </a:cxn>
                  <a:cxn ang="0">
                    <a:pos x="82" y="26"/>
                  </a:cxn>
                  <a:cxn ang="0">
                    <a:pos x="106" y="26"/>
                  </a:cxn>
                  <a:cxn ang="0">
                    <a:pos x="104" y="19"/>
                  </a:cxn>
                  <a:cxn ang="0">
                    <a:pos x="94" y="5"/>
                  </a:cxn>
                  <a:cxn ang="0">
                    <a:pos x="87" y="3"/>
                  </a:cxn>
                  <a:cxn ang="0">
                    <a:pos x="82" y="0"/>
                  </a:cxn>
                  <a:cxn ang="0">
                    <a:pos x="75" y="3"/>
                  </a:cxn>
                  <a:cxn ang="0">
                    <a:pos x="61" y="10"/>
                  </a:cxn>
                  <a:cxn ang="0">
                    <a:pos x="52" y="0"/>
                  </a:cxn>
                  <a:cxn ang="0">
                    <a:pos x="47" y="0"/>
                  </a:cxn>
                  <a:cxn ang="0">
                    <a:pos x="19" y="5"/>
                  </a:cxn>
                  <a:cxn ang="0">
                    <a:pos x="4" y="10"/>
                  </a:cxn>
                </a:cxnLst>
                <a:rect l="0" t="0" r="r" b="b"/>
                <a:pathLst>
                  <a:path w="106" h="26">
                    <a:moveTo>
                      <a:pt x="4" y="10"/>
                    </a:moveTo>
                    <a:lnTo>
                      <a:pt x="0" y="12"/>
                    </a:lnTo>
                    <a:lnTo>
                      <a:pt x="21" y="19"/>
                    </a:lnTo>
                    <a:lnTo>
                      <a:pt x="33" y="22"/>
                    </a:lnTo>
                    <a:lnTo>
                      <a:pt x="40" y="22"/>
                    </a:lnTo>
                    <a:lnTo>
                      <a:pt x="59" y="19"/>
                    </a:lnTo>
                    <a:lnTo>
                      <a:pt x="82" y="26"/>
                    </a:lnTo>
                    <a:lnTo>
                      <a:pt x="106" y="26"/>
                    </a:lnTo>
                    <a:lnTo>
                      <a:pt x="104" y="19"/>
                    </a:lnTo>
                    <a:lnTo>
                      <a:pt x="94" y="5"/>
                    </a:lnTo>
                    <a:lnTo>
                      <a:pt x="87" y="3"/>
                    </a:lnTo>
                    <a:lnTo>
                      <a:pt x="82" y="0"/>
                    </a:lnTo>
                    <a:lnTo>
                      <a:pt x="75" y="3"/>
                    </a:lnTo>
                    <a:lnTo>
                      <a:pt x="61" y="10"/>
                    </a:lnTo>
                    <a:lnTo>
                      <a:pt x="52" y="0"/>
                    </a:lnTo>
                    <a:lnTo>
                      <a:pt x="47" y="0"/>
                    </a:lnTo>
                    <a:lnTo>
                      <a:pt x="19" y="5"/>
                    </a:lnTo>
                    <a:lnTo>
                      <a:pt x="4" y="1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92" name="Freeform 30">
                <a:extLst>
                  <a:ext uri="{FF2B5EF4-FFF2-40B4-BE49-F238E27FC236}">
                    <a16:creationId xmlns:a16="http://schemas.microsoft.com/office/drawing/2014/main" id="{11980B02-E0AC-486D-9780-15989DE1B905}"/>
                  </a:ext>
                </a:extLst>
              </p:cNvPr>
              <p:cNvSpPr>
                <a:spLocks/>
              </p:cNvSpPr>
              <p:nvPr/>
            </p:nvSpPr>
            <p:spPr bwMode="auto">
              <a:xfrm>
                <a:off x="10839835" y="601534"/>
                <a:ext cx="122101" cy="49138"/>
              </a:xfrm>
              <a:custGeom>
                <a:avLst/>
                <a:gdLst/>
                <a:ahLst/>
                <a:cxnLst>
                  <a:cxn ang="0">
                    <a:pos x="7" y="21"/>
                  </a:cxn>
                  <a:cxn ang="0">
                    <a:pos x="9" y="26"/>
                  </a:cxn>
                  <a:cxn ang="0">
                    <a:pos x="16" y="33"/>
                  </a:cxn>
                  <a:cxn ang="0">
                    <a:pos x="63" y="33"/>
                  </a:cxn>
                  <a:cxn ang="0">
                    <a:pos x="68" y="30"/>
                  </a:cxn>
                  <a:cxn ang="0">
                    <a:pos x="78" y="30"/>
                  </a:cxn>
                  <a:cxn ang="0">
                    <a:pos x="82" y="28"/>
                  </a:cxn>
                  <a:cxn ang="0">
                    <a:pos x="82" y="23"/>
                  </a:cxn>
                  <a:cxn ang="0">
                    <a:pos x="75" y="19"/>
                  </a:cxn>
                  <a:cxn ang="0">
                    <a:pos x="63" y="12"/>
                  </a:cxn>
                  <a:cxn ang="0">
                    <a:pos x="49" y="7"/>
                  </a:cxn>
                  <a:cxn ang="0">
                    <a:pos x="40" y="4"/>
                  </a:cxn>
                  <a:cxn ang="0">
                    <a:pos x="35" y="2"/>
                  </a:cxn>
                  <a:cxn ang="0">
                    <a:pos x="30" y="2"/>
                  </a:cxn>
                  <a:cxn ang="0">
                    <a:pos x="26" y="0"/>
                  </a:cxn>
                  <a:cxn ang="0">
                    <a:pos x="11" y="0"/>
                  </a:cxn>
                  <a:cxn ang="0">
                    <a:pos x="7" y="2"/>
                  </a:cxn>
                  <a:cxn ang="0">
                    <a:pos x="2" y="2"/>
                  </a:cxn>
                  <a:cxn ang="0">
                    <a:pos x="0" y="7"/>
                  </a:cxn>
                  <a:cxn ang="0">
                    <a:pos x="0" y="12"/>
                  </a:cxn>
                  <a:cxn ang="0">
                    <a:pos x="2" y="16"/>
                  </a:cxn>
                  <a:cxn ang="0">
                    <a:pos x="7" y="21"/>
                  </a:cxn>
                </a:cxnLst>
                <a:rect l="0" t="0" r="r" b="b"/>
                <a:pathLst>
                  <a:path w="82" h="33">
                    <a:moveTo>
                      <a:pt x="7" y="21"/>
                    </a:moveTo>
                    <a:lnTo>
                      <a:pt x="9" y="26"/>
                    </a:lnTo>
                    <a:lnTo>
                      <a:pt x="16" y="33"/>
                    </a:lnTo>
                    <a:lnTo>
                      <a:pt x="63" y="33"/>
                    </a:lnTo>
                    <a:lnTo>
                      <a:pt x="68" y="30"/>
                    </a:lnTo>
                    <a:lnTo>
                      <a:pt x="78" y="30"/>
                    </a:lnTo>
                    <a:lnTo>
                      <a:pt x="82" y="28"/>
                    </a:lnTo>
                    <a:lnTo>
                      <a:pt x="82" y="23"/>
                    </a:lnTo>
                    <a:lnTo>
                      <a:pt x="75" y="19"/>
                    </a:lnTo>
                    <a:lnTo>
                      <a:pt x="63" y="12"/>
                    </a:lnTo>
                    <a:lnTo>
                      <a:pt x="49" y="7"/>
                    </a:lnTo>
                    <a:lnTo>
                      <a:pt x="40" y="4"/>
                    </a:lnTo>
                    <a:lnTo>
                      <a:pt x="35" y="2"/>
                    </a:lnTo>
                    <a:lnTo>
                      <a:pt x="30" y="2"/>
                    </a:lnTo>
                    <a:lnTo>
                      <a:pt x="26" y="0"/>
                    </a:lnTo>
                    <a:lnTo>
                      <a:pt x="11" y="0"/>
                    </a:lnTo>
                    <a:lnTo>
                      <a:pt x="7" y="2"/>
                    </a:lnTo>
                    <a:lnTo>
                      <a:pt x="2" y="2"/>
                    </a:lnTo>
                    <a:lnTo>
                      <a:pt x="0" y="7"/>
                    </a:lnTo>
                    <a:lnTo>
                      <a:pt x="0" y="12"/>
                    </a:lnTo>
                    <a:lnTo>
                      <a:pt x="2" y="16"/>
                    </a:lnTo>
                    <a:lnTo>
                      <a:pt x="7" y="21"/>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93" name="Freeform 31">
                <a:extLst>
                  <a:ext uri="{FF2B5EF4-FFF2-40B4-BE49-F238E27FC236}">
                    <a16:creationId xmlns:a16="http://schemas.microsoft.com/office/drawing/2014/main" id="{59897244-4855-40FA-A7F2-A900535D349A}"/>
                  </a:ext>
                </a:extLst>
              </p:cNvPr>
              <p:cNvSpPr>
                <a:spLocks/>
              </p:cNvSpPr>
              <p:nvPr/>
            </p:nvSpPr>
            <p:spPr bwMode="auto">
              <a:xfrm>
                <a:off x="10708801" y="893386"/>
                <a:ext cx="25313" cy="16380"/>
              </a:xfrm>
              <a:custGeom>
                <a:avLst/>
                <a:gdLst/>
                <a:ahLst/>
                <a:cxnLst>
                  <a:cxn ang="0">
                    <a:pos x="10" y="9"/>
                  </a:cxn>
                  <a:cxn ang="0">
                    <a:pos x="14" y="11"/>
                  </a:cxn>
                  <a:cxn ang="0">
                    <a:pos x="17" y="11"/>
                  </a:cxn>
                  <a:cxn ang="0">
                    <a:pos x="17" y="9"/>
                  </a:cxn>
                  <a:cxn ang="0">
                    <a:pos x="14" y="7"/>
                  </a:cxn>
                  <a:cxn ang="0">
                    <a:pos x="10" y="4"/>
                  </a:cxn>
                  <a:cxn ang="0">
                    <a:pos x="5" y="2"/>
                  </a:cxn>
                  <a:cxn ang="0">
                    <a:pos x="3" y="0"/>
                  </a:cxn>
                  <a:cxn ang="0">
                    <a:pos x="0" y="0"/>
                  </a:cxn>
                  <a:cxn ang="0">
                    <a:pos x="0" y="7"/>
                  </a:cxn>
                  <a:cxn ang="0">
                    <a:pos x="5" y="9"/>
                  </a:cxn>
                  <a:cxn ang="0">
                    <a:pos x="10" y="9"/>
                  </a:cxn>
                </a:cxnLst>
                <a:rect l="0" t="0" r="r" b="b"/>
                <a:pathLst>
                  <a:path w="17" h="11">
                    <a:moveTo>
                      <a:pt x="10" y="9"/>
                    </a:moveTo>
                    <a:lnTo>
                      <a:pt x="14" y="11"/>
                    </a:lnTo>
                    <a:lnTo>
                      <a:pt x="17" y="11"/>
                    </a:lnTo>
                    <a:lnTo>
                      <a:pt x="17" y="9"/>
                    </a:lnTo>
                    <a:lnTo>
                      <a:pt x="14" y="7"/>
                    </a:lnTo>
                    <a:lnTo>
                      <a:pt x="10" y="4"/>
                    </a:lnTo>
                    <a:lnTo>
                      <a:pt x="5" y="2"/>
                    </a:lnTo>
                    <a:lnTo>
                      <a:pt x="3" y="0"/>
                    </a:lnTo>
                    <a:lnTo>
                      <a:pt x="0" y="0"/>
                    </a:lnTo>
                    <a:lnTo>
                      <a:pt x="0" y="7"/>
                    </a:lnTo>
                    <a:lnTo>
                      <a:pt x="5" y="9"/>
                    </a:lnTo>
                    <a:lnTo>
                      <a:pt x="10" y="9"/>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94" name="Freeform 32">
                <a:extLst>
                  <a:ext uri="{FF2B5EF4-FFF2-40B4-BE49-F238E27FC236}">
                    <a16:creationId xmlns:a16="http://schemas.microsoft.com/office/drawing/2014/main" id="{946A7196-EE0F-417A-B8F6-BF599D3F8CF1}"/>
                  </a:ext>
                </a:extLst>
              </p:cNvPr>
              <p:cNvSpPr>
                <a:spLocks/>
              </p:cNvSpPr>
              <p:nvPr/>
            </p:nvSpPr>
            <p:spPr bwMode="auto">
              <a:xfrm>
                <a:off x="10442263" y="875517"/>
                <a:ext cx="38714" cy="17869"/>
              </a:xfrm>
              <a:custGeom>
                <a:avLst/>
                <a:gdLst/>
                <a:ahLst/>
                <a:cxnLst>
                  <a:cxn ang="0">
                    <a:pos x="9" y="12"/>
                  </a:cxn>
                  <a:cxn ang="0">
                    <a:pos x="14" y="12"/>
                  </a:cxn>
                  <a:cxn ang="0">
                    <a:pos x="21" y="9"/>
                  </a:cxn>
                  <a:cxn ang="0">
                    <a:pos x="26" y="7"/>
                  </a:cxn>
                  <a:cxn ang="0">
                    <a:pos x="26" y="2"/>
                  </a:cxn>
                  <a:cxn ang="0">
                    <a:pos x="23" y="2"/>
                  </a:cxn>
                  <a:cxn ang="0">
                    <a:pos x="21" y="0"/>
                  </a:cxn>
                  <a:cxn ang="0">
                    <a:pos x="0" y="0"/>
                  </a:cxn>
                  <a:cxn ang="0">
                    <a:pos x="0" y="5"/>
                  </a:cxn>
                  <a:cxn ang="0">
                    <a:pos x="4" y="9"/>
                  </a:cxn>
                  <a:cxn ang="0">
                    <a:pos x="9" y="12"/>
                  </a:cxn>
                </a:cxnLst>
                <a:rect l="0" t="0" r="r" b="b"/>
                <a:pathLst>
                  <a:path w="26" h="12">
                    <a:moveTo>
                      <a:pt x="9" y="12"/>
                    </a:moveTo>
                    <a:lnTo>
                      <a:pt x="14" y="12"/>
                    </a:lnTo>
                    <a:lnTo>
                      <a:pt x="21" y="9"/>
                    </a:lnTo>
                    <a:lnTo>
                      <a:pt x="26" y="7"/>
                    </a:lnTo>
                    <a:lnTo>
                      <a:pt x="26" y="2"/>
                    </a:lnTo>
                    <a:lnTo>
                      <a:pt x="23" y="2"/>
                    </a:lnTo>
                    <a:lnTo>
                      <a:pt x="21" y="0"/>
                    </a:lnTo>
                    <a:lnTo>
                      <a:pt x="0" y="0"/>
                    </a:lnTo>
                    <a:lnTo>
                      <a:pt x="0" y="5"/>
                    </a:lnTo>
                    <a:lnTo>
                      <a:pt x="4" y="9"/>
                    </a:lnTo>
                    <a:lnTo>
                      <a:pt x="9" y="12"/>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95" name="Freeform 33">
                <a:extLst>
                  <a:ext uri="{FF2B5EF4-FFF2-40B4-BE49-F238E27FC236}">
                    <a16:creationId xmlns:a16="http://schemas.microsoft.com/office/drawing/2014/main" id="{EC44DFA6-871C-406C-925C-62D307AF5D93}"/>
                  </a:ext>
                </a:extLst>
              </p:cNvPr>
              <p:cNvSpPr>
                <a:spLocks/>
              </p:cNvSpPr>
              <p:nvPr/>
            </p:nvSpPr>
            <p:spPr bwMode="auto">
              <a:xfrm>
                <a:off x="10667108" y="909766"/>
                <a:ext cx="31270" cy="17869"/>
              </a:xfrm>
              <a:custGeom>
                <a:avLst/>
                <a:gdLst/>
                <a:ahLst/>
                <a:cxnLst>
                  <a:cxn ang="0">
                    <a:pos x="21" y="3"/>
                  </a:cxn>
                  <a:cxn ang="0">
                    <a:pos x="9" y="0"/>
                  </a:cxn>
                  <a:cxn ang="0">
                    <a:pos x="0" y="8"/>
                  </a:cxn>
                  <a:cxn ang="0">
                    <a:pos x="16" y="12"/>
                  </a:cxn>
                  <a:cxn ang="0">
                    <a:pos x="21" y="3"/>
                  </a:cxn>
                </a:cxnLst>
                <a:rect l="0" t="0" r="r" b="b"/>
                <a:pathLst>
                  <a:path w="21" h="12">
                    <a:moveTo>
                      <a:pt x="21" y="3"/>
                    </a:moveTo>
                    <a:lnTo>
                      <a:pt x="9" y="0"/>
                    </a:lnTo>
                    <a:lnTo>
                      <a:pt x="0" y="8"/>
                    </a:lnTo>
                    <a:lnTo>
                      <a:pt x="16" y="12"/>
                    </a:lnTo>
                    <a:lnTo>
                      <a:pt x="21" y="3"/>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96" name="Freeform 34">
                <a:extLst>
                  <a:ext uri="{FF2B5EF4-FFF2-40B4-BE49-F238E27FC236}">
                    <a16:creationId xmlns:a16="http://schemas.microsoft.com/office/drawing/2014/main" id="{A0BCE4E5-77A9-4F45-9B67-75FDBA2153B1}"/>
                  </a:ext>
                </a:extLst>
              </p:cNvPr>
              <p:cNvSpPr>
                <a:spLocks/>
              </p:cNvSpPr>
              <p:nvPr/>
            </p:nvSpPr>
            <p:spPr bwMode="auto">
              <a:xfrm>
                <a:off x="10839835" y="656629"/>
                <a:ext cx="52117" cy="11912"/>
              </a:xfrm>
              <a:custGeom>
                <a:avLst/>
                <a:gdLst/>
                <a:ahLst/>
                <a:cxnLst>
                  <a:cxn ang="0">
                    <a:pos x="35" y="0"/>
                  </a:cxn>
                  <a:cxn ang="0">
                    <a:pos x="0" y="0"/>
                  </a:cxn>
                  <a:cxn ang="0">
                    <a:pos x="30" y="8"/>
                  </a:cxn>
                  <a:cxn ang="0">
                    <a:pos x="35" y="0"/>
                  </a:cxn>
                </a:cxnLst>
                <a:rect l="0" t="0" r="r" b="b"/>
                <a:pathLst>
                  <a:path w="35" h="8">
                    <a:moveTo>
                      <a:pt x="35" y="0"/>
                    </a:moveTo>
                    <a:lnTo>
                      <a:pt x="0" y="0"/>
                    </a:lnTo>
                    <a:lnTo>
                      <a:pt x="30" y="8"/>
                    </a:lnTo>
                    <a:lnTo>
                      <a:pt x="35" y="0"/>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97" name="Freeform 35">
                <a:extLst>
                  <a:ext uri="{FF2B5EF4-FFF2-40B4-BE49-F238E27FC236}">
                    <a16:creationId xmlns:a16="http://schemas.microsoft.com/office/drawing/2014/main" id="{1E5540C9-77AF-4B50-ACCD-90AB497A5C61}"/>
                  </a:ext>
                </a:extLst>
              </p:cNvPr>
              <p:cNvSpPr>
                <a:spLocks/>
              </p:cNvSpPr>
              <p:nvPr/>
            </p:nvSpPr>
            <p:spPr bwMode="auto">
              <a:xfrm>
                <a:off x="11596266" y="836803"/>
                <a:ext cx="49138" cy="17869"/>
              </a:xfrm>
              <a:custGeom>
                <a:avLst/>
                <a:gdLst/>
                <a:ahLst/>
                <a:cxnLst>
                  <a:cxn ang="0">
                    <a:pos x="4" y="2"/>
                  </a:cxn>
                  <a:cxn ang="0">
                    <a:pos x="0" y="7"/>
                  </a:cxn>
                  <a:cxn ang="0">
                    <a:pos x="18" y="12"/>
                  </a:cxn>
                  <a:cxn ang="0">
                    <a:pos x="23" y="12"/>
                  </a:cxn>
                  <a:cxn ang="0">
                    <a:pos x="28" y="9"/>
                  </a:cxn>
                  <a:cxn ang="0">
                    <a:pos x="30" y="9"/>
                  </a:cxn>
                  <a:cxn ang="0">
                    <a:pos x="33" y="7"/>
                  </a:cxn>
                  <a:cxn ang="0">
                    <a:pos x="33" y="5"/>
                  </a:cxn>
                  <a:cxn ang="0">
                    <a:pos x="30" y="5"/>
                  </a:cxn>
                  <a:cxn ang="0">
                    <a:pos x="16" y="0"/>
                  </a:cxn>
                  <a:cxn ang="0">
                    <a:pos x="9" y="2"/>
                  </a:cxn>
                  <a:cxn ang="0">
                    <a:pos x="4" y="2"/>
                  </a:cxn>
                </a:cxnLst>
                <a:rect l="0" t="0" r="r" b="b"/>
                <a:pathLst>
                  <a:path w="33" h="12">
                    <a:moveTo>
                      <a:pt x="4" y="2"/>
                    </a:moveTo>
                    <a:lnTo>
                      <a:pt x="0" y="7"/>
                    </a:lnTo>
                    <a:lnTo>
                      <a:pt x="18" y="12"/>
                    </a:lnTo>
                    <a:lnTo>
                      <a:pt x="23" y="12"/>
                    </a:lnTo>
                    <a:lnTo>
                      <a:pt x="28" y="9"/>
                    </a:lnTo>
                    <a:lnTo>
                      <a:pt x="30" y="9"/>
                    </a:lnTo>
                    <a:lnTo>
                      <a:pt x="33" y="7"/>
                    </a:lnTo>
                    <a:lnTo>
                      <a:pt x="33" y="5"/>
                    </a:lnTo>
                    <a:lnTo>
                      <a:pt x="30" y="5"/>
                    </a:lnTo>
                    <a:lnTo>
                      <a:pt x="16" y="0"/>
                    </a:lnTo>
                    <a:lnTo>
                      <a:pt x="9" y="2"/>
                    </a:lnTo>
                    <a:lnTo>
                      <a:pt x="4" y="2"/>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98" name="Freeform 36">
                <a:extLst>
                  <a:ext uri="{FF2B5EF4-FFF2-40B4-BE49-F238E27FC236}">
                    <a16:creationId xmlns:a16="http://schemas.microsoft.com/office/drawing/2014/main" id="{92051D3B-91B4-4BDB-92CF-38AEDAC94C8E}"/>
                  </a:ext>
                </a:extLst>
              </p:cNvPr>
              <p:cNvSpPr>
                <a:spLocks/>
              </p:cNvSpPr>
              <p:nvPr/>
            </p:nvSpPr>
            <p:spPr bwMode="auto">
              <a:xfrm>
                <a:off x="12208260" y="790643"/>
                <a:ext cx="31270" cy="17869"/>
              </a:xfrm>
              <a:custGeom>
                <a:avLst/>
                <a:gdLst/>
                <a:ahLst/>
                <a:cxnLst>
                  <a:cxn ang="0">
                    <a:pos x="21" y="7"/>
                  </a:cxn>
                  <a:cxn ang="0">
                    <a:pos x="0" y="0"/>
                  </a:cxn>
                  <a:cxn ang="0">
                    <a:pos x="9" y="12"/>
                  </a:cxn>
                  <a:cxn ang="0">
                    <a:pos x="21" y="7"/>
                  </a:cxn>
                </a:cxnLst>
                <a:rect l="0" t="0" r="r" b="b"/>
                <a:pathLst>
                  <a:path w="21" h="12">
                    <a:moveTo>
                      <a:pt x="21" y="7"/>
                    </a:moveTo>
                    <a:lnTo>
                      <a:pt x="0" y="0"/>
                    </a:lnTo>
                    <a:lnTo>
                      <a:pt x="9" y="12"/>
                    </a:lnTo>
                    <a:lnTo>
                      <a:pt x="21" y="7"/>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99" name="Freeform 37">
                <a:extLst>
                  <a:ext uri="{FF2B5EF4-FFF2-40B4-BE49-F238E27FC236}">
                    <a16:creationId xmlns:a16="http://schemas.microsoft.com/office/drawing/2014/main" id="{03AA8085-0183-4E7D-BB0C-F20C1B453A68}"/>
                  </a:ext>
                </a:extLst>
              </p:cNvPr>
              <p:cNvSpPr>
                <a:spLocks/>
              </p:cNvSpPr>
              <p:nvPr/>
            </p:nvSpPr>
            <p:spPr bwMode="auto">
              <a:xfrm>
                <a:off x="12446506" y="865095"/>
                <a:ext cx="105721" cy="23825"/>
              </a:xfrm>
              <a:custGeom>
                <a:avLst/>
                <a:gdLst/>
                <a:ahLst/>
                <a:cxnLst>
                  <a:cxn ang="0">
                    <a:pos x="12" y="2"/>
                  </a:cxn>
                  <a:cxn ang="0">
                    <a:pos x="7" y="2"/>
                  </a:cxn>
                  <a:cxn ang="0">
                    <a:pos x="0" y="14"/>
                  </a:cxn>
                  <a:cxn ang="0">
                    <a:pos x="29" y="9"/>
                  </a:cxn>
                  <a:cxn ang="0">
                    <a:pos x="71" y="16"/>
                  </a:cxn>
                  <a:cxn ang="0">
                    <a:pos x="69" y="12"/>
                  </a:cxn>
                  <a:cxn ang="0">
                    <a:pos x="64" y="9"/>
                  </a:cxn>
                  <a:cxn ang="0">
                    <a:pos x="59" y="5"/>
                  </a:cxn>
                  <a:cxn ang="0">
                    <a:pos x="50" y="0"/>
                  </a:cxn>
                  <a:cxn ang="0">
                    <a:pos x="26" y="0"/>
                  </a:cxn>
                  <a:cxn ang="0">
                    <a:pos x="12" y="2"/>
                  </a:cxn>
                </a:cxnLst>
                <a:rect l="0" t="0" r="r" b="b"/>
                <a:pathLst>
                  <a:path w="71" h="16">
                    <a:moveTo>
                      <a:pt x="12" y="2"/>
                    </a:moveTo>
                    <a:lnTo>
                      <a:pt x="7" y="2"/>
                    </a:lnTo>
                    <a:lnTo>
                      <a:pt x="0" y="14"/>
                    </a:lnTo>
                    <a:lnTo>
                      <a:pt x="29" y="9"/>
                    </a:lnTo>
                    <a:lnTo>
                      <a:pt x="71" y="16"/>
                    </a:lnTo>
                    <a:lnTo>
                      <a:pt x="69" y="12"/>
                    </a:lnTo>
                    <a:lnTo>
                      <a:pt x="64" y="9"/>
                    </a:lnTo>
                    <a:lnTo>
                      <a:pt x="59" y="5"/>
                    </a:lnTo>
                    <a:lnTo>
                      <a:pt x="50" y="0"/>
                    </a:lnTo>
                    <a:lnTo>
                      <a:pt x="26" y="0"/>
                    </a:lnTo>
                    <a:lnTo>
                      <a:pt x="12" y="2"/>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100" name="Freeform 38">
                <a:extLst>
                  <a:ext uri="{FF2B5EF4-FFF2-40B4-BE49-F238E27FC236}">
                    <a16:creationId xmlns:a16="http://schemas.microsoft.com/office/drawing/2014/main" id="{37383E55-13F2-494F-BBC4-FD6602015689}"/>
                  </a:ext>
                </a:extLst>
              </p:cNvPr>
              <p:cNvSpPr>
                <a:spLocks/>
              </p:cNvSpPr>
              <p:nvPr/>
            </p:nvSpPr>
            <p:spPr bwMode="auto">
              <a:xfrm>
                <a:off x="13453094" y="1012511"/>
                <a:ext cx="59562" cy="17869"/>
              </a:xfrm>
              <a:custGeom>
                <a:avLst/>
                <a:gdLst/>
                <a:ahLst/>
                <a:cxnLst>
                  <a:cxn ang="0">
                    <a:pos x="19" y="9"/>
                  </a:cxn>
                  <a:cxn ang="0">
                    <a:pos x="33" y="12"/>
                  </a:cxn>
                  <a:cxn ang="0">
                    <a:pos x="40" y="12"/>
                  </a:cxn>
                  <a:cxn ang="0">
                    <a:pos x="38" y="7"/>
                  </a:cxn>
                  <a:cxn ang="0">
                    <a:pos x="28" y="5"/>
                  </a:cxn>
                  <a:cxn ang="0">
                    <a:pos x="5" y="0"/>
                  </a:cxn>
                  <a:cxn ang="0">
                    <a:pos x="0" y="0"/>
                  </a:cxn>
                  <a:cxn ang="0">
                    <a:pos x="5" y="5"/>
                  </a:cxn>
                  <a:cxn ang="0">
                    <a:pos x="19" y="9"/>
                  </a:cxn>
                </a:cxnLst>
                <a:rect l="0" t="0" r="r" b="b"/>
                <a:pathLst>
                  <a:path w="40" h="12">
                    <a:moveTo>
                      <a:pt x="19" y="9"/>
                    </a:moveTo>
                    <a:lnTo>
                      <a:pt x="33" y="12"/>
                    </a:lnTo>
                    <a:lnTo>
                      <a:pt x="40" y="12"/>
                    </a:lnTo>
                    <a:lnTo>
                      <a:pt x="38" y="7"/>
                    </a:lnTo>
                    <a:lnTo>
                      <a:pt x="28" y="5"/>
                    </a:lnTo>
                    <a:lnTo>
                      <a:pt x="5" y="0"/>
                    </a:lnTo>
                    <a:lnTo>
                      <a:pt x="0" y="0"/>
                    </a:lnTo>
                    <a:lnTo>
                      <a:pt x="5" y="5"/>
                    </a:lnTo>
                    <a:lnTo>
                      <a:pt x="19" y="9"/>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101" name="Freeform 39">
                <a:extLst>
                  <a:ext uri="{FF2B5EF4-FFF2-40B4-BE49-F238E27FC236}">
                    <a16:creationId xmlns:a16="http://schemas.microsoft.com/office/drawing/2014/main" id="{7454F076-3F77-4513-9524-6FE67E1450A9}"/>
                  </a:ext>
                </a:extLst>
              </p:cNvPr>
              <p:cNvSpPr>
                <a:spLocks/>
              </p:cNvSpPr>
              <p:nvPr/>
            </p:nvSpPr>
            <p:spPr bwMode="auto">
              <a:xfrm>
                <a:off x="13709208" y="948481"/>
                <a:ext cx="98276" cy="38715"/>
              </a:xfrm>
              <a:custGeom>
                <a:avLst/>
                <a:gdLst/>
                <a:ahLst/>
                <a:cxnLst>
                  <a:cxn ang="0">
                    <a:pos x="5" y="24"/>
                  </a:cxn>
                  <a:cxn ang="0">
                    <a:pos x="10" y="26"/>
                  </a:cxn>
                  <a:cxn ang="0">
                    <a:pos x="12" y="26"/>
                  </a:cxn>
                  <a:cxn ang="0">
                    <a:pos x="17" y="24"/>
                  </a:cxn>
                  <a:cxn ang="0">
                    <a:pos x="19" y="24"/>
                  </a:cxn>
                  <a:cxn ang="0">
                    <a:pos x="38" y="19"/>
                  </a:cxn>
                  <a:cxn ang="0">
                    <a:pos x="59" y="19"/>
                  </a:cxn>
                  <a:cxn ang="0">
                    <a:pos x="64" y="17"/>
                  </a:cxn>
                  <a:cxn ang="0">
                    <a:pos x="66" y="15"/>
                  </a:cxn>
                  <a:cxn ang="0">
                    <a:pos x="66" y="12"/>
                  </a:cxn>
                  <a:cxn ang="0">
                    <a:pos x="64" y="10"/>
                  </a:cxn>
                  <a:cxn ang="0">
                    <a:pos x="59" y="10"/>
                  </a:cxn>
                  <a:cxn ang="0">
                    <a:pos x="45" y="5"/>
                  </a:cxn>
                  <a:cxn ang="0">
                    <a:pos x="36" y="3"/>
                  </a:cxn>
                  <a:cxn ang="0">
                    <a:pos x="29" y="0"/>
                  </a:cxn>
                  <a:cxn ang="0">
                    <a:pos x="12" y="0"/>
                  </a:cxn>
                  <a:cxn ang="0">
                    <a:pos x="3" y="5"/>
                  </a:cxn>
                  <a:cxn ang="0">
                    <a:pos x="0" y="10"/>
                  </a:cxn>
                  <a:cxn ang="0">
                    <a:pos x="0" y="19"/>
                  </a:cxn>
                  <a:cxn ang="0">
                    <a:pos x="3" y="24"/>
                  </a:cxn>
                  <a:cxn ang="0">
                    <a:pos x="5" y="24"/>
                  </a:cxn>
                </a:cxnLst>
                <a:rect l="0" t="0" r="r" b="b"/>
                <a:pathLst>
                  <a:path w="66" h="26">
                    <a:moveTo>
                      <a:pt x="5" y="24"/>
                    </a:moveTo>
                    <a:lnTo>
                      <a:pt x="10" y="26"/>
                    </a:lnTo>
                    <a:lnTo>
                      <a:pt x="12" y="26"/>
                    </a:lnTo>
                    <a:lnTo>
                      <a:pt x="17" y="24"/>
                    </a:lnTo>
                    <a:lnTo>
                      <a:pt x="19" y="24"/>
                    </a:lnTo>
                    <a:lnTo>
                      <a:pt x="38" y="19"/>
                    </a:lnTo>
                    <a:lnTo>
                      <a:pt x="59" y="19"/>
                    </a:lnTo>
                    <a:lnTo>
                      <a:pt x="64" y="17"/>
                    </a:lnTo>
                    <a:lnTo>
                      <a:pt x="66" y="15"/>
                    </a:lnTo>
                    <a:lnTo>
                      <a:pt x="66" y="12"/>
                    </a:lnTo>
                    <a:lnTo>
                      <a:pt x="64" y="10"/>
                    </a:lnTo>
                    <a:lnTo>
                      <a:pt x="59" y="10"/>
                    </a:lnTo>
                    <a:lnTo>
                      <a:pt x="45" y="5"/>
                    </a:lnTo>
                    <a:lnTo>
                      <a:pt x="36" y="3"/>
                    </a:lnTo>
                    <a:lnTo>
                      <a:pt x="29" y="0"/>
                    </a:lnTo>
                    <a:lnTo>
                      <a:pt x="12" y="0"/>
                    </a:lnTo>
                    <a:lnTo>
                      <a:pt x="3" y="5"/>
                    </a:lnTo>
                    <a:lnTo>
                      <a:pt x="0" y="10"/>
                    </a:lnTo>
                    <a:lnTo>
                      <a:pt x="0" y="19"/>
                    </a:lnTo>
                    <a:lnTo>
                      <a:pt x="3" y="24"/>
                    </a:lnTo>
                    <a:lnTo>
                      <a:pt x="5" y="24"/>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102" name="Freeform 40">
                <a:extLst>
                  <a:ext uri="{FF2B5EF4-FFF2-40B4-BE49-F238E27FC236}">
                    <a16:creationId xmlns:a16="http://schemas.microsoft.com/office/drawing/2014/main" id="{94E02040-AB5F-4EA7-80A0-2CAC7D374564}"/>
                  </a:ext>
                </a:extLst>
              </p:cNvPr>
              <p:cNvSpPr>
                <a:spLocks/>
              </p:cNvSpPr>
              <p:nvPr/>
            </p:nvSpPr>
            <p:spPr bwMode="auto">
              <a:xfrm>
                <a:off x="12523935" y="805533"/>
                <a:ext cx="136991" cy="31270"/>
              </a:xfrm>
              <a:custGeom>
                <a:avLst/>
                <a:gdLst/>
                <a:ahLst/>
                <a:cxnLst>
                  <a:cxn ang="0">
                    <a:pos x="21" y="14"/>
                  </a:cxn>
                  <a:cxn ang="0">
                    <a:pos x="36" y="16"/>
                  </a:cxn>
                  <a:cxn ang="0">
                    <a:pos x="57" y="21"/>
                  </a:cxn>
                  <a:cxn ang="0">
                    <a:pos x="76" y="21"/>
                  </a:cxn>
                  <a:cxn ang="0">
                    <a:pos x="90" y="19"/>
                  </a:cxn>
                  <a:cxn ang="0">
                    <a:pos x="92" y="16"/>
                  </a:cxn>
                  <a:cxn ang="0">
                    <a:pos x="88" y="14"/>
                  </a:cxn>
                  <a:cxn ang="0">
                    <a:pos x="76" y="11"/>
                  </a:cxn>
                  <a:cxn ang="0">
                    <a:pos x="50" y="11"/>
                  </a:cxn>
                  <a:cxn ang="0">
                    <a:pos x="40" y="2"/>
                  </a:cxn>
                  <a:cxn ang="0">
                    <a:pos x="36" y="0"/>
                  </a:cxn>
                  <a:cxn ang="0">
                    <a:pos x="24" y="0"/>
                  </a:cxn>
                  <a:cxn ang="0">
                    <a:pos x="19" y="2"/>
                  </a:cxn>
                  <a:cxn ang="0">
                    <a:pos x="0" y="2"/>
                  </a:cxn>
                  <a:cxn ang="0">
                    <a:pos x="14" y="11"/>
                  </a:cxn>
                  <a:cxn ang="0">
                    <a:pos x="21" y="14"/>
                  </a:cxn>
                </a:cxnLst>
                <a:rect l="0" t="0" r="r" b="b"/>
                <a:pathLst>
                  <a:path w="92" h="21">
                    <a:moveTo>
                      <a:pt x="21" y="14"/>
                    </a:moveTo>
                    <a:lnTo>
                      <a:pt x="36" y="16"/>
                    </a:lnTo>
                    <a:lnTo>
                      <a:pt x="57" y="21"/>
                    </a:lnTo>
                    <a:lnTo>
                      <a:pt x="76" y="21"/>
                    </a:lnTo>
                    <a:lnTo>
                      <a:pt x="90" y="19"/>
                    </a:lnTo>
                    <a:lnTo>
                      <a:pt x="92" y="16"/>
                    </a:lnTo>
                    <a:lnTo>
                      <a:pt x="88" y="14"/>
                    </a:lnTo>
                    <a:lnTo>
                      <a:pt x="76" y="11"/>
                    </a:lnTo>
                    <a:lnTo>
                      <a:pt x="50" y="11"/>
                    </a:lnTo>
                    <a:lnTo>
                      <a:pt x="40" y="2"/>
                    </a:lnTo>
                    <a:lnTo>
                      <a:pt x="36" y="0"/>
                    </a:lnTo>
                    <a:lnTo>
                      <a:pt x="24" y="0"/>
                    </a:lnTo>
                    <a:lnTo>
                      <a:pt x="19" y="2"/>
                    </a:lnTo>
                    <a:lnTo>
                      <a:pt x="0" y="2"/>
                    </a:lnTo>
                    <a:lnTo>
                      <a:pt x="14" y="11"/>
                    </a:lnTo>
                    <a:lnTo>
                      <a:pt x="21" y="14"/>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103" name="Freeform 41">
                <a:extLst>
                  <a:ext uri="{FF2B5EF4-FFF2-40B4-BE49-F238E27FC236}">
                    <a16:creationId xmlns:a16="http://schemas.microsoft.com/office/drawing/2014/main" id="{AF9A0B12-97B9-44C9-8994-64BD202671E4}"/>
                  </a:ext>
                </a:extLst>
              </p:cNvPr>
              <p:cNvSpPr>
                <a:spLocks/>
              </p:cNvSpPr>
              <p:nvPr/>
            </p:nvSpPr>
            <p:spPr bwMode="auto">
              <a:xfrm>
                <a:off x="12407790" y="844247"/>
                <a:ext cx="38714" cy="20846"/>
              </a:xfrm>
              <a:custGeom>
                <a:avLst/>
                <a:gdLst/>
                <a:ahLst/>
                <a:cxnLst>
                  <a:cxn ang="0">
                    <a:pos x="21" y="4"/>
                  </a:cxn>
                  <a:cxn ang="0">
                    <a:pos x="12" y="0"/>
                  </a:cxn>
                  <a:cxn ang="0">
                    <a:pos x="7" y="0"/>
                  </a:cxn>
                  <a:cxn ang="0">
                    <a:pos x="5" y="2"/>
                  </a:cxn>
                  <a:cxn ang="0">
                    <a:pos x="0" y="7"/>
                  </a:cxn>
                  <a:cxn ang="0">
                    <a:pos x="0" y="11"/>
                  </a:cxn>
                  <a:cxn ang="0">
                    <a:pos x="5" y="14"/>
                  </a:cxn>
                  <a:cxn ang="0">
                    <a:pos x="24" y="14"/>
                  </a:cxn>
                  <a:cxn ang="0">
                    <a:pos x="26" y="11"/>
                  </a:cxn>
                  <a:cxn ang="0">
                    <a:pos x="26" y="9"/>
                  </a:cxn>
                  <a:cxn ang="0">
                    <a:pos x="21" y="4"/>
                  </a:cxn>
                </a:cxnLst>
                <a:rect l="0" t="0" r="r" b="b"/>
                <a:pathLst>
                  <a:path w="26" h="14">
                    <a:moveTo>
                      <a:pt x="21" y="4"/>
                    </a:moveTo>
                    <a:lnTo>
                      <a:pt x="12" y="0"/>
                    </a:lnTo>
                    <a:lnTo>
                      <a:pt x="7" y="0"/>
                    </a:lnTo>
                    <a:lnTo>
                      <a:pt x="5" y="2"/>
                    </a:lnTo>
                    <a:lnTo>
                      <a:pt x="0" y="7"/>
                    </a:lnTo>
                    <a:lnTo>
                      <a:pt x="0" y="11"/>
                    </a:lnTo>
                    <a:lnTo>
                      <a:pt x="5" y="14"/>
                    </a:lnTo>
                    <a:lnTo>
                      <a:pt x="24" y="14"/>
                    </a:lnTo>
                    <a:lnTo>
                      <a:pt x="26" y="11"/>
                    </a:lnTo>
                    <a:lnTo>
                      <a:pt x="26" y="9"/>
                    </a:lnTo>
                    <a:lnTo>
                      <a:pt x="21" y="4"/>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104" name="Freeform 42">
                <a:extLst>
                  <a:ext uri="{FF2B5EF4-FFF2-40B4-BE49-F238E27FC236}">
                    <a16:creationId xmlns:a16="http://schemas.microsoft.com/office/drawing/2014/main" id="{DE7C34D2-8955-482A-BCE5-5E2D21AEB432}"/>
                  </a:ext>
                </a:extLst>
              </p:cNvPr>
              <p:cNvSpPr>
                <a:spLocks/>
              </p:cNvSpPr>
              <p:nvPr/>
            </p:nvSpPr>
            <p:spPr bwMode="auto">
              <a:xfrm>
                <a:off x="12252931" y="780220"/>
                <a:ext cx="180172" cy="59562"/>
              </a:xfrm>
              <a:custGeom>
                <a:avLst/>
                <a:gdLst/>
                <a:ahLst/>
                <a:cxnLst>
                  <a:cxn ang="0">
                    <a:pos x="19" y="21"/>
                  </a:cxn>
                  <a:cxn ang="0">
                    <a:pos x="36" y="28"/>
                  </a:cxn>
                  <a:cxn ang="0">
                    <a:pos x="50" y="36"/>
                  </a:cxn>
                  <a:cxn ang="0">
                    <a:pos x="64" y="38"/>
                  </a:cxn>
                  <a:cxn ang="0">
                    <a:pos x="69" y="40"/>
                  </a:cxn>
                  <a:cxn ang="0">
                    <a:pos x="76" y="28"/>
                  </a:cxn>
                  <a:cxn ang="0">
                    <a:pos x="121" y="28"/>
                  </a:cxn>
                  <a:cxn ang="0">
                    <a:pos x="95" y="17"/>
                  </a:cxn>
                  <a:cxn ang="0">
                    <a:pos x="99" y="7"/>
                  </a:cxn>
                  <a:cxn ang="0">
                    <a:pos x="64" y="0"/>
                  </a:cxn>
                  <a:cxn ang="0">
                    <a:pos x="71" y="12"/>
                  </a:cxn>
                  <a:cxn ang="0">
                    <a:pos x="66" y="10"/>
                  </a:cxn>
                  <a:cxn ang="0">
                    <a:pos x="57" y="7"/>
                  </a:cxn>
                  <a:cxn ang="0">
                    <a:pos x="43" y="5"/>
                  </a:cxn>
                  <a:cxn ang="0">
                    <a:pos x="26" y="0"/>
                  </a:cxn>
                  <a:cxn ang="0">
                    <a:pos x="3" y="0"/>
                  </a:cxn>
                  <a:cxn ang="0">
                    <a:pos x="0" y="5"/>
                  </a:cxn>
                  <a:cxn ang="0">
                    <a:pos x="5" y="14"/>
                  </a:cxn>
                  <a:cxn ang="0">
                    <a:pos x="19" y="21"/>
                  </a:cxn>
                </a:cxnLst>
                <a:rect l="0" t="0" r="r" b="b"/>
                <a:pathLst>
                  <a:path w="121" h="40">
                    <a:moveTo>
                      <a:pt x="19" y="21"/>
                    </a:moveTo>
                    <a:lnTo>
                      <a:pt x="36" y="28"/>
                    </a:lnTo>
                    <a:lnTo>
                      <a:pt x="50" y="36"/>
                    </a:lnTo>
                    <a:lnTo>
                      <a:pt x="64" y="38"/>
                    </a:lnTo>
                    <a:lnTo>
                      <a:pt x="69" y="40"/>
                    </a:lnTo>
                    <a:lnTo>
                      <a:pt x="76" y="28"/>
                    </a:lnTo>
                    <a:lnTo>
                      <a:pt x="121" y="28"/>
                    </a:lnTo>
                    <a:lnTo>
                      <a:pt x="95" y="17"/>
                    </a:lnTo>
                    <a:lnTo>
                      <a:pt x="99" y="7"/>
                    </a:lnTo>
                    <a:lnTo>
                      <a:pt x="64" y="0"/>
                    </a:lnTo>
                    <a:lnTo>
                      <a:pt x="71" y="12"/>
                    </a:lnTo>
                    <a:lnTo>
                      <a:pt x="66" y="10"/>
                    </a:lnTo>
                    <a:lnTo>
                      <a:pt x="57" y="7"/>
                    </a:lnTo>
                    <a:lnTo>
                      <a:pt x="43" y="5"/>
                    </a:lnTo>
                    <a:lnTo>
                      <a:pt x="26" y="0"/>
                    </a:lnTo>
                    <a:lnTo>
                      <a:pt x="3" y="0"/>
                    </a:lnTo>
                    <a:lnTo>
                      <a:pt x="0" y="5"/>
                    </a:lnTo>
                    <a:lnTo>
                      <a:pt x="5" y="14"/>
                    </a:lnTo>
                    <a:lnTo>
                      <a:pt x="19" y="21"/>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105" name="Freeform 43">
                <a:extLst>
                  <a:ext uri="{FF2B5EF4-FFF2-40B4-BE49-F238E27FC236}">
                    <a16:creationId xmlns:a16="http://schemas.microsoft.com/office/drawing/2014/main" id="{F8696044-AA7A-4FFD-9F10-6566C72813C0}"/>
                  </a:ext>
                </a:extLst>
              </p:cNvPr>
              <p:cNvSpPr>
                <a:spLocks/>
              </p:cNvSpPr>
              <p:nvPr/>
            </p:nvSpPr>
            <p:spPr bwMode="auto">
              <a:xfrm>
                <a:off x="12412257" y="795109"/>
                <a:ext cx="77430" cy="23825"/>
              </a:xfrm>
              <a:custGeom>
                <a:avLst/>
                <a:gdLst/>
                <a:ahLst/>
                <a:cxnLst>
                  <a:cxn ang="0">
                    <a:pos x="9" y="9"/>
                  </a:cxn>
                  <a:cxn ang="0">
                    <a:pos x="14" y="11"/>
                  </a:cxn>
                  <a:cxn ang="0">
                    <a:pos x="21" y="11"/>
                  </a:cxn>
                  <a:cxn ang="0">
                    <a:pos x="23" y="14"/>
                  </a:cxn>
                  <a:cxn ang="0">
                    <a:pos x="26" y="14"/>
                  </a:cxn>
                  <a:cxn ang="0">
                    <a:pos x="47" y="16"/>
                  </a:cxn>
                  <a:cxn ang="0">
                    <a:pos x="49" y="14"/>
                  </a:cxn>
                  <a:cxn ang="0">
                    <a:pos x="52" y="9"/>
                  </a:cxn>
                  <a:cxn ang="0">
                    <a:pos x="47" y="4"/>
                  </a:cxn>
                  <a:cxn ang="0">
                    <a:pos x="33" y="4"/>
                  </a:cxn>
                  <a:cxn ang="0">
                    <a:pos x="9" y="0"/>
                  </a:cxn>
                  <a:cxn ang="0">
                    <a:pos x="2" y="0"/>
                  </a:cxn>
                  <a:cxn ang="0">
                    <a:pos x="0" y="2"/>
                  </a:cxn>
                  <a:cxn ang="0">
                    <a:pos x="4" y="4"/>
                  </a:cxn>
                  <a:cxn ang="0">
                    <a:pos x="9" y="9"/>
                  </a:cxn>
                </a:cxnLst>
                <a:rect l="0" t="0" r="r" b="b"/>
                <a:pathLst>
                  <a:path w="52" h="16">
                    <a:moveTo>
                      <a:pt x="9" y="9"/>
                    </a:moveTo>
                    <a:lnTo>
                      <a:pt x="14" y="11"/>
                    </a:lnTo>
                    <a:lnTo>
                      <a:pt x="21" y="11"/>
                    </a:lnTo>
                    <a:lnTo>
                      <a:pt x="23" y="14"/>
                    </a:lnTo>
                    <a:lnTo>
                      <a:pt x="26" y="14"/>
                    </a:lnTo>
                    <a:lnTo>
                      <a:pt x="47" y="16"/>
                    </a:lnTo>
                    <a:lnTo>
                      <a:pt x="49" y="14"/>
                    </a:lnTo>
                    <a:lnTo>
                      <a:pt x="52" y="9"/>
                    </a:lnTo>
                    <a:lnTo>
                      <a:pt x="47" y="4"/>
                    </a:lnTo>
                    <a:lnTo>
                      <a:pt x="33" y="4"/>
                    </a:lnTo>
                    <a:lnTo>
                      <a:pt x="9" y="0"/>
                    </a:lnTo>
                    <a:lnTo>
                      <a:pt x="2" y="0"/>
                    </a:lnTo>
                    <a:lnTo>
                      <a:pt x="0" y="2"/>
                    </a:lnTo>
                    <a:lnTo>
                      <a:pt x="4" y="4"/>
                    </a:lnTo>
                    <a:lnTo>
                      <a:pt x="9" y="9"/>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106" name="Freeform 44">
                <a:extLst>
                  <a:ext uri="{FF2B5EF4-FFF2-40B4-BE49-F238E27FC236}">
                    <a16:creationId xmlns:a16="http://schemas.microsoft.com/office/drawing/2014/main" id="{A7628B7F-7071-42FF-8E3A-154668961916}"/>
                  </a:ext>
                </a:extLst>
              </p:cNvPr>
              <p:cNvSpPr>
                <a:spLocks/>
              </p:cNvSpPr>
              <p:nvPr/>
            </p:nvSpPr>
            <p:spPr bwMode="auto">
              <a:xfrm>
                <a:off x="13360773" y="1681091"/>
                <a:ext cx="306742" cy="382685"/>
              </a:xfrm>
              <a:custGeom>
                <a:avLst/>
                <a:gdLst/>
                <a:ahLst/>
                <a:cxnLst>
                  <a:cxn ang="0">
                    <a:pos x="173" y="214"/>
                  </a:cxn>
                  <a:cxn ang="0">
                    <a:pos x="168" y="212"/>
                  </a:cxn>
                  <a:cxn ang="0">
                    <a:pos x="152" y="200"/>
                  </a:cxn>
                  <a:cxn ang="0">
                    <a:pos x="142" y="174"/>
                  </a:cxn>
                  <a:cxn ang="0">
                    <a:pos x="140" y="165"/>
                  </a:cxn>
                  <a:cxn ang="0">
                    <a:pos x="133" y="153"/>
                  </a:cxn>
                  <a:cxn ang="0">
                    <a:pos x="168" y="163"/>
                  </a:cxn>
                  <a:cxn ang="0">
                    <a:pos x="185" y="170"/>
                  </a:cxn>
                  <a:cxn ang="0">
                    <a:pos x="154" y="146"/>
                  </a:cxn>
                  <a:cxn ang="0">
                    <a:pos x="144" y="134"/>
                  </a:cxn>
                  <a:cxn ang="0">
                    <a:pos x="140" y="127"/>
                  </a:cxn>
                  <a:cxn ang="0">
                    <a:pos x="128" y="120"/>
                  </a:cxn>
                  <a:cxn ang="0">
                    <a:pos x="93" y="85"/>
                  </a:cxn>
                  <a:cxn ang="0">
                    <a:pos x="78" y="73"/>
                  </a:cxn>
                  <a:cxn ang="0">
                    <a:pos x="67" y="68"/>
                  </a:cxn>
                  <a:cxn ang="0">
                    <a:pos x="62" y="49"/>
                  </a:cxn>
                  <a:cxn ang="0">
                    <a:pos x="41" y="37"/>
                  </a:cxn>
                  <a:cxn ang="0">
                    <a:pos x="19" y="14"/>
                  </a:cxn>
                  <a:cxn ang="0">
                    <a:pos x="10" y="2"/>
                  </a:cxn>
                  <a:cxn ang="0">
                    <a:pos x="0" y="0"/>
                  </a:cxn>
                  <a:cxn ang="0">
                    <a:pos x="19" y="21"/>
                  </a:cxn>
                  <a:cxn ang="0">
                    <a:pos x="17" y="23"/>
                  </a:cxn>
                  <a:cxn ang="0">
                    <a:pos x="10" y="21"/>
                  </a:cxn>
                  <a:cxn ang="0">
                    <a:pos x="7" y="28"/>
                  </a:cxn>
                  <a:cxn ang="0">
                    <a:pos x="17" y="42"/>
                  </a:cxn>
                  <a:cxn ang="0">
                    <a:pos x="24" y="49"/>
                  </a:cxn>
                  <a:cxn ang="0">
                    <a:pos x="29" y="63"/>
                  </a:cxn>
                  <a:cxn ang="0">
                    <a:pos x="38" y="70"/>
                  </a:cxn>
                  <a:cxn ang="0">
                    <a:pos x="62" y="87"/>
                  </a:cxn>
                  <a:cxn ang="0">
                    <a:pos x="71" y="101"/>
                  </a:cxn>
                  <a:cxn ang="0">
                    <a:pos x="76" y="113"/>
                  </a:cxn>
                  <a:cxn ang="0">
                    <a:pos x="83" y="122"/>
                  </a:cxn>
                  <a:cxn ang="0">
                    <a:pos x="97" y="139"/>
                  </a:cxn>
                  <a:cxn ang="0">
                    <a:pos x="109" y="160"/>
                  </a:cxn>
                  <a:cxn ang="0">
                    <a:pos x="111" y="167"/>
                  </a:cxn>
                  <a:cxn ang="0">
                    <a:pos x="118" y="177"/>
                  </a:cxn>
                  <a:cxn ang="0">
                    <a:pos x="128" y="179"/>
                  </a:cxn>
                  <a:cxn ang="0">
                    <a:pos x="135" y="188"/>
                  </a:cxn>
                  <a:cxn ang="0">
                    <a:pos x="140" y="205"/>
                  </a:cxn>
                  <a:cxn ang="0">
                    <a:pos x="161" y="240"/>
                  </a:cxn>
                  <a:cxn ang="0">
                    <a:pos x="178" y="255"/>
                  </a:cxn>
                  <a:cxn ang="0">
                    <a:pos x="175" y="248"/>
                  </a:cxn>
                  <a:cxn ang="0">
                    <a:pos x="173" y="238"/>
                  </a:cxn>
                  <a:cxn ang="0">
                    <a:pos x="173" y="231"/>
                  </a:cxn>
                  <a:cxn ang="0">
                    <a:pos x="180" y="236"/>
                  </a:cxn>
                  <a:cxn ang="0">
                    <a:pos x="206" y="252"/>
                  </a:cxn>
                  <a:cxn ang="0">
                    <a:pos x="194" y="226"/>
                  </a:cxn>
                </a:cxnLst>
                <a:rect l="0" t="0" r="r" b="b"/>
                <a:pathLst>
                  <a:path w="206" h="257">
                    <a:moveTo>
                      <a:pt x="185" y="229"/>
                    </a:moveTo>
                    <a:lnTo>
                      <a:pt x="173" y="214"/>
                    </a:lnTo>
                    <a:lnTo>
                      <a:pt x="170" y="214"/>
                    </a:lnTo>
                    <a:lnTo>
                      <a:pt x="168" y="212"/>
                    </a:lnTo>
                    <a:lnTo>
                      <a:pt x="161" y="210"/>
                    </a:lnTo>
                    <a:lnTo>
                      <a:pt x="152" y="200"/>
                    </a:lnTo>
                    <a:lnTo>
                      <a:pt x="149" y="196"/>
                    </a:lnTo>
                    <a:lnTo>
                      <a:pt x="142" y="174"/>
                    </a:lnTo>
                    <a:lnTo>
                      <a:pt x="140" y="170"/>
                    </a:lnTo>
                    <a:lnTo>
                      <a:pt x="140" y="165"/>
                    </a:lnTo>
                    <a:lnTo>
                      <a:pt x="130" y="155"/>
                    </a:lnTo>
                    <a:lnTo>
                      <a:pt x="133" y="153"/>
                    </a:lnTo>
                    <a:lnTo>
                      <a:pt x="140" y="153"/>
                    </a:lnTo>
                    <a:lnTo>
                      <a:pt x="168" y="163"/>
                    </a:lnTo>
                    <a:lnTo>
                      <a:pt x="180" y="167"/>
                    </a:lnTo>
                    <a:lnTo>
                      <a:pt x="185" y="170"/>
                    </a:lnTo>
                    <a:lnTo>
                      <a:pt x="156" y="148"/>
                    </a:lnTo>
                    <a:lnTo>
                      <a:pt x="154" y="146"/>
                    </a:lnTo>
                    <a:lnTo>
                      <a:pt x="149" y="137"/>
                    </a:lnTo>
                    <a:lnTo>
                      <a:pt x="144" y="134"/>
                    </a:lnTo>
                    <a:lnTo>
                      <a:pt x="142" y="129"/>
                    </a:lnTo>
                    <a:lnTo>
                      <a:pt x="140" y="127"/>
                    </a:lnTo>
                    <a:lnTo>
                      <a:pt x="130" y="122"/>
                    </a:lnTo>
                    <a:lnTo>
                      <a:pt x="128" y="120"/>
                    </a:lnTo>
                    <a:lnTo>
                      <a:pt x="123" y="118"/>
                    </a:lnTo>
                    <a:lnTo>
                      <a:pt x="93" y="85"/>
                    </a:lnTo>
                    <a:lnTo>
                      <a:pt x="83" y="85"/>
                    </a:lnTo>
                    <a:lnTo>
                      <a:pt x="78" y="73"/>
                    </a:lnTo>
                    <a:lnTo>
                      <a:pt x="71" y="73"/>
                    </a:lnTo>
                    <a:lnTo>
                      <a:pt x="67" y="68"/>
                    </a:lnTo>
                    <a:lnTo>
                      <a:pt x="62" y="59"/>
                    </a:lnTo>
                    <a:lnTo>
                      <a:pt x="62" y="49"/>
                    </a:lnTo>
                    <a:lnTo>
                      <a:pt x="50" y="35"/>
                    </a:lnTo>
                    <a:lnTo>
                      <a:pt x="41" y="37"/>
                    </a:lnTo>
                    <a:lnTo>
                      <a:pt x="36" y="26"/>
                    </a:lnTo>
                    <a:lnTo>
                      <a:pt x="19" y="14"/>
                    </a:lnTo>
                    <a:lnTo>
                      <a:pt x="15" y="4"/>
                    </a:lnTo>
                    <a:lnTo>
                      <a:pt x="10" y="2"/>
                    </a:lnTo>
                    <a:lnTo>
                      <a:pt x="7" y="0"/>
                    </a:lnTo>
                    <a:lnTo>
                      <a:pt x="0" y="0"/>
                    </a:lnTo>
                    <a:lnTo>
                      <a:pt x="0" y="2"/>
                    </a:lnTo>
                    <a:lnTo>
                      <a:pt x="19" y="21"/>
                    </a:lnTo>
                    <a:lnTo>
                      <a:pt x="19" y="23"/>
                    </a:lnTo>
                    <a:lnTo>
                      <a:pt x="17" y="23"/>
                    </a:lnTo>
                    <a:lnTo>
                      <a:pt x="15" y="21"/>
                    </a:lnTo>
                    <a:lnTo>
                      <a:pt x="10" y="21"/>
                    </a:lnTo>
                    <a:lnTo>
                      <a:pt x="7" y="23"/>
                    </a:lnTo>
                    <a:lnTo>
                      <a:pt x="7" y="28"/>
                    </a:lnTo>
                    <a:lnTo>
                      <a:pt x="12" y="37"/>
                    </a:lnTo>
                    <a:lnTo>
                      <a:pt x="17" y="42"/>
                    </a:lnTo>
                    <a:lnTo>
                      <a:pt x="19" y="47"/>
                    </a:lnTo>
                    <a:lnTo>
                      <a:pt x="24" y="49"/>
                    </a:lnTo>
                    <a:lnTo>
                      <a:pt x="24" y="54"/>
                    </a:lnTo>
                    <a:lnTo>
                      <a:pt x="29" y="63"/>
                    </a:lnTo>
                    <a:lnTo>
                      <a:pt x="31" y="66"/>
                    </a:lnTo>
                    <a:lnTo>
                      <a:pt x="38" y="70"/>
                    </a:lnTo>
                    <a:lnTo>
                      <a:pt x="50" y="78"/>
                    </a:lnTo>
                    <a:lnTo>
                      <a:pt x="62" y="87"/>
                    </a:lnTo>
                    <a:lnTo>
                      <a:pt x="69" y="96"/>
                    </a:lnTo>
                    <a:lnTo>
                      <a:pt x="71" y="101"/>
                    </a:lnTo>
                    <a:lnTo>
                      <a:pt x="76" y="108"/>
                    </a:lnTo>
                    <a:lnTo>
                      <a:pt x="76" y="113"/>
                    </a:lnTo>
                    <a:lnTo>
                      <a:pt x="81" y="118"/>
                    </a:lnTo>
                    <a:lnTo>
                      <a:pt x="83" y="122"/>
                    </a:lnTo>
                    <a:lnTo>
                      <a:pt x="90" y="129"/>
                    </a:lnTo>
                    <a:lnTo>
                      <a:pt x="97" y="139"/>
                    </a:lnTo>
                    <a:lnTo>
                      <a:pt x="104" y="151"/>
                    </a:lnTo>
                    <a:lnTo>
                      <a:pt x="109" y="160"/>
                    </a:lnTo>
                    <a:lnTo>
                      <a:pt x="111" y="163"/>
                    </a:lnTo>
                    <a:lnTo>
                      <a:pt x="111" y="167"/>
                    </a:lnTo>
                    <a:lnTo>
                      <a:pt x="114" y="172"/>
                    </a:lnTo>
                    <a:lnTo>
                      <a:pt x="118" y="177"/>
                    </a:lnTo>
                    <a:lnTo>
                      <a:pt x="123" y="177"/>
                    </a:lnTo>
                    <a:lnTo>
                      <a:pt x="128" y="179"/>
                    </a:lnTo>
                    <a:lnTo>
                      <a:pt x="130" y="184"/>
                    </a:lnTo>
                    <a:lnTo>
                      <a:pt x="135" y="188"/>
                    </a:lnTo>
                    <a:lnTo>
                      <a:pt x="140" y="198"/>
                    </a:lnTo>
                    <a:lnTo>
                      <a:pt x="140" y="205"/>
                    </a:lnTo>
                    <a:lnTo>
                      <a:pt x="156" y="219"/>
                    </a:lnTo>
                    <a:lnTo>
                      <a:pt x="161" y="240"/>
                    </a:lnTo>
                    <a:lnTo>
                      <a:pt x="178" y="257"/>
                    </a:lnTo>
                    <a:lnTo>
                      <a:pt x="178" y="255"/>
                    </a:lnTo>
                    <a:lnTo>
                      <a:pt x="175" y="252"/>
                    </a:lnTo>
                    <a:lnTo>
                      <a:pt x="175" y="248"/>
                    </a:lnTo>
                    <a:lnTo>
                      <a:pt x="173" y="243"/>
                    </a:lnTo>
                    <a:lnTo>
                      <a:pt x="173" y="238"/>
                    </a:lnTo>
                    <a:lnTo>
                      <a:pt x="170" y="233"/>
                    </a:lnTo>
                    <a:lnTo>
                      <a:pt x="173" y="231"/>
                    </a:lnTo>
                    <a:lnTo>
                      <a:pt x="175" y="231"/>
                    </a:lnTo>
                    <a:lnTo>
                      <a:pt x="180" y="236"/>
                    </a:lnTo>
                    <a:lnTo>
                      <a:pt x="192" y="236"/>
                    </a:lnTo>
                    <a:lnTo>
                      <a:pt x="206" y="252"/>
                    </a:lnTo>
                    <a:lnTo>
                      <a:pt x="206" y="243"/>
                    </a:lnTo>
                    <a:lnTo>
                      <a:pt x="194" y="226"/>
                    </a:lnTo>
                    <a:lnTo>
                      <a:pt x="185" y="229"/>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107" name="Freeform 45">
                <a:extLst>
                  <a:ext uri="{FF2B5EF4-FFF2-40B4-BE49-F238E27FC236}">
                    <a16:creationId xmlns:a16="http://schemas.microsoft.com/office/drawing/2014/main" id="{6B5F3671-953F-4F1F-924B-D38E943BA955}"/>
                  </a:ext>
                </a:extLst>
              </p:cNvPr>
              <p:cNvSpPr>
                <a:spLocks/>
              </p:cNvSpPr>
              <p:nvPr/>
            </p:nvSpPr>
            <p:spPr bwMode="auto">
              <a:xfrm>
                <a:off x="10111697" y="728102"/>
                <a:ext cx="4245241" cy="1493514"/>
              </a:xfrm>
              <a:custGeom>
                <a:avLst/>
                <a:gdLst/>
                <a:ahLst/>
                <a:cxnLst>
                  <a:cxn ang="0">
                    <a:pos x="1094" y="99"/>
                  </a:cxn>
                  <a:cxn ang="0">
                    <a:pos x="964" y="91"/>
                  </a:cxn>
                  <a:cxn ang="0">
                    <a:pos x="881" y="83"/>
                  </a:cxn>
                  <a:cxn ang="0">
                    <a:pos x="773" y="64"/>
                  </a:cxn>
                  <a:cxn ang="0">
                    <a:pos x="681" y="49"/>
                  </a:cxn>
                  <a:cxn ang="0">
                    <a:pos x="660" y="64"/>
                  </a:cxn>
                  <a:cxn ang="0">
                    <a:pos x="602" y="65"/>
                  </a:cxn>
                  <a:cxn ang="0">
                    <a:pos x="573" y="46"/>
                  </a:cxn>
                  <a:cxn ang="0">
                    <a:pos x="505" y="49"/>
                  </a:cxn>
                  <a:cxn ang="0">
                    <a:pos x="413" y="40"/>
                  </a:cxn>
                  <a:cxn ang="0">
                    <a:pos x="417" y="30"/>
                  </a:cxn>
                  <a:cxn ang="0">
                    <a:pos x="390" y="10"/>
                  </a:cxn>
                  <a:cxn ang="0">
                    <a:pos x="314" y="3"/>
                  </a:cxn>
                  <a:cxn ang="0">
                    <a:pos x="265" y="16"/>
                  </a:cxn>
                  <a:cxn ang="0">
                    <a:pos x="201" y="41"/>
                  </a:cxn>
                  <a:cxn ang="0">
                    <a:pos x="211" y="61"/>
                  </a:cxn>
                  <a:cxn ang="0">
                    <a:pos x="160" y="65"/>
                  </a:cxn>
                  <a:cxn ang="0">
                    <a:pos x="140" y="51"/>
                  </a:cxn>
                  <a:cxn ang="0">
                    <a:pos x="194" y="96"/>
                  </a:cxn>
                  <a:cxn ang="0">
                    <a:pos x="181" y="93"/>
                  </a:cxn>
                  <a:cxn ang="0">
                    <a:pos x="133" y="122"/>
                  </a:cxn>
                  <a:cxn ang="0">
                    <a:pos x="146" y="96"/>
                  </a:cxn>
                  <a:cxn ang="0">
                    <a:pos x="87" y="72"/>
                  </a:cxn>
                  <a:cxn ang="0">
                    <a:pos x="1" y="165"/>
                  </a:cxn>
                  <a:cxn ang="0">
                    <a:pos x="59" y="317"/>
                  </a:cxn>
                  <a:cxn ang="0">
                    <a:pos x="114" y="319"/>
                  </a:cxn>
                  <a:cxn ang="0">
                    <a:pos x="120" y="288"/>
                  </a:cxn>
                  <a:cxn ang="0">
                    <a:pos x="188" y="257"/>
                  </a:cxn>
                  <a:cxn ang="0">
                    <a:pos x="240" y="279"/>
                  </a:cxn>
                  <a:cxn ang="0">
                    <a:pos x="273" y="277"/>
                  </a:cxn>
                  <a:cxn ang="0">
                    <a:pos x="339" y="317"/>
                  </a:cxn>
                  <a:cxn ang="0">
                    <a:pos x="398" y="331"/>
                  </a:cxn>
                  <a:cxn ang="0">
                    <a:pos x="462" y="319"/>
                  </a:cxn>
                  <a:cxn ang="0">
                    <a:pos x="507" y="319"/>
                  </a:cxn>
                  <a:cxn ang="0">
                    <a:pos x="549" y="317"/>
                  </a:cxn>
                  <a:cxn ang="0">
                    <a:pos x="620" y="332"/>
                  </a:cxn>
                  <a:cxn ang="0">
                    <a:pos x="689" y="328"/>
                  </a:cxn>
                  <a:cxn ang="0">
                    <a:pos x="720" y="294"/>
                  </a:cxn>
                  <a:cxn ang="0">
                    <a:pos x="783" y="298"/>
                  </a:cxn>
                  <a:cxn ang="0">
                    <a:pos x="847" y="340"/>
                  </a:cxn>
                  <a:cxn ang="0">
                    <a:pos x="907" y="360"/>
                  </a:cxn>
                  <a:cxn ang="0">
                    <a:pos x="891" y="395"/>
                  </a:cxn>
                  <a:cxn ang="0">
                    <a:pos x="922" y="421"/>
                  </a:cxn>
                  <a:cxn ang="0">
                    <a:pos x="953" y="369"/>
                  </a:cxn>
                  <a:cxn ang="0">
                    <a:pos x="947" y="327"/>
                  </a:cxn>
                  <a:cxn ang="0">
                    <a:pos x="922" y="288"/>
                  </a:cxn>
                  <a:cxn ang="0">
                    <a:pos x="886" y="271"/>
                  </a:cxn>
                  <a:cxn ang="0">
                    <a:pos x="850" y="258"/>
                  </a:cxn>
                  <a:cxn ang="0">
                    <a:pos x="898" y="207"/>
                  </a:cxn>
                  <a:cxn ang="0">
                    <a:pos x="960" y="213"/>
                  </a:cxn>
                  <a:cxn ang="0">
                    <a:pos x="974" y="178"/>
                  </a:cxn>
                  <a:cxn ang="0">
                    <a:pos x="1027" y="176"/>
                  </a:cxn>
                  <a:cxn ang="0">
                    <a:pos x="1038" y="196"/>
                  </a:cxn>
                  <a:cxn ang="0">
                    <a:pos x="1029" y="246"/>
                  </a:cxn>
                  <a:cxn ang="0">
                    <a:pos x="1107" y="302"/>
                  </a:cxn>
                  <a:cxn ang="0">
                    <a:pos x="1104" y="267"/>
                  </a:cxn>
                  <a:cxn ang="0">
                    <a:pos x="1093" y="240"/>
                  </a:cxn>
                  <a:cxn ang="0">
                    <a:pos x="1064" y="201"/>
                  </a:cxn>
                  <a:cxn ang="0">
                    <a:pos x="1116" y="191"/>
                  </a:cxn>
                  <a:cxn ang="0">
                    <a:pos x="1167" y="170"/>
                  </a:cxn>
                  <a:cxn ang="0">
                    <a:pos x="1104" y="143"/>
                  </a:cxn>
                  <a:cxn ang="0">
                    <a:pos x="1118" y="124"/>
                  </a:cxn>
                  <a:cxn ang="0">
                    <a:pos x="1194" y="145"/>
                  </a:cxn>
                </a:cxnLst>
                <a:rect l="0" t="0" r="r" b="b"/>
                <a:pathLst>
                  <a:path w="1207" h="425">
                    <a:moveTo>
                      <a:pt x="1201" y="129"/>
                    </a:moveTo>
                    <a:cubicBezTo>
                      <a:pt x="1207" y="129"/>
                      <a:pt x="1207" y="129"/>
                      <a:pt x="1207" y="129"/>
                    </a:cubicBezTo>
                    <a:cubicBezTo>
                      <a:pt x="1207" y="128"/>
                      <a:pt x="1207" y="128"/>
                      <a:pt x="1207" y="128"/>
                    </a:cubicBezTo>
                    <a:cubicBezTo>
                      <a:pt x="1205" y="126"/>
                      <a:pt x="1205" y="126"/>
                      <a:pt x="1205" y="126"/>
                    </a:cubicBezTo>
                    <a:cubicBezTo>
                      <a:pt x="1203" y="125"/>
                      <a:pt x="1203" y="125"/>
                      <a:pt x="1203" y="125"/>
                    </a:cubicBezTo>
                    <a:cubicBezTo>
                      <a:pt x="1200" y="124"/>
                      <a:pt x="1200" y="124"/>
                      <a:pt x="1200" y="124"/>
                    </a:cubicBezTo>
                    <a:cubicBezTo>
                      <a:pt x="1198" y="123"/>
                      <a:pt x="1198" y="123"/>
                      <a:pt x="1198" y="123"/>
                    </a:cubicBezTo>
                    <a:cubicBezTo>
                      <a:pt x="1196" y="123"/>
                      <a:pt x="1196" y="123"/>
                      <a:pt x="1196" y="123"/>
                    </a:cubicBezTo>
                    <a:cubicBezTo>
                      <a:pt x="1189" y="120"/>
                      <a:pt x="1189" y="120"/>
                      <a:pt x="1189" y="120"/>
                    </a:cubicBezTo>
                    <a:cubicBezTo>
                      <a:pt x="1182" y="120"/>
                      <a:pt x="1182" y="120"/>
                      <a:pt x="1182" y="120"/>
                    </a:cubicBezTo>
                    <a:cubicBezTo>
                      <a:pt x="1177" y="117"/>
                      <a:pt x="1177" y="117"/>
                      <a:pt x="1177" y="117"/>
                    </a:cubicBezTo>
                    <a:cubicBezTo>
                      <a:pt x="1162" y="116"/>
                      <a:pt x="1162" y="116"/>
                      <a:pt x="1162" y="116"/>
                    </a:cubicBezTo>
                    <a:cubicBezTo>
                      <a:pt x="1155" y="113"/>
                      <a:pt x="1155" y="113"/>
                      <a:pt x="1155" y="113"/>
                    </a:cubicBezTo>
                    <a:cubicBezTo>
                      <a:pt x="1149" y="113"/>
                      <a:pt x="1149" y="113"/>
                      <a:pt x="1149" y="113"/>
                    </a:cubicBezTo>
                    <a:cubicBezTo>
                      <a:pt x="1158" y="119"/>
                      <a:pt x="1158" y="119"/>
                      <a:pt x="1158" y="119"/>
                    </a:cubicBezTo>
                    <a:cubicBezTo>
                      <a:pt x="1167" y="123"/>
                      <a:pt x="1167" y="123"/>
                      <a:pt x="1167" y="123"/>
                    </a:cubicBezTo>
                    <a:cubicBezTo>
                      <a:pt x="1165" y="123"/>
                      <a:pt x="1165" y="123"/>
                      <a:pt x="1165" y="123"/>
                    </a:cubicBezTo>
                    <a:cubicBezTo>
                      <a:pt x="1163" y="124"/>
                      <a:pt x="1163" y="124"/>
                      <a:pt x="1163" y="124"/>
                    </a:cubicBezTo>
                    <a:cubicBezTo>
                      <a:pt x="1158" y="124"/>
                      <a:pt x="1158" y="124"/>
                      <a:pt x="1158" y="124"/>
                    </a:cubicBezTo>
                    <a:cubicBezTo>
                      <a:pt x="1154" y="122"/>
                      <a:pt x="1154" y="122"/>
                      <a:pt x="1154" y="122"/>
                    </a:cubicBezTo>
                    <a:cubicBezTo>
                      <a:pt x="1145" y="113"/>
                      <a:pt x="1145" y="113"/>
                      <a:pt x="1145" y="113"/>
                    </a:cubicBezTo>
                    <a:cubicBezTo>
                      <a:pt x="1129" y="107"/>
                      <a:pt x="1129" y="107"/>
                      <a:pt x="1129" y="107"/>
                    </a:cubicBezTo>
                    <a:cubicBezTo>
                      <a:pt x="1115" y="103"/>
                      <a:pt x="1115" y="103"/>
                      <a:pt x="1115" y="103"/>
                    </a:cubicBezTo>
                    <a:cubicBezTo>
                      <a:pt x="1106" y="101"/>
                      <a:pt x="1106" y="101"/>
                      <a:pt x="1106" y="101"/>
                    </a:cubicBezTo>
                    <a:cubicBezTo>
                      <a:pt x="1094" y="99"/>
                      <a:pt x="1094" y="99"/>
                      <a:pt x="1094" y="99"/>
                    </a:cubicBezTo>
                    <a:cubicBezTo>
                      <a:pt x="1079" y="96"/>
                      <a:pt x="1079" y="96"/>
                      <a:pt x="1079" y="96"/>
                    </a:cubicBezTo>
                    <a:cubicBezTo>
                      <a:pt x="1065" y="92"/>
                      <a:pt x="1065" y="92"/>
                      <a:pt x="1065" y="92"/>
                    </a:cubicBezTo>
                    <a:cubicBezTo>
                      <a:pt x="1052" y="89"/>
                      <a:pt x="1052" y="89"/>
                      <a:pt x="1052" y="89"/>
                    </a:cubicBezTo>
                    <a:cubicBezTo>
                      <a:pt x="1042" y="87"/>
                      <a:pt x="1042" y="87"/>
                      <a:pt x="1042" y="87"/>
                    </a:cubicBezTo>
                    <a:cubicBezTo>
                      <a:pt x="1033" y="85"/>
                      <a:pt x="1033" y="85"/>
                      <a:pt x="1033" y="85"/>
                    </a:cubicBezTo>
                    <a:cubicBezTo>
                      <a:pt x="1026" y="84"/>
                      <a:pt x="1026" y="84"/>
                      <a:pt x="1026" y="84"/>
                    </a:cubicBezTo>
                    <a:cubicBezTo>
                      <a:pt x="993" y="84"/>
                      <a:pt x="993" y="84"/>
                      <a:pt x="993" y="84"/>
                    </a:cubicBezTo>
                    <a:cubicBezTo>
                      <a:pt x="991" y="81"/>
                      <a:pt x="991" y="81"/>
                      <a:pt x="991" y="81"/>
                    </a:cubicBezTo>
                    <a:cubicBezTo>
                      <a:pt x="983" y="82"/>
                      <a:pt x="983" y="82"/>
                      <a:pt x="983" y="82"/>
                    </a:cubicBezTo>
                    <a:cubicBezTo>
                      <a:pt x="980" y="80"/>
                      <a:pt x="980" y="80"/>
                      <a:pt x="980" y="80"/>
                    </a:cubicBezTo>
                    <a:cubicBezTo>
                      <a:pt x="971" y="80"/>
                      <a:pt x="971" y="80"/>
                      <a:pt x="971" y="80"/>
                    </a:cubicBezTo>
                    <a:cubicBezTo>
                      <a:pt x="975" y="83"/>
                      <a:pt x="975" y="83"/>
                      <a:pt x="975" y="83"/>
                    </a:cubicBezTo>
                    <a:cubicBezTo>
                      <a:pt x="974" y="86"/>
                      <a:pt x="974" y="86"/>
                      <a:pt x="974" y="86"/>
                    </a:cubicBezTo>
                    <a:cubicBezTo>
                      <a:pt x="976" y="86"/>
                      <a:pt x="976" y="86"/>
                      <a:pt x="976" y="86"/>
                    </a:cubicBezTo>
                    <a:cubicBezTo>
                      <a:pt x="980" y="88"/>
                      <a:pt x="980" y="88"/>
                      <a:pt x="980" y="88"/>
                    </a:cubicBezTo>
                    <a:cubicBezTo>
                      <a:pt x="986" y="89"/>
                      <a:pt x="986" y="89"/>
                      <a:pt x="986" y="89"/>
                    </a:cubicBezTo>
                    <a:cubicBezTo>
                      <a:pt x="990" y="91"/>
                      <a:pt x="990" y="91"/>
                      <a:pt x="990" y="91"/>
                    </a:cubicBezTo>
                    <a:cubicBezTo>
                      <a:pt x="993" y="93"/>
                      <a:pt x="993" y="93"/>
                      <a:pt x="993" y="93"/>
                    </a:cubicBezTo>
                    <a:cubicBezTo>
                      <a:pt x="992" y="95"/>
                      <a:pt x="992" y="95"/>
                      <a:pt x="992" y="95"/>
                    </a:cubicBezTo>
                    <a:cubicBezTo>
                      <a:pt x="988" y="96"/>
                      <a:pt x="988" y="96"/>
                      <a:pt x="988" y="96"/>
                    </a:cubicBezTo>
                    <a:cubicBezTo>
                      <a:pt x="983" y="96"/>
                      <a:pt x="983" y="96"/>
                      <a:pt x="983" y="96"/>
                    </a:cubicBezTo>
                    <a:cubicBezTo>
                      <a:pt x="981" y="95"/>
                      <a:pt x="981" y="95"/>
                      <a:pt x="981" y="95"/>
                    </a:cubicBezTo>
                    <a:cubicBezTo>
                      <a:pt x="980" y="94"/>
                      <a:pt x="980" y="94"/>
                      <a:pt x="980" y="94"/>
                    </a:cubicBezTo>
                    <a:cubicBezTo>
                      <a:pt x="976" y="91"/>
                      <a:pt x="976" y="91"/>
                      <a:pt x="976" y="91"/>
                    </a:cubicBezTo>
                    <a:cubicBezTo>
                      <a:pt x="964" y="91"/>
                      <a:pt x="964" y="91"/>
                      <a:pt x="964" y="91"/>
                    </a:cubicBezTo>
                    <a:cubicBezTo>
                      <a:pt x="955" y="85"/>
                      <a:pt x="955" y="85"/>
                      <a:pt x="955" y="85"/>
                    </a:cubicBezTo>
                    <a:cubicBezTo>
                      <a:pt x="954" y="85"/>
                      <a:pt x="954" y="85"/>
                      <a:pt x="954" y="85"/>
                    </a:cubicBezTo>
                    <a:cubicBezTo>
                      <a:pt x="953" y="86"/>
                      <a:pt x="953" y="86"/>
                      <a:pt x="953" y="86"/>
                    </a:cubicBezTo>
                    <a:cubicBezTo>
                      <a:pt x="951" y="86"/>
                      <a:pt x="951" y="86"/>
                      <a:pt x="951" y="86"/>
                    </a:cubicBezTo>
                    <a:cubicBezTo>
                      <a:pt x="950" y="87"/>
                      <a:pt x="950" y="87"/>
                      <a:pt x="950" y="87"/>
                    </a:cubicBezTo>
                    <a:cubicBezTo>
                      <a:pt x="941" y="87"/>
                      <a:pt x="941" y="87"/>
                      <a:pt x="941" y="87"/>
                    </a:cubicBezTo>
                    <a:cubicBezTo>
                      <a:pt x="940" y="85"/>
                      <a:pt x="940" y="85"/>
                      <a:pt x="940" y="85"/>
                    </a:cubicBezTo>
                    <a:cubicBezTo>
                      <a:pt x="924" y="86"/>
                      <a:pt x="924" y="86"/>
                      <a:pt x="924" y="86"/>
                    </a:cubicBezTo>
                    <a:cubicBezTo>
                      <a:pt x="920" y="83"/>
                      <a:pt x="920" y="83"/>
                      <a:pt x="920" y="83"/>
                    </a:cubicBezTo>
                    <a:cubicBezTo>
                      <a:pt x="919" y="84"/>
                      <a:pt x="919" y="84"/>
                      <a:pt x="919" y="84"/>
                    </a:cubicBezTo>
                    <a:cubicBezTo>
                      <a:pt x="902" y="84"/>
                      <a:pt x="902" y="84"/>
                      <a:pt x="902" y="84"/>
                    </a:cubicBezTo>
                    <a:cubicBezTo>
                      <a:pt x="901" y="85"/>
                      <a:pt x="901" y="85"/>
                      <a:pt x="901" y="85"/>
                    </a:cubicBezTo>
                    <a:cubicBezTo>
                      <a:pt x="902" y="86"/>
                      <a:pt x="902" y="86"/>
                      <a:pt x="902" y="86"/>
                    </a:cubicBezTo>
                    <a:cubicBezTo>
                      <a:pt x="903" y="88"/>
                      <a:pt x="903" y="88"/>
                      <a:pt x="903" y="88"/>
                    </a:cubicBezTo>
                    <a:cubicBezTo>
                      <a:pt x="909" y="94"/>
                      <a:pt x="909" y="94"/>
                      <a:pt x="909" y="94"/>
                    </a:cubicBezTo>
                    <a:cubicBezTo>
                      <a:pt x="908" y="94"/>
                      <a:pt x="908" y="94"/>
                      <a:pt x="908" y="94"/>
                    </a:cubicBezTo>
                    <a:cubicBezTo>
                      <a:pt x="907" y="93"/>
                      <a:pt x="907" y="93"/>
                      <a:pt x="907" y="93"/>
                    </a:cubicBezTo>
                    <a:cubicBezTo>
                      <a:pt x="905" y="92"/>
                      <a:pt x="905" y="92"/>
                      <a:pt x="905" y="92"/>
                    </a:cubicBezTo>
                    <a:cubicBezTo>
                      <a:pt x="903" y="90"/>
                      <a:pt x="903" y="90"/>
                      <a:pt x="903" y="90"/>
                    </a:cubicBezTo>
                    <a:cubicBezTo>
                      <a:pt x="901" y="89"/>
                      <a:pt x="901" y="89"/>
                      <a:pt x="901" y="89"/>
                    </a:cubicBezTo>
                    <a:cubicBezTo>
                      <a:pt x="899" y="87"/>
                      <a:pt x="899" y="87"/>
                      <a:pt x="899" y="87"/>
                    </a:cubicBezTo>
                    <a:cubicBezTo>
                      <a:pt x="896" y="86"/>
                      <a:pt x="896" y="86"/>
                      <a:pt x="896" y="86"/>
                    </a:cubicBezTo>
                    <a:cubicBezTo>
                      <a:pt x="884" y="84"/>
                      <a:pt x="884" y="84"/>
                      <a:pt x="884" y="84"/>
                    </a:cubicBezTo>
                    <a:cubicBezTo>
                      <a:pt x="881" y="84"/>
                      <a:pt x="881" y="84"/>
                      <a:pt x="881" y="84"/>
                    </a:cubicBezTo>
                    <a:cubicBezTo>
                      <a:pt x="881" y="83"/>
                      <a:pt x="881" y="83"/>
                      <a:pt x="881" y="83"/>
                    </a:cubicBezTo>
                    <a:cubicBezTo>
                      <a:pt x="876" y="78"/>
                      <a:pt x="876" y="78"/>
                      <a:pt x="876" y="78"/>
                    </a:cubicBezTo>
                    <a:cubicBezTo>
                      <a:pt x="872" y="76"/>
                      <a:pt x="872" y="76"/>
                      <a:pt x="872" y="76"/>
                    </a:cubicBezTo>
                    <a:cubicBezTo>
                      <a:pt x="865" y="73"/>
                      <a:pt x="865" y="73"/>
                      <a:pt x="865" y="73"/>
                    </a:cubicBezTo>
                    <a:cubicBezTo>
                      <a:pt x="858" y="72"/>
                      <a:pt x="858" y="72"/>
                      <a:pt x="858" y="72"/>
                    </a:cubicBezTo>
                    <a:cubicBezTo>
                      <a:pt x="852" y="71"/>
                      <a:pt x="852" y="71"/>
                      <a:pt x="852" y="71"/>
                    </a:cubicBezTo>
                    <a:cubicBezTo>
                      <a:pt x="847" y="71"/>
                      <a:pt x="847" y="71"/>
                      <a:pt x="847" y="71"/>
                    </a:cubicBezTo>
                    <a:cubicBezTo>
                      <a:pt x="844" y="70"/>
                      <a:pt x="844" y="70"/>
                      <a:pt x="844" y="70"/>
                    </a:cubicBezTo>
                    <a:cubicBezTo>
                      <a:pt x="839" y="70"/>
                      <a:pt x="839" y="70"/>
                      <a:pt x="839" y="70"/>
                    </a:cubicBezTo>
                    <a:cubicBezTo>
                      <a:pt x="831" y="68"/>
                      <a:pt x="831" y="68"/>
                      <a:pt x="831" y="68"/>
                    </a:cubicBezTo>
                    <a:cubicBezTo>
                      <a:pt x="829" y="69"/>
                      <a:pt x="829" y="69"/>
                      <a:pt x="829" y="69"/>
                    </a:cubicBezTo>
                    <a:cubicBezTo>
                      <a:pt x="819" y="69"/>
                      <a:pt x="819" y="69"/>
                      <a:pt x="819" y="69"/>
                    </a:cubicBezTo>
                    <a:cubicBezTo>
                      <a:pt x="816" y="72"/>
                      <a:pt x="816" y="72"/>
                      <a:pt x="816" y="72"/>
                    </a:cubicBezTo>
                    <a:cubicBezTo>
                      <a:pt x="814" y="73"/>
                      <a:pt x="814" y="73"/>
                      <a:pt x="814" y="73"/>
                    </a:cubicBezTo>
                    <a:cubicBezTo>
                      <a:pt x="808" y="73"/>
                      <a:pt x="808" y="73"/>
                      <a:pt x="808" y="73"/>
                    </a:cubicBezTo>
                    <a:cubicBezTo>
                      <a:pt x="805" y="72"/>
                      <a:pt x="805" y="72"/>
                      <a:pt x="805" y="72"/>
                    </a:cubicBezTo>
                    <a:cubicBezTo>
                      <a:pt x="799" y="72"/>
                      <a:pt x="799" y="72"/>
                      <a:pt x="799" y="72"/>
                    </a:cubicBezTo>
                    <a:cubicBezTo>
                      <a:pt x="797" y="71"/>
                      <a:pt x="797" y="71"/>
                      <a:pt x="797" y="71"/>
                    </a:cubicBezTo>
                    <a:cubicBezTo>
                      <a:pt x="796" y="70"/>
                      <a:pt x="796" y="70"/>
                      <a:pt x="796" y="70"/>
                    </a:cubicBezTo>
                    <a:cubicBezTo>
                      <a:pt x="792" y="68"/>
                      <a:pt x="792" y="68"/>
                      <a:pt x="792" y="68"/>
                    </a:cubicBezTo>
                    <a:cubicBezTo>
                      <a:pt x="789" y="67"/>
                      <a:pt x="789" y="67"/>
                      <a:pt x="789" y="67"/>
                    </a:cubicBezTo>
                    <a:cubicBezTo>
                      <a:pt x="787" y="66"/>
                      <a:pt x="787" y="66"/>
                      <a:pt x="787" y="66"/>
                    </a:cubicBezTo>
                    <a:cubicBezTo>
                      <a:pt x="783" y="66"/>
                      <a:pt x="783" y="66"/>
                      <a:pt x="783" y="66"/>
                    </a:cubicBezTo>
                    <a:cubicBezTo>
                      <a:pt x="781" y="67"/>
                      <a:pt x="781" y="67"/>
                      <a:pt x="781" y="67"/>
                    </a:cubicBezTo>
                    <a:cubicBezTo>
                      <a:pt x="779" y="64"/>
                      <a:pt x="779" y="64"/>
                      <a:pt x="779" y="64"/>
                    </a:cubicBezTo>
                    <a:cubicBezTo>
                      <a:pt x="773" y="64"/>
                      <a:pt x="773" y="64"/>
                      <a:pt x="773" y="64"/>
                    </a:cubicBezTo>
                    <a:cubicBezTo>
                      <a:pt x="762" y="63"/>
                      <a:pt x="762" y="63"/>
                      <a:pt x="762" y="63"/>
                    </a:cubicBezTo>
                    <a:cubicBezTo>
                      <a:pt x="768" y="61"/>
                      <a:pt x="768" y="61"/>
                      <a:pt x="768" y="61"/>
                    </a:cubicBezTo>
                    <a:cubicBezTo>
                      <a:pt x="762" y="57"/>
                      <a:pt x="762" y="57"/>
                      <a:pt x="762" y="57"/>
                    </a:cubicBezTo>
                    <a:cubicBezTo>
                      <a:pt x="760" y="57"/>
                      <a:pt x="760" y="57"/>
                      <a:pt x="760" y="57"/>
                    </a:cubicBezTo>
                    <a:cubicBezTo>
                      <a:pt x="755" y="56"/>
                      <a:pt x="755" y="56"/>
                      <a:pt x="755" y="56"/>
                    </a:cubicBezTo>
                    <a:cubicBezTo>
                      <a:pt x="748" y="55"/>
                      <a:pt x="748" y="55"/>
                      <a:pt x="748" y="55"/>
                    </a:cubicBezTo>
                    <a:cubicBezTo>
                      <a:pt x="742" y="55"/>
                      <a:pt x="742" y="55"/>
                      <a:pt x="742" y="55"/>
                    </a:cubicBezTo>
                    <a:cubicBezTo>
                      <a:pt x="739" y="56"/>
                      <a:pt x="739" y="56"/>
                      <a:pt x="739" y="56"/>
                    </a:cubicBezTo>
                    <a:cubicBezTo>
                      <a:pt x="739" y="61"/>
                      <a:pt x="739" y="61"/>
                      <a:pt x="739" y="61"/>
                    </a:cubicBezTo>
                    <a:cubicBezTo>
                      <a:pt x="738" y="62"/>
                      <a:pt x="738" y="62"/>
                      <a:pt x="738" y="62"/>
                    </a:cubicBezTo>
                    <a:cubicBezTo>
                      <a:pt x="733" y="62"/>
                      <a:pt x="733" y="62"/>
                      <a:pt x="733" y="62"/>
                    </a:cubicBezTo>
                    <a:cubicBezTo>
                      <a:pt x="731" y="61"/>
                      <a:pt x="731" y="61"/>
                      <a:pt x="731" y="61"/>
                    </a:cubicBezTo>
                    <a:cubicBezTo>
                      <a:pt x="729" y="61"/>
                      <a:pt x="729" y="61"/>
                      <a:pt x="729" y="61"/>
                    </a:cubicBezTo>
                    <a:cubicBezTo>
                      <a:pt x="732" y="59"/>
                      <a:pt x="732" y="59"/>
                      <a:pt x="732" y="59"/>
                    </a:cubicBezTo>
                    <a:cubicBezTo>
                      <a:pt x="729" y="57"/>
                      <a:pt x="729" y="57"/>
                      <a:pt x="729" y="57"/>
                    </a:cubicBezTo>
                    <a:cubicBezTo>
                      <a:pt x="717" y="57"/>
                      <a:pt x="717" y="57"/>
                      <a:pt x="717" y="57"/>
                    </a:cubicBezTo>
                    <a:cubicBezTo>
                      <a:pt x="720" y="55"/>
                      <a:pt x="720" y="55"/>
                      <a:pt x="720" y="55"/>
                    </a:cubicBezTo>
                    <a:cubicBezTo>
                      <a:pt x="727" y="55"/>
                      <a:pt x="727" y="55"/>
                      <a:pt x="727" y="55"/>
                    </a:cubicBezTo>
                    <a:cubicBezTo>
                      <a:pt x="737" y="60"/>
                      <a:pt x="737" y="60"/>
                      <a:pt x="737" y="60"/>
                    </a:cubicBezTo>
                    <a:cubicBezTo>
                      <a:pt x="737" y="56"/>
                      <a:pt x="737" y="56"/>
                      <a:pt x="737" y="56"/>
                    </a:cubicBezTo>
                    <a:cubicBezTo>
                      <a:pt x="728" y="52"/>
                      <a:pt x="728" y="52"/>
                      <a:pt x="728" y="52"/>
                    </a:cubicBezTo>
                    <a:cubicBezTo>
                      <a:pt x="709" y="53"/>
                      <a:pt x="709" y="53"/>
                      <a:pt x="709" y="53"/>
                    </a:cubicBezTo>
                    <a:cubicBezTo>
                      <a:pt x="709" y="51"/>
                      <a:pt x="709" y="51"/>
                      <a:pt x="709" y="51"/>
                    </a:cubicBezTo>
                    <a:cubicBezTo>
                      <a:pt x="689" y="52"/>
                      <a:pt x="689" y="52"/>
                      <a:pt x="689" y="52"/>
                    </a:cubicBezTo>
                    <a:cubicBezTo>
                      <a:pt x="681" y="49"/>
                      <a:pt x="681" y="49"/>
                      <a:pt x="681" y="49"/>
                    </a:cubicBezTo>
                    <a:cubicBezTo>
                      <a:pt x="678" y="49"/>
                      <a:pt x="678" y="49"/>
                      <a:pt x="678" y="49"/>
                    </a:cubicBezTo>
                    <a:cubicBezTo>
                      <a:pt x="684" y="53"/>
                      <a:pt x="684" y="53"/>
                      <a:pt x="684" y="53"/>
                    </a:cubicBezTo>
                    <a:cubicBezTo>
                      <a:pt x="676" y="53"/>
                      <a:pt x="676" y="53"/>
                      <a:pt x="676" y="53"/>
                    </a:cubicBezTo>
                    <a:cubicBezTo>
                      <a:pt x="674" y="54"/>
                      <a:pt x="674" y="54"/>
                      <a:pt x="674" y="54"/>
                    </a:cubicBezTo>
                    <a:cubicBezTo>
                      <a:pt x="673" y="54"/>
                      <a:pt x="673" y="54"/>
                      <a:pt x="673" y="54"/>
                    </a:cubicBezTo>
                    <a:cubicBezTo>
                      <a:pt x="673" y="55"/>
                      <a:pt x="673" y="55"/>
                      <a:pt x="673" y="55"/>
                    </a:cubicBezTo>
                    <a:cubicBezTo>
                      <a:pt x="675" y="56"/>
                      <a:pt x="675" y="56"/>
                      <a:pt x="675" y="56"/>
                    </a:cubicBezTo>
                    <a:cubicBezTo>
                      <a:pt x="676" y="57"/>
                      <a:pt x="676" y="57"/>
                      <a:pt x="676" y="57"/>
                    </a:cubicBezTo>
                    <a:cubicBezTo>
                      <a:pt x="678" y="58"/>
                      <a:pt x="678" y="58"/>
                      <a:pt x="678" y="58"/>
                    </a:cubicBezTo>
                    <a:cubicBezTo>
                      <a:pt x="683" y="58"/>
                      <a:pt x="683" y="58"/>
                      <a:pt x="683" y="58"/>
                    </a:cubicBezTo>
                    <a:cubicBezTo>
                      <a:pt x="683" y="59"/>
                      <a:pt x="683" y="59"/>
                      <a:pt x="683" y="59"/>
                    </a:cubicBezTo>
                    <a:cubicBezTo>
                      <a:pt x="693" y="65"/>
                      <a:pt x="693" y="65"/>
                      <a:pt x="693" y="65"/>
                    </a:cubicBezTo>
                    <a:cubicBezTo>
                      <a:pt x="685" y="65"/>
                      <a:pt x="685" y="65"/>
                      <a:pt x="685" y="65"/>
                    </a:cubicBezTo>
                    <a:cubicBezTo>
                      <a:pt x="684" y="64"/>
                      <a:pt x="684" y="64"/>
                      <a:pt x="684" y="64"/>
                    </a:cubicBezTo>
                    <a:cubicBezTo>
                      <a:pt x="682" y="63"/>
                      <a:pt x="682" y="63"/>
                      <a:pt x="682" y="63"/>
                    </a:cubicBezTo>
                    <a:cubicBezTo>
                      <a:pt x="680" y="63"/>
                      <a:pt x="680" y="63"/>
                      <a:pt x="680" y="63"/>
                    </a:cubicBezTo>
                    <a:cubicBezTo>
                      <a:pt x="678" y="62"/>
                      <a:pt x="678" y="62"/>
                      <a:pt x="678" y="62"/>
                    </a:cubicBezTo>
                    <a:cubicBezTo>
                      <a:pt x="675" y="65"/>
                      <a:pt x="675" y="65"/>
                      <a:pt x="675" y="65"/>
                    </a:cubicBezTo>
                    <a:cubicBezTo>
                      <a:pt x="679" y="68"/>
                      <a:pt x="679" y="68"/>
                      <a:pt x="679" y="68"/>
                    </a:cubicBezTo>
                    <a:cubicBezTo>
                      <a:pt x="670" y="67"/>
                      <a:pt x="670" y="67"/>
                      <a:pt x="670" y="67"/>
                    </a:cubicBezTo>
                    <a:cubicBezTo>
                      <a:pt x="669" y="67"/>
                      <a:pt x="669" y="67"/>
                      <a:pt x="669" y="67"/>
                    </a:cubicBezTo>
                    <a:cubicBezTo>
                      <a:pt x="668" y="66"/>
                      <a:pt x="668" y="66"/>
                      <a:pt x="668" y="66"/>
                    </a:cubicBezTo>
                    <a:cubicBezTo>
                      <a:pt x="665" y="65"/>
                      <a:pt x="665" y="65"/>
                      <a:pt x="665" y="65"/>
                    </a:cubicBezTo>
                    <a:cubicBezTo>
                      <a:pt x="662" y="65"/>
                      <a:pt x="662" y="65"/>
                      <a:pt x="662" y="65"/>
                    </a:cubicBezTo>
                    <a:cubicBezTo>
                      <a:pt x="660" y="64"/>
                      <a:pt x="660" y="64"/>
                      <a:pt x="660" y="64"/>
                    </a:cubicBezTo>
                    <a:cubicBezTo>
                      <a:pt x="657" y="63"/>
                      <a:pt x="657" y="63"/>
                      <a:pt x="657" y="63"/>
                    </a:cubicBezTo>
                    <a:cubicBezTo>
                      <a:pt x="655" y="63"/>
                      <a:pt x="655" y="63"/>
                      <a:pt x="655" y="63"/>
                    </a:cubicBezTo>
                    <a:cubicBezTo>
                      <a:pt x="653" y="64"/>
                      <a:pt x="653" y="64"/>
                      <a:pt x="653" y="64"/>
                    </a:cubicBezTo>
                    <a:cubicBezTo>
                      <a:pt x="651" y="64"/>
                      <a:pt x="651" y="64"/>
                      <a:pt x="651" y="64"/>
                    </a:cubicBezTo>
                    <a:cubicBezTo>
                      <a:pt x="649" y="65"/>
                      <a:pt x="649" y="65"/>
                      <a:pt x="649" y="65"/>
                    </a:cubicBezTo>
                    <a:cubicBezTo>
                      <a:pt x="648" y="66"/>
                      <a:pt x="648" y="66"/>
                      <a:pt x="648" y="66"/>
                    </a:cubicBezTo>
                    <a:cubicBezTo>
                      <a:pt x="647" y="66"/>
                      <a:pt x="647" y="66"/>
                      <a:pt x="647" y="66"/>
                    </a:cubicBezTo>
                    <a:cubicBezTo>
                      <a:pt x="636" y="65"/>
                      <a:pt x="636" y="65"/>
                      <a:pt x="636" y="65"/>
                    </a:cubicBezTo>
                    <a:cubicBezTo>
                      <a:pt x="635" y="65"/>
                      <a:pt x="635" y="65"/>
                      <a:pt x="635" y="65"/>
                    </a:cubicBezTo>
                    <a:cubicBezTo>
                      <a:pt x="634" y="64"/>
                      <a:pt x="634" y="64"/>
                      <a:pt x="634" y="64"/>
                    </a:cubicBezTo>
                    <a:cubicBezTo>
                      <a:pt x="628" y="61"/>
                      <a:pt x="628" y="61"/>
                      <a:pt x="628" y="61"/>
                    </a:cubicBezTo>
                    <a:cubicBezTo>
                      <a:pt x="627" y="61"/>
                      <a:pt x="627" y="61"/>
                      <a:pt x="627" y="61"/>
                    </a:cubicBezTo>
                    <a:cubicBezTo>
                      <a:pt x="626" y="60"/>
                      <a:pt x="626" y="60"/>
                      <a:pt x="626" y="60"/>
                    </a:cubicBezTo>
                    <a:cubicBezTo>
                      <a:pt x="624" y="60"/>
                      <a:pt x="624" y="60"/>
                      <a:pt x="624" y="60"/>
                    </a:cubicBezTo>
                    <a:cubicBezTo>
                      <a:pt x="624" y="63"/>
                      <a:pt x="624" y="63"/>
                      <a:pt x="624" y="63"/>
                    </a:cubicBezTo>
                    <a:cubicBezTo>
                      <a:pt x="625" y="64"/>
                      <a:pt x="625" y="64"/>
                      <a:pt x="625" y="64"/>
                    </a:cubicBezTo>
                    <a:cubicBezTo>
                      <a:pt x="626" y="66"/>
                      <a:pt x="626" y="66"/>
                      <a:pt x="626" y="66"/>
                    </a:cubicBezTo>
                    <a:cubicBezTo>
                      <a:pt x="627" y="67"/>
                      <a:pt x="627" y="67"/>
                      <a:pt x="627" y="67"/>
                    </a:cubicBezTo>
                    <a:cubicBezTo>
                      <a:pt x="628" y="69"/>
                      <a:pt x="628" y="69"/>
                      <a:pt x="628" y="69"/>
                    </a:cubicBezTo>
                    <a:cubicBezTo>
                      <a:pt x="628" y="72"/>
                      <a:pt x="628" y="72"/>
                      <a:pt x="628" y="72"/>
                    </a:cubicBezTo>
                    <a:cubicBezTo>
                      <a:pt x="627" y="73"/>
                      <a:pt x="627" y="73"/>
                      <a:pt x="627" y="73"/>
                    </a:cubicBezTo>
                    <a:cubicBezTo>
                      <a:pt x="623" y="72"/>
                      <a:pt x="623" y="72"/>
                      <a:pt x="623" y="72"/>
                    </a:cubicBezTo>
                    <a:cubicBezTo>
                      <a:pt x="605" y="66"/>
                      <a:pt x="605" y="66"/>
                      <a:pt x="605" y="66"/>
                    </a:cubicBezTo>
                    <a:cubicBezTo>
                      <a:pt x="603" y="65"/>
                      <a:pt x="603" y="65"/>
                      <a:pt x="603" y="65"/>
                    </a:cubicBezTo>
                    <a:cubicBezTo>
                      <a:pt x="602" y="65"/>
                      <a:pt x="602" y="65"/>
                      <a:pt x="602" y="65"/>
                    </a:cubicBezTo>
                    <a:cubicBezTo>
                      <a:pt x="601" y="64"/>
                      <a:pt x="601" y="64"/>
                      <a:pt x="601" y="64"/>
                    </a:cubicBezTo>
                    <a:cubicBezTo>
                      <a:pt x="600" y="62"/>
                      <a:pt x="600" y="62"/>
                      <a:pt x="600" y="62"/>
                    </a:cubicBezTo>
                    <a:cubicBezTo>
                      <a:pt x="598" y="61"/>
                      <a:pt x="598" y="61"/>
                      <a:pt x="598" y="61"/>
                    </a:cubicBezTo>
                    <a:cubicBezTo>
                      <a:pt x="597" y="60"/>
                      <a:pt x="597" y="60"/>
                      <a:pt x="597" y="60"/>
                    </a:cubicBezTo>
                    <a:cubicBezTo>
                      <a:pt x="597" y="63"/>
                      <a:pt x="597" y="63"/>
                      <a:pt x="597" y="63"/>
                    </a:cubicBezTo>
                    <a:cubicBezTo>
                      <a:pt x="588" y="60"/>
                      <a:pt x="588" y="60"/>
                      <a:pt x="588" y="60"/>
                    </a:cubicBezTo>
                    <a:cubicBezTo>
                      <a:pt x="583" y="57"/>
                      <a:pt x="583" y="57"/>
                      <a:pt x="583" y="57"/>
                    </a:cubicBezTo>
                    <a:cubicBezTo>
                      <a:pt x="584" y="57"/>
                      <a:pt x="584" y="57"/>
                      <a:pt x="584" y="57"/>
                    </a:cubicBezTo>
                    <a:cubicBezTo>
                      <a:pt x="585" y="58"/>
                      <a:pt x="585" y="58"/>
                      <a:pt x="585" y="58"/>
                    </a:cubicBezTo>
                    <a:cubicBezTo>
                      <a:pt x="589" y="58"/>
                      <a:pt x="589" y="58"/>
                      <a:pt x="589" y="58"/>
                    </a:cubicBezTo>
                    <a:cubicBezTo>
                      <a:pt x="591" y="59"/>
                      <a:pt x="591" y="59"/>
                      <a:pt x="591" y="59"/>
                    </a:cubicBezTo>
                    <a:cubicBezTo>
                      <a:pt x="593" y="59"/>
                      <a:pt x="593" y="59"/>
                      <a:pt x="593" y="59"/>
                    </a:cubicBezTo>
                    <a:cubicBezTo>
                      <a:pt x="594" y="58"/>
                      <a:pt x="594" y="58"/>
                      <a:pt x="594" y="58"/>
                    </a:cubicBezTo>
                    <a:cubicBezTo>
                      <a:pt x="594" y="57"/>
                      <a:pt x="594" y="57"/>
                      <a:pt x="594" y="57"/>
                    </a:cubicBezTo>
                    <a:cubicBezTo>
                      <a:pt x="592" y="56"/>
                      <a:pt x="592" y="56"/>
                      <a:pt x="592" y="56"/>
                    </a:cubicBezTo>
                    <a:cubicBezTo>
                      <a:pt x="590" y="54"/>
                      <a:pt x="590" y="54"/>
                      <a:pt x="590" y="54"/>
                    </a:cubicBezTo>
                    <a:cubicBezTo>
                      <a:pt x="583" y="54"/>
                      <a:pt x="583" y="54"/>
                      <a:pt x="583" y="54"/>
                    </a:cubicBezTo>
                    <a:cubicBezTo>
                      <a:pt x="585" y="52"/>
                      <a:pt x="585" y="52"/>
                      <a:pt x="585" y="52"/>
                    </a:cubicBezTo>
                    <a:cubicBezTo>
                      <a:pt x="584" y="51"/>
                      <a:pt x="584" y="51"/>
                      <a:pt x="584" y="51"/>
                    </a:cubicBezTo>
                    <a:cubicBezTo>
                      <a:pt x="582" y="50"/>
                      <a:pt x="582" y="50"/>
                      <a:pt x="582" y="50"/>
                    </a:cubicBezTo>
                    <a:cubicBezTo>
                      <a:pt x="577" y="50"/>
                      <a:pt x="577" y="50"/>
                      <a:pt x="577" y="50"/>
                    </a:cubicBezTo>
                    <a:cubicBezTo>
                      <a:pt x="579" y="47"/>
                      <a:pt x="579" y="47"/>
                      <a:pt x="579" y="47"/>
                    </a:cubicBezTo>
                    <a:cubicBezTo>
                      <a:pt x="578" y="47"/>
                      <a:pt x="578" y="47"/>
                      <a:pt x="578" y="47"/>
                    </a:cubicBezTo>
                    <a:cubicBezTo>
                      <a:pt x="577" y="46"/>
                      <a:pt x="577" y="46"/>
                      <a:pt x="577" y="46"/>
                    </a:cubicBezTo>
                    <a:cubicBezTo>
                      <a:pt x="573" y="46"/>
                      <a:pt x="573" y="46"/>
                      <a:pt x="573" y="46"/>
                    </a:cubicBezTo>
                    <a:cubicBezTo>
                      <a:pt x="571" y="45"/>
                      <a:pt x="571" y="45"/>
                      <a:pt x="571" y="45"/>
                    </a:cubicBezTo>
                    <a:cubicBezTo>
                      <a:pt x="569" y="45"/>
                      <a:pt x="569" y="45"/>
                      <a:pt x="569" y="45"/>
                    </a:cubicBezTo>
                    <a:cubicBezTo>
                      <a:pt x="568" y="44"/>
                      <a:pt x="568" y="44"/>
                      <a:pt x="568" y="44"/>
                    </a:cubicBezTo>
                    <a:cubicBezTo>
                      <a:pt x="566" y="44"/>
                      <a:pt x="566" y="44"/>
                      <a:pt x="566" y="44"/>
                    </a:cubicBezTo>
                    <a:cubicBezTo>
                      <a:pt x="565" y="43"/>
                      <a:pt x="565" y="43"/>
                      <a:pt x="565" y="43"/>
                    </a:cubicBezTo>
                    <a:cubicBezTo>
                      <a:pt x="558" y="43"/>
                      <a:pt x="558" y="43"/>
                      <a:pt x="558" y="43"/>
                    </a:cubicBezTo>
                    <a:cubicBezTo>
                      <a:pt x="556" y="44"/>
                      <a:pt x="556" y="44"/>
                      <a:pt x="556" y="44"/>
                    </a:cubicBezTo>
                    <a:cubicBezTo>
                      <a:pt x="550" y="44"/>
                      <a:pt x="550" y="44"/>
                      <a:pt x="550" y="44"/>
                    </a:cubicBezTo>
                    <a:cubicBezTo>
                      <a:pt x="547" y="43"/>
                      <a:pt x="547" y="43"/>
                      <a:pt x="547" y="43"/>
                    </a:cubicBezTo>
                    <a:cubicBezTo>
                      <a:pt x="546" y="42"/>
                      <a:pt x="546" y="42"/>
                      <a:pt x="546" y="42"/>
                    </a:cubicBezTo>
                    <a:cubicBezTo>
                      <a:pt x="545" y="42"/>
                      <a:pt x="545" y="42"/>
                      <a:pt x="545" y="42"/>
                    </a:cubicBezTo>
                    <a:cubicBezTo>
                      <a:pt x="541" y="43"/>
                      <a:pt x="541" y="43"/>
                      <a:pt x="541" y="43"/>
                    </a:cubicBezTo>
                    <a:cubicBezTo>
                      <a:pt x="541" y="41"/>
                      <a:pt x="541" y="41"/>
                      <a:pt x="541" y="41"/>
                    </a:cubicBezTo>
                    <a:cubicBezTo>
                      <a:pt x="533" y="40"/>
                      <a:pt x="533" y="40"/>
                      <a:pt x="533" y="40"/>
                    </a:cubicBezTo>
                    <a:cubicBezTo>
                      <a:pt x="531" y="38"/>
                      <a:pt x="531" y="38"/>
                      <a:pt x="531" y="38"/>
                    </a:cubicBezTo>
                    <a:cubicBezTo>
                      <a:pt x="530" y="41"/>
                      <a:pt x="530" y="41"/>
                      <a:pt x="530" y="41"/>
                    </a:cubicBezTo>
                    <a:cubicBezTo>
                      <a:pt x="527" y="42"/>
                      <a:pt x="527" y="42"/>
                      <a:pt x="527" y="42"/>
                    </a:cubicBezTo>
                    <a:cubicBezTo>
                      <a:pt x="532" y="45"/>
                      <a:pt x="532" y="45"/>
                      <a:pt x="532" y="45"/>
                    </a:cubicBezTo>
                    <a:cubicBezTo>
                      <a:pt x="536" y="50"/>
                      <a:pt x="536" y="50"/>
                      <a:pt x="536" y="50"/>
                    </a:cubicBezTo>
                    <a:cubicBezTo>
                      <a:pt x="528" y="49"/>
                      <a:pt x="528" y="49"/>
                      <a:pt x="528" y="49"/>
                    </a:cubicBezTo>
                    <a:cubicBezTo>
                      <a:pt x="527" y="48"/>
                      <a:pt x="527" y="48"/>
                      <a:pt x="527" y="48"/>
                    </a:cubicBezTo>
                    <a:cubicBezTo>
                      <a:pt x="516" y="49"/>
                      <a:pt x="516" y="49"/>
                      <a:pt x="516" y="49"/>
                    </a:cubicBezTo>
                    <a:cubicBezTo>
                      <a:pt x="513" y="50"/>
                      <a:pt x="513" y="50"/>
                      <a:pt x="513" y="50"/>
                    </a:cubicBezTo>
                    <a:cubicBezTo>
                      <a:pt x="513" y="48"/>
                      <a:pt x="513" y="48"/>
                      <a:pt x="513" y="48"/>
                    </a:cubicBezTo>
                    <a:cubicBezTo>
                      <a:pt x="505" y="49"/>
                      <a:pt x="505" y="49"/>
                      <a:pt x="505" y="49"/>
                    </a:cubicBezTo>
                    <a:cubicBezTo>
                      <a:pt x="504" y="47"/>
                      <a:pt x="504" y="47"/>
                      <a:pt x="504" y="47"/>
                    </a:cubicBezTo>
                    <a:cubicBezTo>
                      <a:pt x="495" y="47"/>
                      <a:pt x="495" y="47"/>
                      <a:pt x="495" y="47"/>
                    </a:cubicBezTo>
                    <a:cubicBezTo>
                      <a:pt x="489" y="46"/>
                      <a:pt x="489" y="46"/>
                      <a:pt x="489" y="46"/>
                    </a:cubicBezTo>
                    <a:cubicBezTo>
                      <a:pt x="492" y="42"/>
                      <a:pt x="492" y="42"/>
                      <a:pt x="492" y="42"/>
                    </a:cubicBezTo>
                    <a:cubicBezTo>
                      <a:pt x="471" y="42"/>
                      <a:pt x="471" y="42"/>
                      <a:pt x="471" y="42"/>
                    </a:cubicBezTo>
                    <a:cubicBezTo>
                      <a:pt x="469" y="40"/>
                      <a:pt x="469" y="40"/>
                      <a:pt x="469" y="40"/>
                    </a:cubicBezTo>
                    <a:cubicBezTo>
                      <a:pt x="468" y="41"/>
                      <a:pt x="468" y="41"/>
                      <a:pt x="468" y="41"/>
                    </a:cubicBezTo>
                    <a:cubicBezTo>
                      <a:pt x="466" y="40"/>
                      <a:pt x="466" y="40"/>
                      <a:pt x="466" y="40"/>
                    </a:cubicBezTo>
                    <a:cubicBezTo>
                      <a:pt x="458" y="41"/>
                      <a:pt x="458" y="41"/>
                      <a:pt x="458" y="41"/>
                    </a:cubicBezTo>
                    <a:cubicBezTo>
                      <a:pt x="459" y="43"/>
                      <a:pt x="459" y="43"/>
                      <a:pt x="459" y="43"/>
                    </a:cubicBezTo>
                    <a:cubicBezTo>
                      <a:pt x="449" y="42"/>
                      <a:pt x="449" y="42"/>
                      <a:pt x="449" y="42"/>
                    </a:cubicBezTo>
                    <a:cubicBezTo>
                      <a:pt x="447" y="43"/>
                      <a:pt x="447" y="43"/>
                      <a:pt x="447" y="43"/>
                    </a:cubicBezTo>
                    <a:cubicBezTo>
                      <a:pt x="452" y="45"/>
                      <a:pt x="452" y="45"/>
                      <a:pt x="452" y="45"/>
                    </a:cubicBezTo>
                    <a:cubicBezTo>
                      <a:pt x="445" y="44"/>
                      <a:pt x="445" y="44"/>
                      <a:pt x="445" y="44"/>
                    </a:cubicBezTo>
                    <a:cubicBezTo>
                      <a:pt x="445" y="41"/>
                      <a:pt x="445" y="41"/>
                      <a:pt x="445" y="41"/>
                    </a:cubicBezTo>
                    <a:cubicBezTo>
                      <a:pt x="440" y="38"/>
                      <a:pt x="440" y="38"/>
                      <a:pt x="440" y="38"/>
                    </a:cubicBezTo>
                    <a:cubicBezTo>
                      <a:pt x="438" y="38"/>
                      <a:pt x="438" y="38"/>
                      <a:pt x="438" y="38"/>
                    </a:cubicBezTo>
                    <a:cubicBezTo>
                      <a:pt x="439" y="41"/>
                      <a:pt x="439" y="41"/>
                      <a:pt x="439" y="41"/>
                    </a:cubicBezTo>
                    <a:cubicBezTo>
                      <a:pt x="431" y="41"/>
                      <a:pt x="431" y="41"/>
                      <a:pt x="431" y="41"/>
                    </a:cubicBezTo>
                    <a:cubicBezTo>
                      <a:pt x="430" y="40"/>
                      <a:pt x="430" y="40"/>
                      <a:pt x="430" y="40"/>
                    </a:cubicBezTo>
                    <a:cubicBezTo>
                      <a:pt x="428" y="40"/>
                      <a:pt x="428" y="40"/>
                      <a:pt x="428" y="40"/>
                    </a:cubicBezTo>
                    <a:cubicBezTo>
                      <a:pt x="427" y="38"/>
                      <a:pt x="427" y="38"/>
                      <a:pt x="427" y="38"/>
                    </a:cubicBezTo>
                    <a:cubicBezTo>
                      <a:pt x="422" y="38"/>
                      <a:pt x="422" y="38"/>
                      <a:pt x="422" y="38"/>
                    </a:cubicBezTo>
                    <a:cubicBezTo>
                      <a:pt x="418" y="36"/>
                      <a:pt x="418" y="36"/>
                      <a:pt x="418" y="36"/>
                    </a:cubicBezTo>
                    <a:cubicBezTo>
                      <a:pt x="413" y="40"/>
                      <a:pt x="413" y="40"/>
                      <a:pt x="413" y="40"/>
                    </a:cubicBezTo>
                    <a:cubicBezTo>
                      <a:pt x="422" y="41"/>
                      <a:pt x="422" y="41"/>
                      <a:pt x="422" y="41"/>
                    </a:cubicBezTo>
                    <a:cubicBezTo>
                      <a:pt x="424" y="41"/>
                      <a:pt x="424" y="41"/>
                      <a:pt x="424" y="41"/>
                    </a:cubicBezTo>
                    <a:cubicBezTo>
                      <a:pt x="423" y="42"/>
                      <a:pt x="423" y="42"/>
                      <a:pt x="423" y="42"/>
                    </a:cubicBezTo>
                    <a:cubicBezTo>
                      <a:pt x="421" y="43"/>
                      <a:pt x="421" y="43"/>
                      <a:pt x="421" y="43"/>
                    </a:cubicBezTo>
                    <a:cubicBezTo>
                      <a:pt x="420" y="44"/>
                      <a:pt x="420" y="44"/>
                      <a:pt x="420" y="44"/>
                    </a:cubicBezTo>
                    <a:cubicBezTo>
                      <a:pt x="414" y="44"/>
                      <a:pt x="414" y="44"/>
                      <a:pt x="414" y="44"/>
                    </a:cubicBezTo>
                    <a:cubicBezTo>
                      <a:pt x="413" y="45"/>
                      <a:pt x="413" y="45"/>
                      <a:pt x="413" y="45"/>
                    </a:cubicBezTo>
                    <a:cubicBezTo>
                      <a:pt x="411" y="46"/>
                      <a:pt x="411" y="46"/>
                      <a:pt x="411" y="46"/>
                    </a:cubicBezTo>
                    <a:cubicBezTo>
                      <a:pt x="399" y="46"/>
                      <a:pt x="399" y="46"/>
                      <a:pt x="399" y="46"/>
                    </a:cubicBezTo>
                    <a:cubicBezTo>
                      <a:pt x="393" y="47"/>
                      <a:pt x="393" y="47"/>
                      <a:pt x="393" y="47"/>
                    </a:cubicBezTo>
                    <a:cubicBezTo>
                      <a:pt x="391" y="51"/>
                      <a:pt x="391" y="51"/>
                      <a:pt x="391" y="51"/>
                    </a:cubicBezTo>
                    <a:cubicBezTo>
                      <a:pt x="387" y="50"/>
                      <a:pt x="387" y="50"/>
                      <a:pt x="387" y="50"/>
                    </a:cubicBezTo>
                    <a:cubicBezTo>
                      <a:pt x="387" y="48"/>
                      <a:pt x="387" y="48"/>
                      <a:pt x="387" y="48"/>
                    </a:cubicBezTo>
                    <a:cubicBezTo>
                      <a:pt x="388" y="46"/>
                      <a:pt x="388" y="46"/>
                      <a:pt x="388" y="46"/>
                    </a:cubicBezTo>
                    <a:cubicBezTo>
                      <a:pt x="389" y="45"/>
                      <a:pt x="389" y="45"/>
                      <a:pt x="389" y="45"/>
                    </a:cubicBezTo>
                    <a:cubicBezTo>
                      <a:pt x="391" y="44"/>
                      <a:pt x="391" y="44"/>
                      <a:pt x="391" y="44"/>
                    </a:cubicBezTo>
                    <a:cubicBezTo>
                      <a:pt x="394" y="44"/>
                      <a:pt x="394" y="44"/>
                      <a:pt x="394" y="44"/>
                    </a:cubicBezTo>
                    <a:cubicBezTo>
                      <a:pt x="396" y="42"/>
                      <a:pt x="396" y="42"/>
                      <a:pt x="396" y="42"/>
                    </a:cubicBezTo>
                    <a:cubicBezTo>
                      <a:pt x="403" y="41"/>
                      <a:pt x="403" y="41"/>
                      <a:pt x="403" y="41"/>
                    </a:cubicBezTo>
                    <a:cubicBezTo>
                      <a:pt x="410" y="35"/>
                      <a:pt x="410" y="35"/>
                      <a:pt x="410" y="35"/>
                    </a:cubicBezTo>
                    <a:cubicBezTo>
                      <a:pt x="410" y="33"/>
                      <a:pt x="410" y="33"/>
                      <a:pt x="410" y="33"/>
                    </a:cubicBezTo>
                    <a:cubicBezTo>
                      <a:pt x="411" y="32"/>
                      <a:pt x="411" y="32"/>
                      <a:pt x="411" y="32"/>
                    </a:cubicBezTo>
                    <a:cubicBezTo>
                      <a:pt x="413" y="31"/>
                      <a:pt x="413" y="31"/>
                      <a:pt x="413" y="31"/>
                    </a:cubicBezTo>
                    <a:cubicBezTo>
                      <a:pt x="415" y="31"/>
                      <a:pt x="415" y="31"/>
                      <a:pt x="415" y="31"/>
                    </a:cubicBezTo>
                    <a:cubicBezTo>
                      <a:pt x="417" y="30"/>
                      <a:pt x="417" y="30"/>
                      <a:pt x="417" y="30"/>
                    </a:cubicBezTo>
                    <a:cubicBezTo>
                      <a:pt x="419" y="30"/>
                      <a:pt x="419" y="30"/>
                      <a:pt x="419" y="30"/>
                    </a:cubicBezTo>
                    <a:cubicBezTo>
                      <a:pt x="422" y="29"/>
                      <a:pt x="422" y="29"/>
                      <a:pt x="422" y="29"/>
                    </a:cubicBezTo>
                    <a:cubicBezTo>
                      <a:pt x="424" y="29"/>
                      <a:pt x="424" y="29"/>
                      <a:pt x="424" y="29"/>
                    </a:cubicBezTo>
                    <a:cubicBezTo>
                      <a:pt x="426" y="28"/>
                      <a:pt x="426" y="28"/>
                      <a:pt x="426" y="28"/>
                    </a:cubicBezTo>
                    <a:cubicBezTo>
                      <a:pt x="427" y="27"/>
                      <a:pt x="427" y="27"/>
                      <a:pt x="427" y="27"/>
                    </a:cubicBezTo>
                    <a:cubicBezTo>
                      <a:pt x="428" y="25"/>
                      <a:pt x="428" y="25"/>
                      <a:pt x="428" y="25"/>
                    </a:cubicBezTo>
                    <a:cubicBezTo>
                      <a:pt x="427" y="23"/>
                      <a:pt x="427" y="23"/>
                      <a:pt x="427" y="23"/>
                    </a:cubicBezTo>
                    <a:cubicBezTo>
                      <a:pt x="426" y="22"/>
                      <a:pt x="426" y="22"/>
                      <a:pt x="426" y="22"/>
                    </a:cubicBezTo>
                    <a:cubicBezTo>
                      <a:pt x="424" y="21"/>
                      <a:pt x="424" y="21"/>
                      <a:pt x="424" y="21"/>
                    </a:cubicBezTo>
                    <a:cubicBezTo>
                      <a:pt x="423" y="20"/>
                      <a:pt x="423" y="20"/>
                      <a:pt x="423" y="20"/>
                    </a:cubicBezTo>
                    <a:cubicBezTo>
                      <a:pt x="417" y="20"/>
                      <a:pt x="417" y="20"/>
                      <a:pt x="417" y="20"/>
                    </a:cubicBezTo>
                    <a:cubicBezTo>
                      <a:pt x="422" y="18"/>
                      <a:pt x="422" y="18"/>
                      <a:pt x="422" y="18"/>
                    </a:cubicBezTo>
                    <a:cubicBezTo>
                      <a:pt x="421" y="17"/>
                      <a:pt x="421" y="17"/>
                      <a:pt x="421" y="17"/>
                    </a:cubicBezTo>
                    <a:cubicBezTo>
                      <a:pt x="419" y="16"/>
                      <a:pt x="419" y="16"/>
                      <a:pt x="419" y="16"/>
                    </a:cubicBezTo>
                    <a:cubicBezTo>
                      <a:pt x="417" y="14"/>
                      <a:pt x="417" y="14"/>
                      <a:pt x="417" y="14"/>
                    </a:cubicBezTo>
                    <a:cubicBezTo>
                      <a:pt x="416" y="14"/>
                      <a:pt x="416" y="14"/>
                      <a:pt x="416" y="14"/>
                    </a:cubicBezTo>
                    <a:cubicBezTo>
                      <a:pt x="415" y="15"/>
                      <a:pt x="415" y="15"/>
                      <a:pt x="415" y="15"/>
                    </a:cubicBezTo>
                    <a:cubicBezTo>
                      <a:pt x="411" y="15"/>
                      <a:pt x="411" y="15"/>
                      <a:pt x="411" y="15"/>
                    </a:cubicBezTo>
                    <a:cubicBezTo>
                      <a:pt x="410" y="14"/>
                      <a:pt x="410" y="14"/>
                      <a:pt x="410" y="14"/>
                    </a:cubicBezTo>
                    <a:cubicBezTo>
                      <a:pt x="409" y="12"/>
                      <a:pt x="409" y="12"/>
                      <a:pt x="409" y="12"/>
                    </a:cubicBezTo>
                    <a:cubicBezTo>
                      <a:pt x="408" y="11"/>
                      <a:pt x="408" y="11"/>
                      <a:pt x="408" y="11"/>
                    </a:cubicBezTo>
                    <a:cubicBezTo>
                      <a:pt x="401" y="11"/>
                      <a:pt x="401" y="11"/>
                      <a:pt x="401" y="11"/>
                    </a:cubicBezTo>
                    <a:cubicBezTo>
                      <a:pt x="400" y="12"/>
                      <a:pt x="400" y="12"/>
                      <a:pt x="400" y="12"/>
                    </a:cubicBezTo>
                    <a:cubicBezTo>
                      <a:pt x="399" y="12"/>
                      <a:pt x="399" y="12"/>
                      <a:pt x="399" y="12"/>
                    </a:cubicBezTo>
                    <a:cubicBezTo>
                      <a:pt x="390" y="10"/>
                      <a:pt x="390" y="10"/>
                      <a:pt x="390" y="10"/>
                    </a:cubicBezTo>
                    <a:cubicBezTo>
                      <a:pt x="367" y="9"/>
                      <a:pt x="367" y="9"/>
                      <a:pt x="367" y="9"/>
                    </a:cubicBezTo>
                    <a:cubicBezTo>
                      <a:pt x="367" y="12"/>
                      <a:pt x="367" y="12"/>
                      <a:pt x="367" y="12"/>
                    </a:cubicBezTo>
                    <a:cubicBezTo>
                      <a:pt x="356" y="12"/>
                      <a:pt x="356" y="12"/>
                      <a:pt x="356" y="12"/>
                    </a:cubicBezTo>
                    <a:cubicBezTo>
                      <a:pt x="359" y="9"/>
                      <a:pt x="359" y="9"/>
                      <a:pt x="359" y="9"/>
                    </a:cubicBezTo>
                    <a:cubicBezTo>
                      <a:pt x="359" y="8"/>
                      <a:pt x="359" y="8"/>
                      <a:pt x="359" y="8"/>
                    </a:cubicBezTo>
                    <a:cubicBezTo>
                      <a:pt x="358" y="7"/>
                      <a:pt x="358" y="7"/>
                      <a:pt x="358" y="7"/>
                    </a:cubicBezTo>
                    <a:cubicBezTo>
                      <a:pt x="354" y="6"/>
                      <a:pt x="354" y="6"/>
                      <a:pt x="354" y="6"/>
                    </a:cubicBezTo>
                    <a:cubicBezTo>
                      <a:pt x="349" y="6"/>
                      <a:pt x="349" y="6"/>
                      <a:pt x="349" y="6"/>
                    </a:cubicBezTo>
                    <a:cubicBezTo>
                      <a:pt x="344" y="7"/>
                      <a:pt x="344" y="7"/>
                      <a:pt x="344" y="7"/>
                    </a:cubicBezTo>
                    <a:cubicBezTo>
                      <a:pt x="342" y="7"/>
                      <a:pt x="342" y="7"/>
                      <a:pt x="342" y="7"/>
                    </a:cubicBezTo>
                    <a:cubicBezTo>
                      <a:pt x="332" y="6"/>
                      <a:pt x="332" y="6"/>
                      <a:pt x="332" y="6"/>
                    </a:cubicBezTo>
                    <a:cubicBezTo>
                      <a:pt x="334" y="6"/>
                      <a:pt x="334" y="6"/>
                      <a:pt x="334" y="6"/>
                    </a:cubicBezTo>
                    <a:cubicBezTo>
                      <a:pt x="337" y="5"/>
                      <a:pt x="337" y="5"/>
                      <a:pt x="337" y="5"/>
                    </a:cubicBezTo>
                    <a:cubicBezTo>
                      <a:pt x="339" y="5"/>
                      <a:pt x="339" y="5"/>
                      <a:pt x="339" y="5"/>
                    </a:cubicBezTo>
                    <a:cubicBezTo>
                      <a:pt x="341" y="4"/>
                      <a:pt x="341" y="4"/>
                      <a:pt x="341" y="4"/>
                    </a:cubicBezTo>
                    <a:cubicBezTo>
                      <a:pt x="342" y="4"/>
                      <a:pt x="342" y="4"/>
                      <a:pt x="342" y="4"/>
                    </a:cubicBezTo>
                    <a:cubicBezTo>
                      <a:pt x="342" y="3"/>
                      <a:pt x="342" y="3"/>
                      <a:pt x="342" y="3"/>
                    </a:cubicBezTo>
                    <a:cubicBezTo>
                      <a:pt x="341" y="2"/>
                      <a:pt x="341" y="2"/>
                      <a:pt x="341" y="2"/>
                    </a:cubicBezTo>
                    <a:cubicBezTo>
                      <a:pt x="339" y="2"/>
                      <a:pt x="339" y="2"/>
                      <a:pt x="339" y="2"/>
                    </a:cubicBezTo>
                    <a:cubicBezTo>
                      <a:pt x="336" y="1"/>
                      <a:pt x="336" y="1"/>
                      <a:pt x="336" y="1"/>
                    </a:cubicBezTo>
                    <a:cubicBezTo>
                      <a:pt x="329" y="1"/>
                      <a:pt x="329" y="1"/>
                      <a:pt x="329" y="1"/>
                    </a:cubicBezTo>
                    <a:cubicBezTo>
                      <a:pt x="322" y="0"/>
                      <a:pt x="322" y="0"/>
                      <a:pt x="322" y="0"/>
                    </a:cubicBezTo>
                    <a:cubicBezTo>
                      <a:pt x="321" y="2"/>
                      <a:pt x="321" y="2"/>
                      <a:pt x="321" y="2"/>
                    </a:cubicBezTo>
                    <a:cubicBezTo>
                      <a:pt x="316" y="2"/>
                      <a:pt x="316" y="2"/>
                      <a:pt x="316" y="2"/>
                    </a:cubicBezTo>
                    <a:cubicBezTo>
                      <a:pt x="314" y="3"/>
                      <a:pt x="314" y="3"/>
                      <a:pt x="314" y="3"/>
                    </a:cubicBezTo>
                    <a:cubicBezTo>
                      <a:pt x="312" y="3"/>
                      <a:pt x="312" y="3"/>
                      <a:pt x="312" y="3"/>
                    </a:cubicBezTo>
                    <a:cubicBezTo>
                      <a:pt x="310" y="4"/>
                      <a:pt x="310" y="4"/>
                      <a:pt x="310" y="4"/>
                    </a:cubicBezTo>
                    <a:cubicBezTo>
                      <a:pt x="310" y="5"/>
                      <a:pt x="310" y="5"/>
                      <a:pt x="310" y="5"/>
                    </a:cubicBezTo>
                    <a:cubicBezTo>
                      <a:pt x="311" y="7"/>
                      <a:pt x="311" y="7"/>
                      <a:pt x="311" y="7"/>
                    </a:cubicBezTo>
                    <a:cubicBezTo>
                      <a:pt x="315" y="9"/>
                      <a:pt x="315" y="9"/>
                      <a:pt x="315" y="9"/>
                    </a:cubicBezTo>
                    <a:cubicBezTo>
                      <a:pt x="318" y="11"/>
                      <a:pt x="318" y="11"/>
                      <a:pt x="318" y="11"/>
                    </a:cubicBezTo>
                    <a:cubicBezTo>
                      <a:pt x="320" y="11"/>
                      <a:pt x="320" y="11"/>
                      <a:pt x="320" y="11"/>
                    </a:cubicBezTo>
                    <a:cubicBezTo>
                      <a:pt x="321" y="12"/>
                      <a:pt x="321" y="12"/>
                      <a:pt x="321" y="12"/>
                    </a:cubicBezTo>
                    <a:cubicBezTo>
                      <a:pt x="322" y="12"/>
                      <a:pt x="322" y="12"/>
                      <a:pt x="322" y="12"/>
                    </a:cubicBezTo>
                    <a:cubicBezTo>
                      <a:pt x="321" y="12"/>
                      <a:pt x="321" y="12"/>
                      <a:pt x="321" y="12"/>
                    </a:cubicBezTo>
                    <a:cubicBezTo>
                      <a:pt x="321" y="12"/>
                      <a:pt x="321" y="12"/>
                      <a:pt x="321" y="12"/>
                    </a:cubicBezTo>
                    <a:cubicBezTo>
                      <a:pt x="298" y="11"/>
                      <a:pt x="298" y="11"/>
                      <a:pt x="298" y="11"/>
                    </a:cubicBezTo>
                    <a:cubicBezTo>
                      <a:pt x="307" y="14"/>
                      <a:pt x="307" y="14"/>
                      <a:pt x="307" y="14"/>
                    </a:cubicBezTo>
                    <a:cubicBezTo>
                      <a:pt x="298" y="16"/>
                      <a:pt x="298" y="16"/>
                      <a:pt x="298" y="16"/>
                    </a:cubicBezTo>
                    <a:cubicBezTo>
                      <a:pt x="296" y="17"/>
                      <a:pt x="296" y="17"/>
                      <a:pt x="296" y="17"/>
                    </a:cubicBezTo>
                    <a:cubicBezTo>
                      <a:pt x="291" y="18"/>
                      <a:pt x="291" y="18"/>
                      <a:pt x="291" y="18"/>
                    </a:cubicBezTo>
                    <a:cubicBezTo>
                      <a:pt x="285" y="19"/>
                      <a:pt x="285" y="19"/>
                      <a:pt x="285" y="19"/>
                    </a:cubicBezTo>
                    <a:cubicBezTo>
                      <a:pt x="281" y="19"/>
                      <a:pt x="281" y="19"/>
                      <a:pt x="281" y="19"/>
                    </a:cubicBezTo>
                    <a:cubicBezTo>
                      <a:pt x="280" y="18"/>
                      <a:pt x="280" y="18"/>
                      <a:pt x="280" y="18"/>
                    </a:cubicBezTo>
                    <a:cubicBezTo>
                      <a:pt x="281" y="16"/>
                      <a:pt x="281" y="16"/>
                      <a:pt x="281" y="16"/>
                    </a:cubicBezTo>
                    <a:cubicBezTo>
                      <a:pt x="283" y="14"/>
                      <a:pt x="283" y="14"/>
                      <a:pt x="283" y="14"/>
                    </a:cubicBezTo>
                    <a:cubicBezTo>
                      <a:pt x="272" y="14"/>
                      <a:pt x="272" y="14"/>
                      <a:pt x="272" y="14"/>
                    </a:cubicBezTo>
                    <a:cubicBezTo>
                      <a:pt x="270" y="15"/>
                      <a:pt x="270" y="15"/>
                      <a:pt x="270" y="15"/>
                    </a:cubicBezTo>
                    <a:cubicBezTo>
                      <a:pt x="267" y="15"/>
                      <a:pt x="267" y="15"/>
                      <a:pt x="267" y="15"/>
                    </a:cubicBezTo>
                    <a:cubicBezTo>
                      <a:pt x="265" y="16"/>
                      <a:pt x="265" y="16"/>
                      <a:pt x="265" y="16"/>
                    </a:cubicBezTo>
                    <a:cubicBezTo>
                      <a:pt x="263" y="18"/>
                      <a:pt x="263" y="18"/>
                      <a:pt x="263" y="18"/>
                    </a:cubicBezTo>
                    <a:cubicBezTo>
                      <a:pt x="260" y="18"/>
                      <a:pt x="260" y="18"/>
                      <a:pt x="260" y="18"/>
                    </a:cubicBezTo>
                    <a:cubicBezTo>
                      <a:pt x="255" y="19"/>
                      <a:pt x="255" y="19"/>
                      <a:pt x="255" y="19"/>
                    </a:cubicBezTo>
                    <a:cubicBezTo>
                      <a:pt x="248" y="19"/>
                      <a:pt x="248" y="19"/>
                      <a:pt x="248" y="19"/>
                    </a:cubicBezTo>
                    <a:cubicBezTo>
                      <a:pt x="243" y="20"/>
                      <a:pt x="243" y="20"/>
                      <a:pt x="243" y="20"/>
                    </a:cubicBezTo>
                    <a:cubicBezTo>
                      <a:pt x="241" y="21"/>
                      <a:pt x="241" y="21"/>
                      <a:pt x="241" y="21"/>
                    </a:cubicBezTo>
                    <a:cubicBezTo>
                      <a:pt x="238" y="21"/>
                      <a:pt x="238" y="21"/>
                      <a:pt x="238" y="21"/>
                    </a:cubicBezTo>
                    <a:cubicBezTo>
                      <a:pt x="236" y="22"/>
                      <a:pt x="236" y="22"/>
                      <a:pt x="236" y="22"/>
                    </a:cubicBezTo>
                    <a:cubicBezTo>
                      <a:pt x="233" y="22"/>
                      <a:pt x="233" y="22"/>
                      <a:pt x="233" y="22"/>
                    </a:cubicBezTo>
                    <a:cubicBezTo>
                      <a:pt x="232" y="23"/>
                      <a:pt x="232" y="23"/>
                      <a:pt x="232" y="23"/>
                    </a:cubicBezTo>
                    <a:cubicBezTo>
                      <a:pt x="231" y="23"/>
                      <a:pt x="231" y="23"/>
                      <a:pt x="231" y="23"/>
                    </a:cubicBezTo>
                    <a:cubicBezTo>
                      <a:pt x="224" y="28"/>
                      <a:pt x="224" y="28"/>
                      <a:pt x="224" y="28"/>
                    </a:cubicBezTo>
                    <a:cubicBezTo>
                      <a:pt x="221" y="28"/>
                      <a:pt x="221" y="28"/>
                      <a:pt x="221" y="28"/>
                    </a:cubicBezTo>
                    <a:cubicBezTo>
                      <a:pt x="220" y="29"/>
                      <a:pt x="220" y="29"/>
                      <a:pt x="220" y="29"/>
                    </a:cubicBezTo>
                    <a:cubicBezTo>
                      <a:pt x="219" y="29"/>
                      <a:pt x="219" y="29"/>
                      <a:pt x="219" y="29"/>
                    </a:cubicBezTo>
                    <a:cubicBezTo>
                      <a:pt x="218" y="30"/>
                      <a:pt x="218" y="30"/>
                      <a:pt x="218" y="30"/>
                    </a:cubicBezTo>
                    <a:cubicBezTo>
                      <a:pt x="219" y="31"/>
                      <a:pt x="219" y="31"/>
                      <a:pt x="219" y="31"/>
                    </a:cubicBezTo>
                    <a:cubicBezTo>
                      <a:pt x="222" y="33"/>
                      <a:pt x="222" y="33"/>
                      <a:pt x="222" y="33"/>
                    </a:cubicBezTo>
                    <a:cubicBezTo>
                      <a:pt x="224" y="35"/>
                      <a:pt x="224" y="35"/>
                      <a:pt x="224" y="35"/>
                    </a:cubicBezTo>
                    <a:cubicBezTo>
                      <a:pt x="227" y="36"/>
                      <a:pt x="227" y="36"/>
                      <a:pt x="227" y="36"/>
                    </a:cubicBezTo>
                    <a:cubicBezTo>
                      <a:pt x="228" y="37"/>
                      <a:pt x="228" y="37"/>
                      <a:pt x="228" y="37"/>
                    </a:cubicBezTo>
                    <a:cubicBezTo>
                      <a:pt x="229" y="37"/>
                      <a:pt x="229" y="37"/>
                      <a:pt x="229" y="37"/>
                    </a:cubicBezTo>
                    <a:cubicBezTo>
                      <a:pt x="222" y="39"/>
                      <a:pt x="222" y="39"/>
                      <a:pt x="222" y="39"/>
                    </a:cubicBezTo>
                    <a:cubicBezTo>
                      <a:pt x="218" y="41"/>
                      <a:pt x="218" y="41"/>
                      <a:pt x="218" y="41"/>
                    </a:cubicBezTo>
                    <a:cubicBezTo>
                      <a:pt x="201" y="41"/>
                      <a:pt x="201" y="41"/>
                      <a:pt x="201" y="41"/>
                    </a:cubicBezTo>
                    <a:cubicBezTo>
                      <a:pt x="200" y="42"/>
                      <a:pt x="200" y="42"/>
                      <a:pt x="200" y="42"/>
                    </a:cubicBezTo>
                    <a:cubicBezTo>
                      <a:pt x="194" y="40"/>
                      <a:pt x="194" y="40"/>
                      <a:pt x="194" y="40"/>
                    </a:cubicBezTo>
                    <a:cubicBezTo>
                      <a:pt x="191" y="41"/>
                      <a:pt x="191" y="41"/>
                      <a:pt x="191" y="41"/>
                    </a:cubicBezTo>
                    <a:cubicBezTo>
                      <a:pt x="182" y="41"/>
                      <a:pt x="182" y="41"/>
                      <a:pt x="182" y="41"/>
                    </a:cubicBezTo>
                    <a:cubicBezTo>
                      <a:pt x="181" y="42"/>
                      <a:pt x="181" y="42"/>
                      <a:pt x="181" y="42"/>
                    </a:cubicBezTo>
                    <a:cubicBezTo>
                      <a:pt x="181" y="45"/>
                      <a:pt x="181" y="45"/>
                      <a:pt x="181" y="45"/>
                    </a:cubicBezTo>
                    <a:cubicBezTo>
                      <a:pt x="182" y="47"/>
                      <a:pt x="182" y="47"/>
                      <a:pt x="182" y="47"/>
                    </a:cubicBezTo>
                    <a:cubicBezTo>
                      <a:pt x="184" y="49"/>
                      <a:pt x="184" y="49"/>
                      <a:pt x="184" y="49"/>
                    </a:cubicBezTo>
                    <a:cubicBezTo>
                      <a:pt x="185" y="49"/>
                      <a:pt x="185" y="49"/>
                      <a:pt x="185" y="49"/>
                    </a:cubicBezTo>
                    <a:cubicBezTo>
                      <a:pt x="186" y="50"/>
                      <a:pt x="186" y="50"/>
                      <a:pt x="186" y="50"/>
                    </a:cubicBezTo>
                    <a:cubicBezTo>
                      <a:pt x="187" y="52"/>
                      <a:pt x="187" y="52"/>
                      <a:pt x="187" y="52"/>
                    </a:cubicBezTo>
                    <a:cubicBezTo>
                      <a:pt x="188" y="53"/>
                      <a:pt x="188" y="53"/>
                      <a:pt x="188" y="53"/>
                    </a:cubicBezTo>
                    <a:cubicBezTo>
                      <a:pt x="189" y="53"/>
                      <a:pt x="189" y="53"/>
                      <a:pt x="189" y="53"/>
                    </a:cubicBezTo>
                    <a:cubicBezTo>
                      <a:pt x="190" y="54"/>
                      <a:pt x="190" y="54"/>
                      <a:pt x="190" y="54"/>
                    </a:cubicBezTo>
                    <a:cubicBezTo>
                      <a:pt x="192" y="54"/>
                      <a:pt x="192" y="54"/>
                      <a:pt x="192" y="54"/>
                    </a:cubicBezTo>
                    <a:cubicBezTo>
                      <a:pt x="194" y="55"/>
                      <a:pt x="194" y="55"/>
                      <a:pt x="194" y="55"/>
                    </a:cubicBezTo>
                    <a:cubicBezTo>
                      <a:pt x="196" y="55"/>
                      <a:pt x="196" y="55"/>
                      <a:pt x="196" y="55"/>
                    </a:cubicBezTo>
                    <a:cubicBezTo>
                      <a:pt x="198" y="56"/>
                      <a:pt x="198" y="56"/>
                      <a:pt x="198" y="56"/>
                    </a:cubicBezTo>
                    <a:cubicBezTo>
                      <a:pt x="201" y="56"/>
                      <a:pt x="201" y="56"/>
                      <a:pt x="201" y="56"/>
                    </a:cubicBezTo>
                    <a:cubicBezTo>
                      <a:pt x="204" y="57"/>
                      <a:pt x="204" y="57"/>
                      <a:pt x="204" y="57"/>
                    </a:cubicBezTo>
                    <a:cubicBezTo>
                      <a:pt x="206" y="57"/>
                      <a:pt x="206" y="57"/>
                      <a:pt x="206" y="57"/>
                    </a:cubicBezTo>
                    <a:cubicBezTo>
                      <a:pt x="208" y="58"/>
                      <a:pt x="208" y="58"/>
                      <a:pt x="208" y="58"/>
                    </a:cubicBezTo>
                    <a:cubicBezTo>
                      <a:pt x="209" y="58"/>
                      <a:pt x="209" y="58"/>
                      <a:pt x="209" y="58"/>
                    </a:cubicBezTo>
                    <a:cubicBezTo>
                      <a:pt x="211" y="60"/>
                      <a:pt x="211" y="60"/>
                      <a:pt x="211" y="60"/>
                    </a:cubicBezTo>
                    <a:cubicBezTo>
                      <a:pt x="211" y="61"/>
                      <a:pt x="211" y="61"/>
                      <a:pt x="211" y="61"/>
                    </a:cubicBezTo>
                    <a:cubicBezTo>
                      <a:pt x="212" y="62"/>
                      <a:pt x="212" y="62"/>
                      <a:pt x="212" y="62"/>
                    </a:cubicBezTo>
                    <a:cubicBezTo>
                      <a:pt x="207" y="62"/>
                      <a:pt x="207" y="62"/>
                      <a:pt x="207" y="62"/>
                    </a:cubicBezTo>
                    <a:cubicBezTo>
                      <a:pt x="204" y="63"/>
                      <a:pt x="204" y="63"/>
                      <a:pt x="204" y="63"/>
                    </a:cubicBezTo>
                    <a:cubicBezTo>
                      <a:pt x="202" y="63"/>
                      <a:pt x="202" y="63"/>
                      <a:pt x="202" y="63"/>
                    </a:cubicBezTo>
                    <a:cubicBezTo>
                      <a:pt x="196" y="60"/>
                      <a:pt x="196" y="60"/>
                      <a:pt x="196" y="60"/>
                    </a:cubicBezTo>
                    <a:cubicBezTo>
                      <a:pt x="190" y="58"/>
                      <a:pt x="190" y="58"/>
                      <a:pt x="190" y="58"/>
                    </a:cubicBezTo>
                    <a:cubicBezTo>
                      <a:pt x="186" y="57"/>
                      <a:pt x="186" y="57"/>
                      <a:pt x="186" y="57"/>
                    </a:cubicBezTo>
                    <a:cubicBezTo>
                      <a:pt x="183" y="56"/>
                      <a:pt x="183" y="56"/>
                      <a:pt x="183" y="56"/>
                    </a:cubicBezTo>
                    <a:cubicBezTo>
                      <a:pt x="179" y="56"/>
                      <a:pt x="179" y="56"/>
                      <a:pt x="179" y="56"/>
                    </a:cubicBezTo>
                    <a:cubicBezTo>
                      <a:pt x="176" y="55"/>
                      <a:pt x="176" y="55"/>
                      <a:pt x="176" y="55"/>
                    </a:cubicBezTo>
                    <a:cubicBezTo>
                      <a:pt x="169" y="55"/>
                      <a:pt x="169" y="55"/>
                      <a:pt x="169" y="55"/>
                    </a:cubicBezTo>
                    <a:cubicBezTo>
                      <a:pt x="168" y="56"/>
                      <a:pt x="168" y="56"/>
                      <a:pt x="168" y="56"/>
                    </a:cubicBezTo>
                    <a:cubicBezTo>
                      <a:pt x="168" y="58"/>
                      <a:pt x="168" y="58"/>
                      <a:pt x="168" y="58"/>
                    </a:cubicBezTo>
                    <a:cubicBezTo>
                      <a:pt x="169" y="59"/>
                      <a:pt x="169" y="59"/>
                      <a:pt x="169" y="59"/>
                    </a:cubicBezTo>
                    <a:cubicBezTo>
                      <a:pt x="170" y="59"/>
                      <a:pt x="170" y="59"/>
                      <a:pt x="170" y="59"/>
                    </a:cubicBezTo>
                    <a:cubicBezTo>
                      <a:pt x="172" y="61"/>
                      <a:pt x="172" y="61"/>
                      <a:pt x="172" y="61"/>
                    </a:cubicBezTo>
                    <a:cubicBezTo>
                      <a:pt x="166" y="61"/>
                      <a:pt x="166" y="61"/>
                      <a:pt x="166" y="61"/>
                    </a:cubicBezTo>
                    <a:cubicBezTo>
                      <a:pt x="164" y="59"/>
                      <a:pt x="164" y="59"/>
                      <a:pt x="164" y="59"/>
                    </a:cubicBezTo>
                    <a:cubicBezTo>
                      <a:pt x="161" y="59"/>
                      <a:pt x="161" y="59"/>
                      <a:pt x="161" y="59"/>
                    </a:cubicBezTo>
                    <a:cubicBezTo>
                      <a:pt x="160" y="58"/>
                      <a:pt x="160" y="58"/>
                      <a:pt x="160" y="58"/>
                    </a:cubicBezTo>
                    <a:cubicBezTo>
                      <a:pt x="156" y="58"/>
                      <a:pt x="156" y="58"/>
                      <a:pt x="156" y="58"/>
                    </a:cubicBezTo>
                    <a:cubicBezTo>
                      <a:pt x="156" y="59"/>
                      <a:pt x="156" y="59"/>
                      <a:pt x="156" y="59"/>
                    </a:cubicBezTo>
                    <a:cubicBezTo>
                      <a:pt x="157" y="62"/>
                      <a:pt x="157" y="62"/>
                      <a:pt x="157" y="62"/>
                    </a:cubicBezTo>
                    <a:cubicBezTo>
                      <a:pt x="158" y="64"/>
                      <a:pt x="158" y="64"/>
                      <a:pt x="158" y="64"/>
                    </a:cubicBezTo>
                    <a:cubicBezTo>
                      <a:pt x="160" y="65"/>
                      <a:pt x="160" y="65"/>
                      <a:pt x="160" y="65"/>
                    </a:cubicBezTo>
                    <a:cubicBezTo>
                      <a:pt x="163" y="66"/>
                      <a:pt x="163" y="66"/>
                      <a:pt x="163" y="66"/>
                    </a:cubicBezTo>
                    <a:cubicBezTo>
                      <a:pt x="169" y="66"/>
                      <a:pt x="169" y="66"/>
                      <a:pt x="169" y="66"/>
                    </a:cubicBezTo>
                    <a:cubicBezTo>
                      <a:pt x="172" y="67"/>
                      <a:pt x="172" y="67"/>
                      <a:pt x="172" y="67"/>
                    </a:cubicBezTo>
                    <a:cubicBezTo>
                      <a:pt x="176" y="67"/>
                      <a:pt x="176" y="67"/>
                      <a:pt x="176" y="67"/>
                    </a:cubicBezTo>
                    <a:cubicBezTo>
                      <a:pt x="178" y="68"/>
                      <a:pt x="178" y="68"/>
                      <a:pt x="178" y="68"/>
                    </a:cubicBezTo>
                    <a:cubicBezTo>
                      <a:pt x="179" y="70"/>
                      <a:pt x="179" y="70"/>
                      <a:pt x="179" y="70"/>
                    </a:cubicBezTo>
                    <a:cubicBezTo>
                      <a:pt x="181" y="71"/>
                      <a:pt x="181" y="71"/>
                      <a:pt x="181" y="71"/>
                    </a:cubicBezTo>
                    <a:cubicBezTo>
                      <a:pt x="176" y="71"/>
                      <a:pt x="176" y="71"/>
                      <a:pt x="176" y="71"/>
                    </a:cubicBezTo>
                    <a:cubicBezTo>
                      <a:pt x="175" y="70"/>
                      <a:pt x="175" y="70"/>
                      <a:pt x="175" y="70"/>
                    </a:cubicBezTo>
                    <a:cubicBezTo>
                      <a:pt x="173" y="69"/>
                      <a:pt x="173" y="69"/>
                      <a:pt x="173" y="69"/>
                    </a:cubicBezTo>
                    <a:cubicBezTo>
                      <a:pt x="164" y="69"/>
                      <a:pt x="164" y="69"/>
                      <a:pt x="164" y="69"/>
                    </a:cubicBezTo>
                    <a:cubicBezTo>
                      <a:pt x="162" y="68"/>
                      <a:pt x="162" y="68"/>
                      <a:pt x="162" y="68"/>
                    </a:cubicBezTo>
                    <a:cubicBezTo>
                      <a:pt x="157" y="68"/>
                      <a:pt x="157" y="68"/>
                      <a:pt x="157" y="68"/>
                    </a:cubicBezTo>
                    <a:cubicBezTo>
                      <a:pt x="156" y="66"/>
                      <a:pt x="156" y="66"/>
                      <a:pt x="156" y="66"/>
                    </a:cubicBezTo>
                    <a:cubicBezTo>
                      <a:pt x="152" y="66"/>
                      <a:pt x="152" y="66"/>
                      <a:pt x="152" y="66"/>
                    </a:cubicBezTo>
                    <a:cubicBezTo>
                      <a:pt x="151" y="63"/>
                      <a:pt x="151" y="63"/>
                      <a:pt x="151" y="63"/>
                    </a:cubicBezTo>
                    <a:cubicBezTo>
                      <a:pt x="146" y="61"/>
                      <a:pt x="146" y="61"/>
                      <a:pt x="146" y="61"/>
                    </a:cubicBezTo>
                    <a:cubicBezTo>
                      <a:pt x="147" y="60"/>
                      <a:pt x="147" y="60"/>
                      <a:pt x="147" y="60"/>
                    </a:cubicBezTo>
                    <a:cubicBezTo>
                      <a:pt x="149" y="59"/>
                      <a:pt x="149" y="59"/>
                      <a:pt x="149" y="59"/>
                    </a:cubicBezTo>
                    <a:cubicBezTo>
                      <a:pt x="150" y="58"/>
                      <a:pt x="150" y="58"/>
                      <a:pt x="150" y="58"/>
                    </a:cubicBezTo>
                    <a:cubicBezTo>
                      <a:pt x="150" y="56"/>
                      <a:pt x="150" y="56"/>
                      <a:pt x="150" y="56"/>
                    </a:cubicBezTo>
                    <a:cubicBezTo>
                      <a:pt x="145" y="51"/>
                      <a:pt x="145" y="51"/>
                      <a:pt x="145" y="51"/>
                    </a:cubicBezTo>
                    <a:cubicBezTo>
                      <a:pt x="143" y="50"/>
                      <a:pt x="143" y="50"/>
                      <a:pt x="143" y="50"/>
                    </a:cubicBezTo>
                    <a:cubicBezTo>
                      <a:pt x="138" y="50"/>
                      <a:pt x="138" y="50"/>
                      <a:pt x="138" y="50"/>
                    </a:cubicBezTo>
                    <a:cubicBezTo>
                      <a:pt x="140" y="51"/>
                      <a:pt x="140" y="51"/>
                      <a:pt x="140" y="51"/>
                    </a:cubicBezTo>
                    <a:cubicBezTo>
                      <a:pt x="144" y="55"/>
                      <a:pt x="144" y="55"/>
                      <a:pt x="144" y="55"/>
                    </a:cubicBezTo>
                    <a:cubicBezTo>
                      <a:pt x="142" y="57"/>
                      <a:pt x="142" y="57"/>
                      <a:pt x="142" y="57"/>
                    </a:cubicBezTo>
                    <a:cubicBezTo>
                      <a:pt x="138" y="59"/>
                      <a:pt x="138" y="59"/>
                      <a:pt x="138" y="59"/>
                    </a:cubicBezTo>
                    <a:cubicBezTo>
                      <a:pt x="136" y="59"/>
                      <a:pt x="136" y="59"/>
                      <a:pt x="136" y="59"/>
                    </a:cubicBezTo>
                    <a:cubicBezTo>
                      <a:pt x="133" y="66"/>
                      <a:pt x="133" y="66"/>
                      <a:pt x="133" y="66"/>
                    </a:cubicBezTo>
                    <a:cubicBezTo>
                      <a:pt x="145" y="72"/>
                      <a:pt x="145" y="72"/>
                      <a:pt x="145" y="72"/>
                    </a:cubicBezTo>
                    <a:cubicBezTo>
                      <a:pt x="148" y="72"/>
                      <a:pt x="148" y="72"/>
                      <a:pt x="148" y="72"/>
                    </a:cubicBezTo>
                    <a:cubicBezTo>
                      <a:pt x="148" y="78"/>
                      <a:pt x="148" y="78"/>
                      <a:pt x="148" y="78"/>
                    </a:cubicBezTo>
                    <a:cubicBezTo>
                      <a:pt x="147" y="80"/>
                      <a:pt x="147" y="80"/>
                      <a:pt x="147" y="80"/>
                    </a:cubicBezTo>
                    <a:cubicBezTo>
                      <a:pt x="147" y="82"/>
                      <a:pt x="147" y="82"/>
                      <a:pt x="147" y="82"/>
                    </a:cubicBezTo>
                    <a:cubicBezTo>
                      <a:pt x="148" y="85"/>
                      <a:pt x="148" y="85"/>
                      <a:pt x="148" y="85"/>
                    </a:cubicBezTo>
                    <a:cubicBezTo>
                      <a:pt x="154" y="86"/>
                      <a:pt x="154" y="86"/>
                      <a:pt x="154" y="86"/>
                    </a:cubicBezTo>
                    <a:cubicBezTo>
                      <a:pt x="154" y="90"/>
                      <a:pt x="154" y="90"/>
                      <a:pt x="154" y="90"/>
                    </a:cubicBezTo>
                    <a:cubicBezTo>
                      <a:pt x="164" y="92"/>
                      <a:pt x="164" y="92"/>
                      <a:pt x="164" y="92"/>
                    </a:cubicBezTo>
                    <a:cubicBezTo>
                      <a:pt x="165" y="92"/>
                      <a:pt x="165" y="92"/>
                      <a:pt x="165" y="92"/>
                    </a:cubicBezTo>
                    <a:cubicBezTo>
                      <a:pt x="166" y="91"/>
                      <a:pt x="166" y="91"/>
                      <a:pt x="166" y="91"/>
                    </a:cubicBezTo>
                    <a:cubicBezTo>
                      <a:pt x="168" y="91"/>
                      <a:pt x="168" y="91"/>
                      <a:pt x="168" y="91"/>
                    </a:cubicBezTo>
                    <a:cubicBezTo>
                      <a:pt x="171" y="90"/>
                      <a:pt x="171" y="90"/>
                      <a:pt x="171" y="90"/>
                    </a:cubicBezTo>
                    <a:cubicBezTo>
                      <a:pt x="177" y="90"/>
                      <a:pt x="177" y="90"/>
                      <a:pt x="177" y="90"/>
                    </a:cubicBezTo>
                    <a:cubicBezTo>
                      <a:pt x="180" y="91"/>
                      <a:pt x="180" y="91"/>
                      <a:pt x="180" y="91"/>
                    </a:cubicBezTo>
                    <a:cubicBezTo>
                      <a:pt x="181" y="92"/>
                      <a:pt x="181" y="92"/>
                      <a:pt x="181" y="92"/>
                    </a:cubicBezTo>
                    <a:cubicBezTo>
                      <a:pt x="183" y="93"/>
                      <a:pt x="183" y="93"/>
                      <a:pt x="183" y="93"/>
                    </a:cubicBezTo>
                    <a:cubicBezTo>
                      <a:pt x="186" y="93"/>
                      <a:pt x="186" y="93"/>
                      <a:pt x="186" y="93"/>
                    </a:cubicBezTo>
                    <a:cubicBezTo>
                      <a:pt x="188" y="94"/>
                      <a:pt x="188" y="94"/>
                      <a:pt x="188" y="94"/>
                    </a:cubicBezTo>
                    <a:cubicBezTo>
                      <a:pt x="194" y="96"/>
                      <a:pt x="194" y="96"/>
                      <a:pt x="194" y="96"/>
                    </a:cubicBezTo>
                    <a:cubicBezTo>
                      <a:pt x="198" y="100"/>
                      <a:pt x="198" y="100"/>
                      <a:pt x="198" y="100"/>
                    </a:cubicBezTo>
                    <a:cubicBezTo>
                      <a:pt x="198" y="101"/>
                      <a:pt x="198" y="101"/>
                      <a:pt x="198" y="101"/>
                    </a:cubicBezTo>
                    <a:cubicBezTo>
                      <a:pt x="196" y="101"/>
                      <a:pt x="196" y="101"/>
                      <a:pt x="196" y="101"/>
                    </a:cubicBezTo>
                    <a:cubicBezTo>
                      <a:pt x="195" y="102"/>
                      <a:pt x="195" y="102"/>
                      <a:pt x="195" y="102"/>
                    </a:cubicBezTo>
                    <a:cubicBezTo>
                      <a:pt x="193" y="102"/>
                      <a:pt x="193" y="102"/>
                      <a:pt x="193" y="102"/>
                    </a:cubicBezTo>
                    <a:cubicBezTo>
                      <a:pt x="192" y="103"/>
                      <a:pt x="192" y="103"/>
                      <a:pt x="192" y="103"/>
                    </a:cubicBezTo>
                    <a:cubicBezTo>
                      <a:pt x="193" y="104"/>
                      <a:pt x="193" y="104"/>
                      <a:pt x="193" y="104"/>
                    </a:cubicBezTo>
                    <a:cubicBezTo>
                      <a:pt x="195" y="105"/>
                      <a:pt x="195" y="105"/>
                      <a:pt x="195" y="105"/>
                    </a:cubicBezTo>
                    <a:cubicBezTo>
                      <a:pt x="198" y="108"/>
                      <a:pt x="198" y="108"/>
                      <a:pt x="198" y="108"/>
                    </a:cubicBezTo>
                    <a:cubicBezTo>
                      <a:pt x="206" y="108"/>
                      <a:pt x="206" y="108"/>
                      <a:pt x="206" y="108"/>
                    </a:cubicBezTo>
                    <a:cubicBezTo>
                      <a:pt x="204" y="109"/>
                      <a:pt x="204" y="109"/>
                      <a:pt x="204" y="109"/>
                    </a:cubicBezTo>
                    <a:cubicBezTo>
                      <a:pt x="203" y="109"/>
                      <a:pt x="203" y="109"/>
                      <a:pt x="203" y="109"/>
                    </a:cubicBezTo>
                    <a:cubicBezTo>
                      <a:pt x="201" y="110"/>
                      <a:pt x="201" y="110"/>
                      <a:pt x="201" y="110"/>
                    </a:cubicBezTo>
                    <a:cubicBezTo>
                      <a:pt x="197" y="110"/>
                      <a:pt x="197" y="110"/>
                      <a:pt x="197" y="110"/>
                    </a:cubicBezTo>
                    <a:cubicBezTo>
                      <a:pt x="195" y="109"/>
                      <a:pt x="195" y="109"/>
                      <a:pt x="195" y="109"/>
                    </a:cubicBezTo>
                    <a:cubicBezTo>
                      <a:pt x="194" y="108"/>
                      <a:pt x="194" y="108"/>
                      <a:pt x="194" y="108"/>
                    </a:cubicBezTo>
                    <a:cubicBezTo>
                      <a:pt x="192" y="107"/>
                      <a:pt x="192" y="107"/>
                      <a:pt x="192" y="107"/>
                    </a:cubicBezTo>
                    <a:cubicBezTo>
                      <a:pt x="192" y="105"/>
                      <a:pt x="192" y="105"/>
                      <a:pt x="192" y="105"/>
                    </a:cubicBezTo>
                    <a:cubicBezTo>
                      <a:pt x="190" y="101"/>
                      <a:pt x="190" y="101"/>
                      <a:pt x="190" y="101"/>
                    </a:cubicBezTo>
                    <a:cubicBezTo>
                      <a:pt x="188" y="99"/>
                      <a:pt x="188" y="99"/>
                      <a:pt x="188" y="99"/>
                    </a:cubicBezTo>
                    <a:cubicBezTo>
                      <a:pt x="184" y="97"/>
                      <a:pt x="184" y="97"/>
                      <a:pt x="184" y="97"/>
                    </a:cubicBezTo>
                    <a:cubicBezTo>
                      <a:pt x="183" y="96"/>
                      <a:pt x="183" y="96"/>
                      <a:pt x="183" y="96"/>
                    </a:cubicBezTo>
                    <a:cubicBezTo>
                      <a:pt x="182" y="96"/>
                      <a:pt x="182" y="96"/>
                      <a:pt x="182" y="96"/>
                    </a:cubicBezTo>
                    <a:cubicBezTo>
                      <a:pt x="181" y="95"/>
                      <a:pt x="181" y="95"/>
                      <a:pt x="181" y="95"/>
                    </a:cubicBezTo>
                    <a:cubicBezTo>
                      <a:pt x="181" y="93"/>
                      <a:pt x="181" y="93"/>
                      <a:pt x="181" y="93"/>
                    </a:cubicBezTo>
                    <a:cubicBezTo>
                      <a:pt x="180" y="92"/>
                      <a:pt x="180" y="92"/>
                      <a:pt x="180" y="92"/>
                    </a:cubicBezTo>
                    <a:cubicBezTo>
                      <a:pt x="176" y="92"/>
                      <a:pt x="176" y="92"/>
                      <a:pt x="176" y="92"/>
                    </a:cubicBezTo>
                    <a:cubicBezTo>
                      <a:pt x="174" y="93"/>
                      <a:pt x="174" y="93"/>
                      <a:pt x="174" y="93"/>
                    </a:cubicBezTo>
                    <a:cubicBezTo>
                      <a:pt x="171" y="93"/>
                      <a:pt x="171" y="93"/>
                      <a:pt x="171" y="93"/>
                    </a:cubicBezTo>
                    <a:cubicBezTo>
                      <a:pt x="169" y="94"/>
                      <a:pt x="169" y="94"/>
                      <a:pt x="169" y="94"/>
                    </a:cubicBezTo>
                    <a:cubicBezTo>
                      <a:pt x="165" y="94"/>
                      <a:pt x="165" y="94"/>
                      <a:pt x="165" y="94"/>
                    </a:cubicBezTo>
                    <a:cubicBezTo>
                      <a:pt x="162" y="97"/>
                      <a:pt x="162" y="97"/>
                      <a:pt x="162" y="97"/>
                    </a:cubicBezTo>
                    <a:cubicBezTo>
                      <a:pt x="163" y="98"/>
                      <a:pt x="163" y="98"/>
                      <a:pt x="163" y="98"/>
                    </a:cubicBezTo>
                    <a:cubicBezTo>
                      <a:pt x="164" y="100"/>
                      <a:pt x="164" y="100"/>
                      <a:pt x="164" y="100"/>
                    </a:cubicBezTo>
                    <a:cubicBezTo>
                      <a:pt x="166" y="101"/>
                      <a:pt x="166" y="101"/>
                      <a:pt x="166" y="101"/>
                    </a:cubicBezTo>
                    <a:cubicBezTo>
                      <a:pt x="169" y="104"/>
                      <a:pt x="169" y="104"/>
                      <a:pt x="169" y="104"/>
                    </a:cubicBezTo>
                    <a:cubicBezTo>
                      <a:pt x="171" y="105"/>
                      <a:pt x="171" y="105"/>
                      <a:pt x="171" y="105"/>
                    </a:cubicBezTo>
                    <a:cubicBezTo>
                      <a:pt x="171" y="106"/>
                      <a:pt x="171" y="106"/>
                      <a:pt x="171" y="106"/>
                    </a:cubicBezTo>
                    <a:cubicBezTo>
                      <a:pt x="167" y="110"/>
                      <a:pt x="167" y="110"/>
                      <a:pt x="167" y="110"/>
                    </a:cubicBezTo>
                    <a:cubicBezTo>
                      <a:pt x="166" y="110"/>
                      <a:pt x="166" y="110"/>
                      <a:pt x="166" y="110"/>
                    </a:cubicBezTo>
                    <a:cubicBezTo>
                      <a:pt x="165" y="117"/>
                      <a:pt x="165" y="117"/>
                      <a:pt x="165" y="117"/>
                    </a:cubicBezTo>
                    <a:cubicBezTo>
                      <a:pt x="158" y="120"/>
                      <a:pt x="158" y="120"/>
                      <a:pt x="158" y="120"/>
                    </a:cubicBezTo>
                    <a:cubicBezTo>
                      <a:pt x="158" y="121"/>
                      <a:pt x="158" y="121"/>
                      <a:pt x="158" y="121"/>
                    </a:cubicBezTo>
                    <a:cubicBezTo>
                      <a:pt x="157" y="123"/>
                      <a:pt x="157" y="123"/>
                      <a:pt x="157" y="123"/>
                    </a:cubicBezTo>
                    <a:cubicBezTo>
                      <a:pt x="156" y="124"/>
                      <a:pt x="156" y="124"/>
                      <a:pt x="156" y="124"/>
                    </a:cubicBezTo>
                    <a:cubicBezTo>
                      <a:pt x="151" y="124"/>
                      <a:pt x="151" y="124"/>
                      <a:pt x="151" y="124"/>
                    </a:cubicBezTo>
                    <a:cubicBezTo>
                      <a:pt x="149" y="123"/>
                      <a:pt x="149" y="123"/>
                      <a:pt x="149" y="123"/>
                    </a:cubicBezTo>
                    <a:cubicBezTo>
                      <a:pt x="144" y="123"/>
                      <a:pt x="144" y="123"/>
                      <a:pt x="144" y="123"/>
                    </a:cubicBezTo>
                    <a:cubicBezTo>
                      <a:pt x="134" y="122"/>
                      <a:pt x="134" y="122"/>
                      <a:pt x="134" y="122"/>
                    </a:cubicBezTo>
                    <a:cubicBezTo>
                      <a:pt x="133" y="122"/>
                      <a:pt x="133" y="122"/>
                      <a:pt x="133" y="122"/>
                    </a:cubicBezTo>
                    <a:cubicBezTo>
                      <a:pt x="132" y="121"/>
                      <a:pt x="132" y="121"/>
                      <a:pt x="132" y="121"/>
                    </a:cubicBezTo>
                    <a:cubicBezTo>
                      <a:pt x="130" y="120"/>
                      <a:pt x="130" y="120"/>
                      <a:pt x="130" y="120"/>
                    </a:cubicBezTo>
                    <a:cubicBezTo>
                      <a:pt x="128" y="120"/>
                      <a:pt x="128" y="120"/>
                      <a:pt x="128" y="120"/>
                    </a:cubicBezTo>
                    <a:cubicBezTo>
                      <a:pt x="126" y="118"/>
                      <a:pt x="126" y="118"/>
                      <a:pt x="126" y="118"/>
                    </a:cubicBezTo>
                    <a:cubicBezTo>
                      <a:pt x="135" y="118"/>
                      <a:pt x="135" y="118"/>
                      <a:pt x="135" y="118"/>
                    </a:cubicBezTo>
                    <a:cubicBezTo>
                      <a:pt x="138" y="119"/>
                      <a:pt x="138" y="119"/>
                      <a:pt x="138" y="119"/>
                    </a:cubicBezTo>
                    <a:cubicBezTo>
                      <a:pt x="142" y="116"/>
                      <a:pt x="142" y="116"/>
                      <a:pt x="142" y="116"/>
                    </a:cubicBezTo>
                    <a:cubicBezTo>
                      <a:pt x="144" y="116"/>
                      <a:pt x="144" y="116"/>
                      <a:pt x="144" y="116"/>
                    </a:cubicBezTo>
                    <a:cubicBezTo>
                      <a:pt x="146" y="117"/>
                      <a:pt x="146" y="117"/>
                      <a:pt x="146" y="117"/>
                    </a:cubicBezTo>
                    <a:cubicBezTo>
                      <a:pt x="149" y="117"/>
                      <a:pt x="149" y="117"/>
                      <a:pt x="149" y="117"/>
                    </a:cubicBezTo>
                    <a:cubicBezTo>
                      <a:pt x="151" y="116"/>
                      <a:pt x="151" y="116"/>
                      <a:pt x="151" y="116"/>
                    </a:cubicBezTo>
                    <a:cubicBezTo>
                      <a:pt x="151" y="113"/>
                      <a:pt x="151" y="113"/>
                      <a:pt x="151" y="113"/>
                    </a:cubicBezTo>
                    <a:cubicBezTo>
                      <a:pt x="152" y="111"/>
                      <a:pt x="152" y="111"/>
                      <a:pt x="152" y="111"/>
                    </a:cubicBezTo>
                    <a:cubicBezTo>
                      <a:pt x="152" y="109"/>
                      <a:pt x="152" y="109"/>
                      <a:pt x="152" y="109"/>
                    </a:cubicBezTo>
                    <a:cubicBezTo>
                      <a:pt x="156" y="108"/>
                      <a:pt x="156" y="108"/>
                      <a:pt x="156" y="108"/>
                    </a:cubicBezTo>
                    <a:cubicBezTo>
                      <a:pt x="156" y="104"/>
                      <a:pt x="156" y="104"/>
                      <a:pt x="156" y="104"/>
                    </a:cubicBezTo>
                    <a:cubicBezTo>
                      <a:pt x="154" y="104"/>
                      <a:pt x="154" y="104"/>
                      <a:pt x="154" y="104"/>
                    </a:cubicBezTo>
                    <a:cubicBezTo>
                      <a:pt x="155" y="103"/>
                      <a:pt x="155" y="103"/>
                      <a:pt x="155" y="103"/>
                    </a:cubicBezTo>
                    <a:cubicBezTo>
                      <a:pt x="156" y="101"/>
                      <a:pt x="156" y="101"/>
                      <a:pt x="156" y="101"/>
                    </a:cubicBezTo>
                    <a:cubicBezTo>
                      <a:pt x="156" y="99"/>
                      <a:pt x="156" y="99"/>
                      <a:pt x="156" y="99"/>
                    </a:cubicBezTo>
                    <a:cubicBezTo>
                      <a:pt x="155" y="98"/>
                      <a:pt x="155" y="98"/>
                      <a:pt x="155" y="98"/>
                    </a:cubicBezTo>
                    <a:cubicBezTo>
                      <a:pt x="154" y="98"/>
                      <a:pt x="154" y="98"/>
                      <a:pt x="154" y="98"/>
                    </a:cubicBezTo>
                    <a:cubicBezTo>
                      <a:pt x="152" y="97"/>
                      <a:pt x="152" y="97"/>
                      <a:pt x="152" y="97"/>
                    </a:cubicBezTo>
                    <a:cubicBezTo>
                      <a:pt x="149" y="97"/>
                      <a:pt x="149" y="97"/>
                      <a:pt x="149" y="97"/>
                    </a:cubicBezTo>
                    <a:cubicBezTo>
                      <a:pt x="146" y="96"/>
                      <a:pt x="146" y="96"/>
                      <a:pt x="146" y="96"/>
                    </a:cubicBezTo>
                    <a:cubicBezTo>
                      <a:pt x="144" y="96"/>
                      <a:pt x="144" y="96"/>
                      <a:pt x="144" y="96"/>
                    </a:cubicBezTo>
                    <a:cubicBezTo>
                      <a:pt x="141" y="93"/>
                      <a:pt x="141" y="93"/>
                      <a:pt x="141" y="93"/>
                    </a:cubicBezTo>
                    <a:cubicBezTo>
                      <a:pt x="141" y="86"/>
                      <a:pt x="141" y="86"/>
                      <a:pt x="141" y="86"/>
                    </a:cubicBezTo>
                    <a:cubicBezTo>
                      <a:pt x="140" y="84"/>
                      <a:pt x="140" y="84"/>
                      <a:pt x="140" y="84"/>
                    </a:cubicBezTo>
                    <a:cubicBezTo>
                      <a:pt x="138" y="82"/>
                      <a:pt x="138" y="82"/>
                      <a:pt x="138" y="82"/>
                    </a:cubicBezTo>
                    <a:cubicBezTo>
                      <a:pt x="136" y="81"/>
                      <a:pt x="136" y="81"/>
                      <a:pt x="136" y="81"/>
                    </a:cubicBezTo>
                    <a:cubicBezTo>
                      <a:pt x="135" y="79"/>
                      <a:pt x="135" y="79"/>
                      <a:pt x="135" y="79"/>
                    </a:cubicBezTo>
                    <a:cubicBezTo>
                      <a:pt x="134" y="78"/>
                      <a:pt x="134" y="78"/>
                      <a:pt x="134" y="78"/>
                    </a:cubicBezTo>
                    <a:cubicBezTo>
                      <a:pt x="133" y="72"/>
                      <a:pt x="133" y="72"/>
                      <a:pt x="133" y="72"/>
                    </a:cubicBezTo>
                    <a:cubicBezTo>
                      <a:pt x="122" y="66"/>
                      <a:pt x="122" y="66"/>
                      <a:pt x="122" y="66"/>
                    </a:cubicBezTo>
                    <a:cubicBezTo>
                      <a:pt x="124" y="64"/>
                      <a:pt x="124" y="64"/>
                      <a:pt x="124" y="64"/>
                    </a:cubicBezTo>
                    <a:cubicBezTo>
                      <a:pt x="126" y="60"/>
                      <a:pt x="126" y="60"/>
                      <a:pt x="126" y="60"/>
                    </a:cubicBezTo>
                    <a:cubicBezTo>
                      <a:pt x="126" y="58"/>
                      <a:pt x="126" y="58"/>
                      <a:pt x="126" y="58"/>
                    </a:cubicBezTo>
                    <a:cubicBezTo>
                      <a:pt x="125" y="56"/>
                      <a:pt x="125" y="56"/>
                      <a:pt x="125" y="56"/>
                    </a:cubicBezTo>
                    <a:cubicBezTo>
                      <a:pt x="121" y="52"/>
                      <a:pt x="121" y="52"/>
                      <a:pt x="121" y="52"/>
                    </a:cubicBezTo>
                    <a:cubicBezTo>
                      <a:pt x="119" y="52"/>
                      <a:pt x="119" y="52"/>
                      <a:pt x="119" y="52"/>
                    </a:cubicBezTo>
                    <a:cubicBezTo>
                      <a:pt x="117" y="51"/>
                      <a:pt x="117" y="51"/>
                      <a:pt x="117" y="51"/>
                    </a:cubicBezTo>
                    <a:cubicBezTo>
                      <a:pt x="115" y="51"/>
                      <a:pt x="115" y="51"/>
                      <a:pt x="115" y="51"/>
                    </a:cubicBezTo>
                    <a:cubicBezTo>
                      <a:pt x="93" y="49"/>
                      <a:pt x="93" y="49"/>
                      <a:pt x="93" y="49"/>
                    </a:cubicBezTo>
                    <a:cubicBezTo>
                      <a:pt x="91" y="54"/>
                      <a:pt x="91" y="54"/>
                      <a:pt x="91" y="54"/>
                    </a:cubicBezTo>
                    <a:cubicBezTo>
                      <a:pt x="94" y="57"/>
                      <a:pt x="94" y="57"/>
                      <a:pt x="94" y="57"/>
                    </a:cubicBezTo>
                    <a:cubicBezTo>
                      <a:pt x="92" y="62"/>
                      <a:pt x="92" y="62"/>
                      <a:pt x="92" y="62"/>
                    </a:cubicBezTo>
                    <a:cubicBezTo>
                      <a:pt x="83" y="66"/>
                      <a:pt x="83" y="66"/>
                      <a:pt x="83" y="66"/>
                    </a:cubicBezTo>
                    <a:cubicBezTo>
                      <a:pt x="81" y="71"/>
                      <a:pt x="81" y="71"/>
                      <a:pt x="81" y="71"/>
                    </a:cubicBezTo>
                    <a:cubicBezTo>
                      <a:pt x="87" y="72"/>
                      <a:pt x="87" y="72"/>
                      <a:pt x="87" y="72"/>
                    </a:cubicBezTo>
                    <a:cubicBezTo>
                      <a:pt x="92" y="80"/>
                      <a:pt x="92" y="80"/>
                      <a:pt x="92" y="80"/>
                    </a:cubicBezTo>
                    <a:cubicBezTo>
                      <a:pt x="90" y="83"/>
                      <a:pt x="90" y="83"/>
                      <a:pt x="90" y="83"/>
                    </a:cubicBezTo>
                    <a:cubicBezTo>
                      <a:pt x="95" y="87"/>
                      <a:pt x="95" y="87"/>
                      <a:pt x="95" y="87"/>
                    </a:cubicBezTo>
                    <a:cubicBezTo>
                      <a:pt x="101" y="86"/>
                      <a:pt x="101" y="86"/>
                      <a:pt x="101" y="86"/>
                    </a:cubicBezTo>
                    <a:cubicBezTo>
                      <a:pt x="102" y="87"/>
                      <a:pt x="102" y="87"/>
                      <a:pt x="102" y="87"/>
                    </a:cubicBezTo>
                    <a:cubicBezTo>
                      <a:pt x="103" y="89"/>
                      <a:pt x="103" y="89"/>
                      <a:pt x="103" y="89"/>
                    </a:cubicBezTo>
                    <a:cubicBezTo>
                      <a:pt x="105" y="90"/>
                      <a:pt x="105" y="90"/>
                      <a:pt x="105" y="90"/>
                    </a:cubicBezTo>
                    <a:cubicBezTo>
                      <a:pt x="106" y="91"/>
                      <a:pt x="106" y="91"/>
                      <a:pt x="106" y="91"/>
                    </a:cubicBezTo>
                    <a:cubicBezTo>
                      <a:pt x="108" y="92"/>
                      <a:pt x="108" y="92"/>
                      <a:pt x="108" y="92"/>
                    </a:cubicBezTo>
                    <a:cubicBezTo>
                      <a:pt x="115" y="92"/>
                      <a:pt x="115" y="92"/>
                      <a:pt x="115" y="92"/>
                    </a:cubicBezTo>
                    <a:cubicBezTo>
                      <a:pt x="114" y="102"/>
                      <a:pt x="114" y="102"/>
                      <a:pt x="114" y="102"/>
                    </a:cubicBezTo>
                    <a:cubicBezTo>
                      <a:pt x="111" y="98"/>
                      <a:pt x="111" y="98"/>
                      <a:pt x="111" y="98"/>
                    </a:cubicBezTo>
                    <a:cubicBezTo>
                      <a:pt x="108" y="100"/>
                      <a:pt x="108" y="100"/>
                      <a:pt x="108" y="100"/>
                    </a:cubicBezTo>
                    <a:cubicBezTo>
                      <a:pt x="106" y="99"/>
                      <a:pt x="106" y="99"/>
                      <a:pt x="106" y="99"/>
                    </a:cubicBezTo>
                    <a:cubicBezTo>
                      <a:pt x="101" y="96"/>
                      <a:pt x="101" y="96"/>
                      <a:pt x="101" y="96"/>
                    </a:cubicBezTo>
                    <a:cubicBezTo>
                      <a:pt x="101" y="96"/>
                      <a:pt x="101" y="96"/>
                      <a:pt x="101" y="96"/>
                    </a:cubicBezTo>
                    <a:cubicBezTo>
                      <a:pt x="95" y="98"/>
                      <a:pt x="89" y="102"/>
                      <a:pt x="87" y="102"/>
                    </a:cubicBezTo>
                    <a:cubicBezTo>
                      <a:pt x="83" y="104"/>
                      <a:pt x="87" y="105"/>
                      <a:pt x="84" y="111"/>
                    </a:cubicBezTo>
                    <a:cubicBezTo>
                      <a:pt x="80" y="117"/>
                      <a:pt x="75" y="120"/>
                      <a:pt x="75" y="120"/>
                    </a:cubicBezTo>
                    <a:cubicBezTo>
                      <a:pt x="75" y="120"/>
                      <a:pt x="63" y="121"/>
                      <a:pt x="59" y="124"/>
                    </a:cubicBezTo>
                    <a:cubicBezTo>
                      <a:pt x="55" y="127"/>
                      <a:pt x="51" y="129"/>
                      <a:pt x="49" y="135"/>
                    </a:cubicBezTo>
                    <a:cubicBezTo>
                      <a:pt x="47" y="140"/>
                      <a:pt x="55" y="142"/>
                      <a:pt x="45" y="143"/>
                    </a:cubicBezTo>
                    <a:cubicBezTo>
                      <a:pt x="35" y="144"/>
                      <a:pt x="31" y="141"/>
                      <a:pt x="28" y="144"/>
                    </a:cubicBezTo>
                    <a:cubicBezTo>
                      <a:pt x="24" y="147"/>
                      <a:pt x="13" y="149"/>
                      <a:pt x="10" y="152"/>
                    </a:cubicBezTo>
                    <a:cubicBezTo>
                      <a:pt x="7" y="155"/>
                      <a:pt x="1" y="165"/>
                      <a:pt x="1" y="165"/>
                    </a:cubicBezTo>
                    <a:cubicBezTo>
                      <a:pt x="1" y="165"/>
                      <a:pt x="1" y="165"/>
                      <a:pt x="0" y="176"/>
                    </a:cubicBezTo>
                    <a:cubicBezTo>
                      <a:pt x="0" y="176"/>
                      <a:pt x="8" y="186"/>
                      <a:pt x="8" y="190"/>
                    </a:cubicBezTo>
                    <a:cubicBezTo>
                      <a:pt x="8" y="194"/>
                      <a:pt x="14" y="205"/>
                      <a:pt x="17" y="208"/>
                    </a:cubicBezTo>
                    <a:cubicBezTo>
                      <a:pt x="20" y="211"/>
                      <a:pt x="22" y="215"/>
                      <a:pt x="22" y="219"/>
                    </a:cubicBezTo>
                    <a:cubicBezTo>
                      <a:pt x="22" y="223"/>
                      <a:pt x="21" y="228"/>
                      <a:pt x="24" y="229"/>
                    </a:cubicBezTo>
                    <a:cubicBezTo>
                      <a:pt x="27" y="230"/>
                      <a:pt x="32" y="228"/>
                      <a:pt x="35" y="234"/>
                    </a:cubicBezTo>
                    <a:cubicBezTo>
                      <a:pt x="39" y="240"/>
                      <a:pt x="36" y="239"/>
                      <a:pt x="33" y="241"/>
                    </a:cubicBezTo>
                    <a:cubicBezTo>
                      <a:pt x="30" y="243"/>
                      <a:pt x="26" y="246"/>
                      <a:pt x="28" y="249"/>
                    </a:cubicBezTo>
                    <a:cubicBezTo>
                      <a:pt x="29" y="252"/>
                      <a:pt x="24" y="255"/>
                      <a:pt x="24" y="255"/>
                    </a:cubicBezTo>
                    <a:cubicBezTo>
                      <a:pt x="24" y="255"/>
                      <a:pt x="24" y="255"/>
                      <a:pt x="12" y="253"/>
                    </a:cubicBezTo>
                    <a:cubicBezTo>
                      <a:pt x="12" y="253"/>
                      <a:pt x="12" y="253"/>
                      <a:pt x="13" y="260"/>
                    </a:cubicBezTo>
                    <a:cubicBezTo>
                      <a:pt x="13" y="260"/>
                      <a:pt x="13" y="260"/>
                      <a:pt x="18" y="273"/>
                    </a:cubicBezTo>
                    <a:cubicBezTo>
                      <a:pt x="18" y="273"/>
                      <a:pt x="25" y="276"/>
                      <a:pt x="28" y="276"/>
                    </a:cubicBezTo>
                    <a:cubicBezTo>
                      <a:pt x="31" y="277"/>
                      <a:pt x="33" y="275"/>
                      <a:pt x="39" y="277"/>
                    </a:cubicBezTo>
                    <a:cubicBezTo>
                      <a:pt x="45" y="280"/>
                      <a:pt x="42" y="279"/>
                      <a:pt x="46" y="278"/>
                    </a:cubicBezTo>
                    <a:cubicBezTo>
                      <a:pt x="50" y="277"/>
                      <a:pt x="50" y="274"/>
                      <a:pt x="50" y="274"/>
                    </a:cubicBezTo>
                    <a:cubicBezTo>
                      <a:pt x="50" y="274"/>
                      <a:pt x="50" y="274"/>
                      <a:pt x="52" y="278"/>
                    </a:cubicBezTo>
                    <a:cubicBezTo>
                      <a:pt x="52" y="278"/>
                      <a:pt x="52" y="278"/>
                      <a:pt x="51" y="285"/>
                    </a:cubicBezTo>
                    <a:cubicBezTo>
                      <a:pt x="51" y="285"/>
                      <a:pt x="51" y="285"/>
                      <a:pt x="54" y="293"/>
                    </a:cubicBezTo>
                    <a:cubicBezTo>
                      <a:pt x="54" y="293"/>
                      <a:pt x="54" y="293"/>
                      <a:pt x="54" y="303"/>
                    </a:cubicBezTo>
                    <a:cubicBezTo>
                      <a:pt x="54" y="303"/>
                      <a:pt x="54" y="307"/>
                      <a:pt x="53" y="309"/>
                    </a:cubicBezTo>
                    <a:cubicBezTo>
                      <a:pt x="53" y="310"/>
                      <a:pt x="53" y="310"/>
                      <a:pt x="53" y="311"/>
                    </a:cubicBezTo>
                    <a:cubicBezTo>
                      <a:pt x="57" y="311"/>
                      <a:pt x="57" y="311"/>
                      <a:pt x="57" y="311"/>
                    </a:cubicBezTo>
                    <a:cubicBezTo>
                      <a:pt x="59" y="316"/>
                      <a:pt x="59" y="316"/>
                      <a:pt x="59" y="316"/>
                    </a:cubicBezTo>
                    <a:cubicBezTo>
                      <a:pt x="59" y="317"/>
                      <a:pt x="59" y="317"/>
                      <a:pt x="59" y="317"/>
                    </a:cubicBezTo>
                    <a:cubicBezTo>
                      <a:pt x="61" y="319"/>
                      <a:pt x="61" y="319"/>
                      <a:pt x="61" y="319"/>
                    </a:cubicBezTo>
                    <a:cubicBezTo>
                      <a:pt x="63" y="319"/>
                      <a:pt x="63" y="319"/>
                      <a:pt x="63" y="319"/>
                    </a:cubicBezTo>
                    <a:cubicBezTo>
                      <a:pt x="63" y="316"/>
                      <a:pt x="63" y="316"/>
                      <a:pt x="63" y="316"/>
                    </a:cubicBezTo>
                    <a:cubicBezTo>
                      <a:pt x="61" y="314"/>
                      <a:pt x="61" y="314"/>
                      <a:pt x="61" y="314"/>
                    </a:cubicBezTo>
                    <a:cubicBezTo>
                      <a:pt x="61" y="313"/>
                      <a:pt x="61" y="313"/>
                      <a:pt x="61" y="313"/>
                    </a:cubicBezTo>
                    <a:cubicBezTo>
                      <a:pt x="63" y="313"/>
                      <a:pt x="63" y="313"/>
                      <a:pt x="63" y="313"/>
                    </a:cubicBezTo>
                    <a:cubicBezTo>
                      <a:pt x="75" y="319"/>
                      <a:pt x="75" y="319"/>
                      <a:pt x="75" y="319"/>
                    </a:cubicBezTo>
                    <a:cubicBezTo>
                      <a:pt x="76" y="318"/>
                      <a:pt x="76" y="318"/>
                      <a:pt x="76" y="318"/>
                    </a:cubicBezTo>
                    <a:cubicBezTo>
                      <a:pt x="77" y="316"/>
                      <a:pt x="77" y="316"/>
                      <a:pt x="77" y="316"/>
                    </a:cubicBezTo>
                    <a:cubicBezTo>
                      <a:pt x="79" y="315"/>
                      <a:pt x="79" y="315"/>
                      <a:pt x="79" y="315"/>
                    </a:cubicBezTo>
                    <a:cubicBezTo>
                      <a:pt x="81" y="313"/>
                      <a:pt x="81" y="313"/>
                      <a:pt x="81" y="313"/>
                    </a:cubicBezTo>
                    <a:cubicBezTo>
                      <a:pt x="83" y="312"/>
                      <a:pt x="83" y="312"/>
                      <a:pt x="83" y="312"/>
                    </a:cubicBezTo>
                    <a:cubicBezTo>
                      <a:pt x="84" y="312"/>
                      <a:pt x="84" y="312"/>
                      <a:pt x="84" y="312"/>
                    </a:cubicBezTo>
                    <a:cubicBezTo>
                      <a:pt x="90" y="315"/>
                      <a:pt x="90" y="315"/>
                      <a:pt x="90" y="315"/>
                    </a:cubicBezTo>
                    <a:cubicBezTo>
                      <a:pt x="92" y="315"/>
                      <a:pt x="92" y="315"/>
                      <a:pt x="92" y="315"/>
                    </a:cubicBezTo>
                    <a:cubicBezTo>
                      <a:pt x="95" y="314"/>
                      <a:pt x="95" y="314"/>
                      <a:pt x="95" y="314"/>
                    </a:cubicBezTo>
                    <a:cubicBezTo>
                      <a:pt x="97" y="313"/>
                      <a:pt x="97" y="313"/>
                      <a:pt x="97" y="313"/>
                    </a:cubicBezTo>
                    <a:cubicBezTo>
                      <a:pt x="98" y="312"/>
                      <a:pt x="98" y="312"/>
                      <a:pt x="98" y="312"/>
                    </a:cubicBezTo>
                    <a:cubicBezTo>
                      <a:pt x="100" y="312"/>
                      <a:pt x="100" y="312"/>
                      <a:pt x="100" y="312"/>
                    </a:cubicBezTo>
                    <a:cubicBezTo>
                      <a:pt x="101" y="313"/>
                      <a:pt x="101" y="313"/>
                      <a:pt x="101" y="313"/>
                    </a:cubicBezTo>
                    <a:cubicBezTo>
                      <a:pt x="103" y="314"/>
                      <a:pt x="103" y="314"/>
                      <a:pt x="103" y="314"/>
                    </a:cubicBezTo>
                    <a:cubicBezTo>
                      <a:pt x="104" y="316"/>
                      <a:pt x="104" y="316"/>
                      <a:pt x="104" y="316"/>
                    </a:cubicBezTo>
                    <a:cubicBezTo>
                      <a:pt x="108" y="318"/>
                      <a:pt x="108" y="318"/>
                      <a:pt x="108" y="318"/>
                    </a:cubicBezTo>
                    <a:cubicBezTo>
                      <a:pt x="112" y="318"/>
                      <a:pt x="112" y="318"/>
                      <a:pt x="112" y="318"/>
                    </a:cubicBezTo>
                    <a:cubicBezTo>
                      <a:pt x="114" y="319"/>
                      <a:pt x="114" y="319"/>
                      <a:pt x="114" y="319"/>
                    </a:cubicBezTo>
                    <a:cubicBezTo>
                      <a:pt x="116" y="319"/>
                      <a:pt x="116" y="319"/>
                      <a:pt x="116" y="319"/>
                    </a:cubicBezTo>
                    <a:cubicBezTo>
                      <a:pt x="118" y="315"/>
                      <a:pt x="118" y="315"/>
                      <a:pt x="118" y="315"/>
                    </a:cubicBezTo>
                    <a:cubicBezTo>
                      <a:pt x="119" y="316"/>
                      <a:pt x="119" y="316"/>
                      <a:pt x="119" y="316"/>
                    </a:cubicBezTo>
                    <a:cubicBezTo>
                      <a:pt x="121" y="316"/>
                      <a:pt x="121" y="316"/>
                      <a:pt x="121" y="316"/>
                    </a:cubicBezTo>
                    <a:cubicBezTo>
                      <a:pt x="121" y="317"/>
                      <a:pt x="121" y="317"/>
                      <a:pt x="121" y="317"/>
                    </a:cubicBezTo>
                    <a:cubicBezTo>
                      <a:pt x="123" y="318"/>
                      <a:pt x="123" y="318"/>
                      <a:pt x="123" y="318"/>
                    </a:cubicBezTo>
                    <a:cubicBezTo>
                      <a:pt x="129" y="318"/>
                      <a:pt x="129" y="318"/>
                      <a:pt x="129" y="318"/>
                    </a:cubicBezTo>
                    <a:cubicBezTo>
                      <a:pt x="130" y="317"/>
                      <a:pt x="130" y="317"/>
                      <a:pt x="130" y="317"/>
                    </a:cubicBezTo>
                    <a:cubicBezTo>
                      <a:pt x="131" y="315"/>
                      <a:pt x="131" y="315"/>
                      <a:pt x="131" y="315"/>
                    </a:cubicBezTo>
                    <a:cubicBezTo>
                      <a:pt x="131" y="313"/>
                      <a:pt x="131" y="313"/>
                      <a:pt x="131" y="313"/>
                    </a:cubicBezTo>
                    <a:cubicBezTo>
                      <a:pt x="130" y="310"/>
                      <a:pt x="130" y="310"/>
                      <a:pt x="130" y="310"/>
                    </a:cubicBezTo>
                    <a:cubicBezTo>
                      <a:pt x="126" y="306"/>
                      <a:pt x="126" y="306"/>
                      <a:pt x="126" y="306"/>
                    </a:cubicBezTo>
                    <a:cubicBezTo>
                      <a:pt x="124" y="305"/>
                      <a:pt x="124" y="305"/>
                      <a:pt x="124" y="305"/>
                    </a:cubicBezTo>
                    <a:cubicBezTo>
                      <a:pt x="121" y="304"/>
                      <a:pt x="121" y="304"/>
                      <a:pt x="121" y="304"/>
                    </a:cubicBezTo>
                    <a:cubicBezTo>
                      <a:pt x="118" y="304"/>
                      <a:pt x="118" y="304"/>
                      <a:pt x="118" y="304"/>
                    </a:cubicBezTo>
                    <a:cubicBezTo>
                      <a:pt x="113" y="299"/>
                      <a:pt x="113" y="299"/>
                      <a:pt x="113" y="299"/>
                    </a:cubicBezTo>
                    <a:cubicBezTo>
                      <a:pt x="115" y="299"/>
                      <a:pt x="115" y="299"/>
                      <a:pt x="115" y="299"/>
                    </a:cubicBezTo>
                    <a:cubicBezTo>
                      <a:pt x="117" y="298"/>
                      <a:pt x="117" y="298"/>
                      <a:pt x="117" y="298"/>
                    </a:cubicBezTo>
                    <a:cubicBezTo>
                      <a:pt x="119" y="298"/>
                      <a:pt x="119" y="298"/>
                      <a:pt x="119" y="298"/>
                    </a:cubicBezTo>
                    <a:cubicBezTo>
                      <a:pt x="121" y="296"/>
                      <a:pt x="121" y="296"/>
                      <a:pt x="121" y="296"/>
                    </a:cubicBezTo>
                    <a:cubicBezTo>
                      <a:pt x="121" y="294"/>
                      <a:pt x="121" y="294"/>
                      <a:pt x="121" y="294"/>
                    </a:cubicBezTo>
                    <a:cubicBezTo>
                      <a:pt x="120" y="293"/>
                      <a:pt x="120" y="293"/>
                      <a:pt x="120" y="293"/>
                    </a:cubicBezTo>
                    <a:cubicBezTo>
                      <a:pt x="119" y="291"/>
                      <a:pt x="119" y="291"/>
                      <a:pt x="119" y="291"/>
                    </a:cubicBezTo>
                    <a:cubicBezTo>
                      <a:pt x="118" y="290"/>
                      <a:pt x="118" y="290"/>
                      <a:pt x="118" y="290"/>
                    </a:cubicBezTo>
                    <a:cubicBezTo>
                      <a:pt x="120" y="288"/>
                      <a:pt x="120" y="288"/>
                      <a:pt x="120" y="288"/>
                    </a:cubicBezTo>
                    <a:cubicBezTo>
                      <a:pt x="128" y="288"/>
                      <a:pt x="128" y="288"/>
                      <a:pt x="128" y="288"/>
                    </a:cubicBezTo>
                    <a:cubicBezTo>
                      <a:pt x="126" y="286"/>
                      <a:pt x="126" y="286"/>
                      <a:pt x="126" y="286"/>
                    </a:cubicBezTo>
                    <a:cubicBezTo>
                      <a:pt x="124" y="286"/>
                      <a:pt x="124" y="286"/>
                      <a:pt x="124" y="286"/>
                    </a:cubicBezTo>
                    <a:cubicBezTo>
                      <a:pt x="121" y="284"/>
                      <a:pt x="121" y="284"/>
                      <a:pt x="121" y="284"/>
                    </a:cubicBezTo>
                    <a:cubicBezTo>
                      <a:pt x="119" y="284"/>
                      <a:pt x="119" y="284"/>
                      <a:pt x="119" y="284"/>
                    </a:cubicBezTo>
                    <a:cubicBezTo>
                      <a:pt x="121" y="281"/>
                      <a:pt x="121" y="281"/>
                      <a:pt x="121" y="281"/>
                    </a:cubicBezTo>
                    <a:cubicBezTo>
                      <a:pt x="117" y="281"/>
                      <a:pt x="117" y="281"/>
                      <a:pt x="117" y="281"/>
                    </a:cubicBezTo>
                    <a:cubicBezTo>
                      <a:pt x="117" y="280"/>
                      <a:pt x="117" y="280"/>
                      <a:pt x="117" y="280"/>
                    </a:cubicBezTo>
                    <a:cubicBezTo>
                      <a:pt x="116" y="279"/>
                      <a:pt x="116" y="279"/>
                      <a:pt x="116" y="279"/>
                    </a:cubicBezTo>
                    <a:cubicBezTo>
                      <a:pt x="116" y="278"/>
                      <a:pt x="116" y="278"/>
                      <a:pt x="116" y="278"/>
                    </a:cubicBezTo>
                    <a:cubicBezTo>
                      <a:pt x="118" y="276"/>
                      <a:pt x="118" y="276"/>
                      <a:pt x="118" y="276"/>
                    </a:cubicBezTo>
                    <a:cubicBezTo>
                      <a:pt x="123" y="274"/>
                      <a:pt x="123" y="274"/>
                      <a:pt x="123" y="274"/>
                    </a:cubicBezTo>
                    <a:cubicBezTo>
                      <a:pt x="133" y="273"/>
                      <a:pt x="133" y="273"/>
                      <a:pt x="133" y="273"/>
                    </a:cubicBezTo>
                    <a:cubicBezTo>
                      <a:pt x="142" y="273"/>
                      <a:pt x="142" y="273"/>
                      <a:pt x="142" y="273"/>
                    </a:cubicBezTo>
                    <a:cubicBezTo>
                      <a:pt x="143" y="270"/>
                      <a:pt x="143" y="270"/>
                      <a:pt x="143" y="270"/>
                    </a:cubicBezTo>
                    <a:cubicBezTo>
                      <a:pt x="154" y="270"/>
                      <a:pt x="154" y="270"/>
                      <a:pt x="154" y="270"/>
                    </a:cubicBezTo>
                    <a:cubicBezTo>
                      <a:pt x="154" y="267"/>
                      <a:pt x="154" y="267"/>
                      <a:pt x="154" y="267"/>
                    </a:cubicBezTo>
                    <a:cubicBezTo>
                      <a:pt x="155" y="266"/>
                      <a:pt x="155" y="266"/>
                      <a:pt x="155" y="266"/>
                    </a:cubicBezTo>
                    <a:cubicBezTo>
                      <a:pt x="170" y="266"/>
                      <a:pt x="170" y="266"/>
                      <a:pt x="170" y="266"/>
                    </a:cubicBezTo>
                    <a:cubicBezTo>
                      <a:pt x="179" y="263"/>
                      <a:pt x="179" y="263"/>
                      <a:pt x="179" y="263"/>
                    </a:cubicBezTo>
                    <a:cubicBezTo>
                      <a:pt x="181" y="263"/>
                      <a:pt x="181" y="263"/>
                      <a:pt x="181" y="263"/>
                    </a:cubicBezTo>
                    <a:cubicBezTo>
                      <a:pt x="181" y="261"/>
                      <a:pt x="181" y="261"/>
                      <a:pt x="181" y="261"/>
                    </a:cubicBezTo>
                    <a:cubicBezTo>
                      <a:pt x="183" y="259"/>
                      <a:pt x="183" y="259"/>
                      <a:pt x="183" y="259"/>
                    </a:cubicBezTo>
                    <a:cubicBezTo>
                      <a:pt x="185" y="258"/>
                      <a:pt x="185" y="258"/>
                      <a:pt x="185" y="258"/>
                    </a:cubicBezTo>
                    <a:cubicBezTo>
                      <a:pt x="188" y="257"/>
                      <a:pt x="188" y="257"/>
                      <a:pt x="188" y="257"/>
                    </a:cubicBezTo>
                    <a:cubicBezTo>
                      <a:pt x="192" y="257"/>
                      <a:pt x="192" y="257"/>
                      <a:pt x="192" y="257"/>
                    </a:cubicBezTo>
                    <a:cubicBezTo>
                      <a:pt x="195" y="258"/>
                      <a:pt x="195" y="258"/>
                      <a:pt x="195" y="258"/>
                    </a:cubicBezTo>
                    <a:cubicBezTo>
                      <a:pt x="198" y="258"/>
                      <a:pt x="198" y="258"/>
                      <a:pt x="198" y="258"/>
                    </a:cubicBezTo>
                    <a:cubicBezTo>
                      <a:pt x="200" y="260"/>
                      <a:pt x="200" y="260"/>
                      <a:pt x="200" y="260"/>
                    </a:cubicBezTo>
                    <a:cubicBezTo>
                      <a:pt x="202" y="260"/>
                      <a:pt x="202" y="260"/>
                      <a:pt x="202" y="260"/>
                    </a:cubicBezTo>
                    <a:cubicBezTo>
                      <a:pt x="204" y="258"/>
                      <a:pt x="204" y="258"/>
                      <a:pt x="204" y="258"/>
                    </a:cubicBezTo>
                    <a:cubicBezTo>
                      <a:pt x="205" y="258"/>
                      <a:pt x="205" y="258"/>
                      <a:pt x="205" y="258"/>
                    </a:cubicBezTo>
                    <a:cubicBezTo>
                      <a:pt x="208" y="261"/>
                      <a:pt x="208" y="261"/>
                      <a:pt x="208" y="261"/>
                    </a:cubicBezTo>
                    <a:cubicBezTo>
                      <a:pt x="209" y="263"/>
                      <a:pt x="209" y="263"/>
                      <a:pt x="209" y="263"/>
                    </a:cubicBezTo>
                    <a:cubicBezTo>
                      <a:pt x="210" y="264"/>
                      <a:pt x="210" y="264"/>
                      <a:pt x="210" y="264"/>
                    </a:cubicBezTo>
                    <a:cubicBezTo>
                      <a:pt x="212" y="264"/>
                      <a:pt x="212" y="264"/>
                      <a:pt x="212" y="264"/>
                    </a:cubicBezTo>
                    <a:cubicBezTo>
                      <a:pt x="213" y="265"/>
                      <a:pt x="213" y="265"/>
                      <a:pt x="213" y="265"/>
                    </a:cubicBezTo>
                    <a:cubicBezTo>
                      <a:pt x="213" y="272"/>
                      <a:pt x="213" y="272"/>
                      <a:pt x="213" y="272"/>
                    </a:cubicBezTo>
                    <a:cubicBezTo>
                      <a:pt x="214" y="273"/>
                      <a:pt x="214" y="273"/>
                      <a:pt x="214" y="273"/>
                    </a:cubicBezTo>
                    <a:cubicBezTo>
                      <a:pt x="217" y="273"/>
                      <a:pt x="217" y="273"/>
                      <a:pt x="217" y="273"/>
                    </a:cubicBezTo>
                    <a:cubicBezTo>
                      <a:pt x="219" y="272"/>
                      <a:pt x="219" y="272"/>
                      <a:pt x="219" y="272"/>
                    </a:cubicBezTo>
                    <a:cubicBezTo>
                      <a:pt x="222" y="272"/>
                      <a:pt x="222" y="272"/>
                      <a:pt x="222" y="272"/>
                    </a:cubicBezTo>
                    <a:cubicBezTo>
                      <a:pt x="224" y="269"/>
                      <a:pt x="224" y="269"/>
                      <a:pt x="224" y="269"/>
                    </a:cubicBezTo>
                    <a:cubicBezTo>
                      <a:pt x="228" y="275"/>
                      <a:pt x="228" y="275"/>
                      <a:pt x="228" y="275"/>
                    </a:cubicBezTo>
                    <a:cubicBezTo>
                      <a:pt x="232" y="273"/>
                      <a:pt x="232" y="273"/>
                      <a:pt x="232" y="273"/>
                    </a:cubicBezTo>
                    <a:cubicBezTo>
                      <a:pt x="236" y="275"/>
                      <a:pt x="236" y="275"/>
                      <a:pt x="236" y="275"/>
                    </a:cubicBezTo>
                    <a:cubicBezTo>
                      <a:pt x="237" y="274"/>
                      <a:pt x="237" y="274"/>
                      <a:pt x="237" y="274"/>
                    </a:cubicBezTo>
                    <a:cubicBezTo>
                      <a:pt x="238" y="274"/>
                      <a:pt x="238" y="274"/>
                      <a:pt x="238" y="274"/>
                    </a:cubicBezTo>
                    <a:cubicBezTo>
                      <a:pt x="240" y="275"/>
                      <a:pt x="240" y="275"/>
                      <a:pt x="240" y="275"/>
                    </a:cubicBezTo>
                    <a:cubicBezTo>
                      <a:pt x="240" y="279"/>
                      <a:pt x="240" y="279"/>
                      <a:pt x="240" y="279"/>
                    </a:cubicBezTo>
                    <a:cubicBezTo>
                      <a:pt x="239" y="280"/>
                      <a:pt x="239" y="280"/>
                      <a:pt x="239" y="280"/>
                    </a:cubicBezTo>
                    <a:cubicBezTo>
                      <a:pt x="239" y="281"/>
                      <a:pt x="239" y="281"/>
                      <a:pt x="239" y="281"/>
                    </a:cubicBezTo>
                    <a:cubicBezTo>
                      <a:pt x="240" y="281"/>
                      <a:pt x="240" y="281"/>
                      <a:pt x="240" y="281"/>
                    </a:cubicBezTo>
                    <a:cubicBezTo>
                      <a:pt x="241" y="280"/>
                      <a:pt x="241" y="280"/>
                      <a:pt x="241" y="280"/>
                    </a:cubicBezTo>
                    <a:cubicBezTo>
                      <a:pt x="242" y="280"/>
                      <a:pt x="242" y="280"/>
                      <a:pt x="242" y="280"/>
                    </a:cubicBezTo>
                    <a:cubicBezTo>
                      <a:pt x="243" y="279"/>
                      <a:pt x="243" y="279"/>
                      <a:pt x="243" y="279"/>
                    </a:cubicBezTo>
                    <a:cubicBezTo>
                      <a:pt x="244" y="279"/>
                      <a:pt x="244" y="279"/>
                      <a:pt x="244" y="279"/>
                    </a:cubicBezTo>
                    <a:cubicBezTo>
                      <a:pt x="245" y="280"/>
                      <a:pt x="245" y="280"/>
                      <a:pt x="245" y="280"/>
                    </a:cubicBezTo>
                    <a:cubicBezTo>
                      <a:pt x="247" y="281"/>
                      <a:pt x="247" y="281"/>
                      <a:pt x="247" y="281"/>
                    </a:cubicBezTo>
                    <a:cubicBezTo>
                      <a:pt x="248" y="282"/>
                      <a:pt x="248" y="282"/>
                      <a:pt x="248" y="282"/>
                    </a:cubicBezTo>
                    <a:cubicBezTo>
                      <a:pt x="250" y="283"/>
                      <a:pt x="250" y="283"/>
                      <a:pt x="250" y="283"/>
                    </a:cubicBezTo>
                    <a:cubicBezTo>
                      <a:pt x="252" y="281"/>
                      <a:pt x="252" y="281"/>
                      <a:pt x="252" y="281"/>
                    </a:cubicBezTo>
                    <a:cubicBezTo>
                      <a:pt x="252" y="278"/>
                      <a:pt x="252" y="278"/>
                      <a:pt x="252" y="278"/>
                    </a:cubicBezTo>
                    <a:cubicBezTo>
                      <a:pt x="253" y="277"/>
                      <a:pt x="253" y="277"/>
                      <a:pt x="253" y="277"/>
                    </a:cubicBezTo>
                    <a:cubicBezTo>
                      <a:pt x="255" y="276"/>
                      <a:pt x="255" y="276"/>
                      <a:pt x="255" y="276"/>
                    </a:cubicBezTo>
                    <a:cubicBezTo>
                      <a:pt x="257" y="276"/>
                      <a:pt x="257" y="276"/>
                      <a:pt x="257" y="276"/>
                    </a:cubicBezTo>
                    <a:cubicBezTo>
                      <a:pt x="259" y="273"/>
                      <a:pt x="259" y="273"/>
                      <a:pt x="259" y="273"/>
                    </a:cubicBezTo>
                    <a:cubicBezTo>
                      <a:pt x="265" y="271"/>
                      <a:pt x="265" y="271"/>
                      <a:pt x="265" y="271"/>
                    </a:cubicBezTo>
                    <a:cubicBezTo>
                      <a:pt x="268" y="268"/>
                      <a:pt x="268" y="268"/>
                      <a:pt x="268" y="268"/>
                    </a:cubicBezTo>
                    <a:cubicBezTo>
                      <a:pt x="269" y="268"/>
                      <a:pt x="269" y="268"/>
                      <a:pt x="269" y="268"/>
                    </a:cubicBezTo>
                    <a:cubicBezTo>
                      <a:pt x="270" y="269"/>
                      <a:pt x="270" y="269"/>
                      <a:pt x="270" y="269"/>
                    </a:cubicBezTo>
                    <a:cubicBezTo>
                      <a:pt x="270" y="272"/>
                      <a:pt x="270" y="272"/>
                      <a:pt x="270" y="272"/>
                    </a:cubicBezTo>
                    <a:cubicBezTo>
                      <a:pt x="268" y="274"/>
                      <a:pt x="268" y="274"/>
                      <a:pt x="268" y="274"/>
                    </a:cubicBezTo>
                    <a:cubicBezTo>
                      <a:pt x="267" y="274"/>
                      <a:pt x="267" y="274"/>
                      <a:pt x="267" y="274"/>
                    </a:cubicBezTo>
                    <a:cubicBezTo>
                      <a:pt x="273" y="277"/>
                      <a:pt x="273" y="277"/>
                      <a:pt x="273" y="277"/>
                    </a:cubicBezTo>
                    <a:cubicBezTo>
                      <a:pt x="278" y="279"/>
                      <a:pt x="278" y="279"/>
                      <a:pt x="278" y="279"/>
                    </a:cubicBezTo>
                    <a:cubicBezTo>
                      <a:pt x="283" y="282"/>
                      <a:pt x="283" y="282"/>
                      <a:pt x="283" y="282"/>
                    </a:cubicBezTo>
                    <a:cubicBezTo>
                      <a:pt x="285" y="283"/>
                      <a:pt x="285" y="283"/>
                      <a:pt x="285" y="283"/>
                    </a:cubicBezTo>
                    <a:cubicBezTo>
                      <a:pt x="288" y="285"/>
                      <a:pt x="288" y="285"/>
                      <a:pt x="288" y="285"/>
                    </a:cubicBezTo>
                    <a:cubicBezTo>
                      <a:pt x="293" y="290"/>
                      <a:pt x="293" y="290"/>
                      <a:pt x="293" y="290"/>
                    </a:cubicBezTo>
                    <a:cubicBezTo>
                      <a:pt x="305" y="300"/>
                      <a:pt x="305" y="300"/>
                      <a:pt x="305" y="300"/>
                    </a:cubicBezTo>
                    <a:cubicBezTo>
                      <a:pt x="308" y="304"/>
                      <a:pt x="308" y="304"/>
                      <a:pt x="308" y="304"/>
                    </a:cubicBezTo>
                    <a:cubicBezTo>
                      <a:pt x="314" y="310"/>
                      <a:pt x="314" y="310"/>
                      <a:pt x="314" y="310"/>
                    </a:cubicBezTo>
                    <a:cubicBezTo>
                      <a:pt x="316" y="313"/>
                      <a:pt x="316" y="313"/>
                      <a:pt x="316" y="313"/>
                    </a:cubicBezTo>
                    <a:cubicBezTo>
                      <a:pt x="318" y="315"/>
                      <a:pt x="318" y="315"/>
                      <a:pt x="318" y="315"/>
                    </a:cubicBezTo>
                    <a:cubicBezTo>
                      <a:pt x="320" y="316"/>
                      <a:pt x="320" y="316"/>
                      <a:pt x="320" y="316"/>
                    </a:cubicBezTo>
                    <a:cubicBezTo>
                      <a:pt x="322" y="316"/>
                      <a:pt x="322" y="316"/>
                      <a:pt x="322" y="316"/>
                    </a:cubicBezTo>
                    <a:cubicBezTo>
                      <a:pt x="324" y="315"/>
                      <a:pt x="324" y="315"/>
                      <a:pt x="324" y="315"/>
                    </a:cubicBezTo>
                    <a:cubicBezTo>
                      <a:pt x="326" y="313"/>
                      <a:pt x="326" y="313"/>
                      <a:pt x="326" y="313"/>
                    </a:cubicBezTo>
                    <a:cubicBezTo>
                      <a:pt x="326" y="311"/>
                      <a:pt x="326" y="311"/>
                      <a:pt x="326" y="311"/>
                    </a:cubicBezTo>
                    <a:cubicBezTo>
                      <a:pt x="327" y="310"/>
                      <a:pt x="327" y="310"/>
                      <a:pt x="327" y="310"/>
                    </a:cubicBezTo>
                    <a:cubicBezTo>
                      <a:pt x="327" y="309"/>
                      <a:pt x="327" y="309"/>
                      <a:pt x="327" y="309"/>
                    </a:cubicBezTo>
                    <a:cubicBezTo>
                      <a:pt x="329" y="309"/>
                      <a:pt x="329" y="309"/>
                      <a:pt x="329" y="309"/>
                    </a:cubicBezTo>
                    <a:cubicBezTo>
                      <a:pt x="330" y="310"/>
                      <a:pt x="330" y="310"/>
                      <a:pt x="330" y="310"/>
                    </a:cubicBezTo>
                    <a:cubicBezTo>
                      <a:pt x="330" y="312"/>
                      <a:pt x="330" y="312"/>
                      <a:pt x="330" y="312"/>
                    </a:cubicBezTo>
                    <a:cubicBezTo>
                      <a:pt x="331" y="313"/>
                      <a:pt x="331" y="313"/>
                      <a:pt x="331" y="313"/>
                    </a:cubicBezTo>
                    <a:cubicBezTo>
                      <a:pt x="331" y="314"/>
                      <a:pt x="331" y="314"/>
                      <a:pt x="331" y="314"/>
                    </a:cubicBezTo>
                    <a:cubicBezTo>
                      <a:pt x="336" y="314"/>
                      <a:pt x="336" y="314"/>
                      <a:pt x="336" y="314"/>
                    </a:cubicBezTo>
                    <a:cubicBezTo>
                      <a:pt x="338" y="315"/>
                      <a:pt x="338" y="315"/>
                      <a:pt x="338" y="315"/>
                    </a:cubicBezTo>
                    <a:cubicBezTo>
                      <a:pt x="339" y="317"/>
                      <a:pt x="339" y="317"/>
                      <a:pt x="339" y="317"/>
                    </a:cubicBezTo>
                    <a:cubicBezTo>
                      <a:pt x="341" y="318"/>
                      <a:pt x="341" y="318"/>
                      <a:pt x="341" y="318"/>
                    </a:cubicBezTo>
                    <a:cubicBezTo>
                      <a:pt x="345" y="318"/>
                      <a:pt x="345" y="318"/>
                      <a:pt x="345" y="318"/>
                    </a:cubicBezTo>
                    <a:cubicBezTo>
                      <a:pt x="346" y="316"/>
                      <a:pt x="346" y="316"/>
                      <a:pt x="346" y="316"/>
                    </a:cubicBezTo>
                    <a:cubicBezTo>
                      <a:pt x="348" y="315"/>
                      <a:pt x="348" y="315"/>
                      <a:pt x="348" y="315"/>
                    </a:cubicBezTo>
                    <a:cubicBezTo>
                      <a:pt x="351" y="314"/>
                      <a:pt x="351" y="314"/>
                      <a:pt x="351" y="314"/>
                    </a:cubicBezTo>
                    <a:cubicBezTo>
                      <a:pt x="353" y="313"/>
                      <a:pt x="353" y="313"/>
                      <a:pt x="353" y="313"/>
                    </a:cubicBezTo>
                    <a:cubicBezTo>
                      <a:pt x="356" y="313"/>
                      <a:pt x="356" y="313"/>
                      <a:pt x="356" y="313"/>
                    </a:cubicBezTo>
                    <a:cubicBezTo>
                      <a:pt x="360" y="315"/>
                      <a:pt x="360" y="315"/>
                      <a:pt x="360" y="315"/>
                    </a:cubicBezTo>
                    <a:cubicBezTo>
                      <a:pt x="364" y="319"/>
                      <a:pt x="364" y="319"/>
                      <a:pt x="364" y="319"/>
                    </a:cubicBezTo>
                    <a:cubicBezTo>
                      <a:pt x="366" y="320"/>
                      <a:pt x="366" y="320"/>
                      <a:pt x="366" y="320"/>
                    </a:cubicBezTo>
                    <a:cubicBezTo>
                      <a:pt x="367" y="322"/>
                      <a:pt x="367" y="322"/>
                      <a:pt x="367" y="322"/>
                    </a:cubicBezTo>
                    <a:cubicBezTo>
                      <a:pt x="369" y="322"/>
                      <a:pt x="369" y="322"/>
                      <a:pt x="369" y="322"/>
                    </a:cubicBezTo>
                    <a:cubicBezTo>
                      <a:pt x="371" y="323"/>
                      <a:pt x="371" y="323"/>
                      <a:pt x="371" y="323"/>
                    </a:cubicBezTo>
                    <a:cubicBezTo>
                      <a:pt x="373" y="323"/>
                      <a:pt x="373" y="323"/>
                      <a:pt x="373" y="323"/>
                    </a:cubicBezTo>
                    <a:cubicBezTo>
                      <a:pt x="375" y="324"/>
                      <a:pt x="375" y="324"/>
                      <a:pt x="375" y="324"/>
                    </a:cubicBezTo>
                    <a:cubicBezTo>
                      <a:pt x="376" y="324"/>
                      <a:pt x="376" y="324"/>
                      <a:pt x="376" y="324"/>
                    </a:cubicBezTo>
                    <a:cubicBezTo>
                      <a:pt x="376" y="325"/>
                      <a:pt x="376" y="325"/>
                      <a:pt x="376" y="325"/>
                    </a:cubicBezTo>
                    <a:cubicBezTo>
                      <a:pt x="377" y="327"/>
                      <a:pt x="377" y="327"/>
                      <a:pt x="377" y="327"/>
                    </a:cubicBezTo>
                    <a:cubicBezTo>
                      <a:pt x="378" y="328"/>
                      <a:pt x="378" y="328"/>
                      <a:pt x="378" y="328"/>
                    </a:cubicBezTo>
                    <a:cubicBezTo>
                      <a:pt x="379" y="330"/>
                      <a:pt x="379" y="330"/>
                      <a:pt x="379" y="330"/>
                    </a:cubicBezTo>
                    <a:cubicBezTo>
                      <a:pt x="380" y="331"/>
                      <a:pt x="380" y="331"/>
                      <a:pt x="380" y="331"/>
                    </a:cubicBezTo>
                    <a:cubicBezTo>
                      <a:pt x="380" y="332"/>
                      <a:pt x="380" y="332"/>
                      <a:pt x="380" y="332"/>
                    </a:cubicBezTo>
                    <a:cubicBezTo>
                      <a:pt x="392" y="333"/>
                      <a:pt x="392" y="333"/>
                      <a:pt x="392" y="333"/>
                    </a:cubicBezTo>
                    <a:cubicBezTo>
                      <a:pt x="394" y="327"/>
                      <a:pt x="394" y="327"/>
                      <a:pt x="394" y="327"/>
                    </a:cubicBezTo>
                    <a:cubicBezTo>
                      <a:pt x="398" y="331"/>
                      <a:pt x="398" y="331"/>
                      <a:pt x="398" y="331"/>
                    </a:cubicBezTo>
                    <a:cubicBezTo>
                      <a:pt x="404" y="338"/>
                      <a:pt x="404" y="338"/>
                      <a:pt x="404" y="338"/>
                    </a:cubicBezTo>
                    <a:cubicBezTo>
                      <a:pt x="411" y="338"/>
                      <a:pt x="411" y="338"/>
                      <a:pt x="411" y="338"/>
                    </a:cubicBezTo>
                    <a:cubicBezTo>
                      <a:pt x="413" y="336"/>
                      <a:pt x="413" y="336"/>
                      <a:pt x="413" y="336"/>
                    </a:cubicBezTo>
                    <a:cubicBezTo>
                      <a:pt x="413" y="333"/>
                      <a:pt x="413" y="333"/>
                      <a:pt x="413" y="333"/>
                    </a:cubicBezTo>
                    <a:cubicBezTo>
                      <a:pt x="423" y="333"/>
                      <a:pt x="423" y="333"/>
                      <a:pt x="423" y="333"/>
                    </a:cubicBezTo>
                    <a:cubicBezTo>
                      <a:pt x="422" y="331"/>
                      <a:pt x="422" y="331"/>
                      <a:pt x="422" y="331"/>
                    </a:cubicBezTo>
                    <a:cubicBezTo>
                      <a:pt x="426" y="331"/>
                      <a:pt x="426" y="331"/>
                      <a:pt x="426" y="331"/>
                    </a:cubicBezTo>
                    <a:cubicBezTo>
                      <a:pt x="425" y="330"/>
                      <a:pt x="425" y="330"/>
                      <a:pt x="425" y="330"/>
                    </a:cubicBezTo>
                    <a:cubicBezTo>
                      <a:pt x="425" y="329"/>
                      <a:pt x="425" y="329"/>
                      <a:pt x="425" y="329"/>
                    </a:cubicBezTo>
                    <a:cubicBezTo>
                      <a:pt x="431" y="323"/>
                      <a:pt x="431" y="323"/>
                      <a:pt x="431" y="323"/>
                    </a:cubicBezTo>
                    <a:cubicBezTo>
                      <a:pt x="434" y="323"/>
                      <a:pt x="434" y="323"/>
                      <a:pt x="434" y="323"/>
                    </a:cubicBezTo>
                    <a:cubicBezTo>
                      <a:pt x="436" y="320"/>
                      <a:pt x="436" y="320"/>
                      <a:pt x="436" y="320"/>
                    </a:cubicBezTo>
                    <a:cubicBezTo>
                      <a:pt x="439" y="320"/>
                      <a:pt x="439" y="320"/>
                      <a:pt x="439" y="320"/>
                    </a:cubicBezTo>
                    <a:cubicBezTo>
                      <a:pt x="439" y="319"/>
                      <a:pt x="439" y="319"/>
                      <a:pt x="439" y="319"/>
                    </a:cubicBezTo>
                    <a:cubicBezTo>
                      <a:pt x="440" y="318"/>
                      <a:pt x="440" y="318"/>
                      <a:pt x="440" y="318"/>
                    </a:cubicBezTo>
                    <a:cubicBezTo>
                      <a:pt x="440" y="317"/>
                      <a:pt x="440" y="317"/>
                      <a:pt x="440" y="317"/>
                    </a:cubicBezTo>
                    <a:cubicBezTo>
                      <a:pt x="441" y="316"/>
                      <a:pt x="441" y="316"/>
                      <a:pt x="441" y="316"/>
                    </a:cubicBezTo>
                    <a:cubicBezTo>
                      <a:pt x="444" y="316"/>
                      <a:pt x="444" y="316"/>
                      <a:pt x="444" y="316"/>
                    </a:cubicBezTo>
                    <a:cubicBezTo>
                      <a:pt x="445" y="317"/>
                      <a:pt x="445" y="317"/>
                      <a:pt x="445" y="317"/>
                    </a:cubicBezTo>
                    <a:cubicBezTo>
                      <a:pt x="448" y="316"/>
                      <a:pt x="448" y="316"/>
                      <a:pt x="448" y="316"/>
                    </a:cubicBezTo>
                    <a:cubicBezTo>
                      <a:pt x="448" y="317"/>
                      <a:pt x="448" y="317"/>
                      <a:pt x="448" y="317"/>
                    </a:cubicBezTo>
                    <a:cubicBezTo>
                      <a:pt x="454" y="317"/>
                      <a:pt x="454" y="317"/>
                      <a:pt x="454" y="317"/>
                    </a:cubicBezTo>
                    <a:cubicBezTo>
                      <a:pt x="455" y="320"/>
                      <a:pt x="455" y="320"/>
                      <a:pt x="455" y="320"/>
                    </a:cubicBezTo>
                    <a:cubicBezTo>
                      <a:pt x="459" y="320"/>
                      <a:pt x="459" y="320"/>
                      <a:pt x="459" y="320"/>
                    </a:cubicBezTo>
                    <a:cubicBezTo>
                      <a:pt x="462" y="319"/>
                      <a:pt x="462" y="319"/>
                      <a:pt x="462" y="319"/>
                    </a:cubicBezTo>
                    <a:cubicBezTo>
                      <a:pt x="469" y="319"/>
                      <a:pt x="469" y="319"/>
                      <a:pt x="469" y="319"/>
                    </a:cubicBezTo>
                    <a:cubicBezTo>
                      <a:pt x="469" y="320"/>
                      <a:pt x="469" y="320"/>
                      <a:pt x="469" y="320"/>
                    </a:cubicBezTo>
                    <a:cubicBezTo>
                      <a:pt x="470" y="321"/>
                      <a:pt x="470" y="321"/>
                      <a:pt x="470" y="321"/>
                    </a:cubicBezTo>
                    <a:cubicBezTo>
                      <a:pt x="470" y="323"/>
                      <a:pt x="470" y="323"/>
                      <a:pt x="470" y="323"/>
                    </a:cubicBezTo>
                    <a:cubicBezTo>
                      <a:pt x="471" y="324"/>
                      <a:pt x="471" y="324"/>
                      <a:pt x="471" y="324"/>
                    </a:cubicBezTo>
                    <a:cubicBezTo>
                      <a:pt x="474" y="325"/>
                      <a:pt x="474" y="325"/>
                      <a:pt x="474" y="325"/>
                    </a:cubicBezTo>
                    <a:cubicBezTo>
                      <a:pt x="479" y="325"/>
                      <a:pt x="479" y="325"/>
                      <a:pt x="479" y="325"/>
                    </a:cubicBezTo>
                    <a:cubicBezTo>
                      <a:pt x="480" y="327"/>
                      <a:pt x="480" y="327"/>
                      <a:pt x="480" y="327"/>
                    </a:cubicBezTo>
                    <a:cubicBezTo>
                      <a:pt x="484" y="326"/>
                      <a:pt x="484" y="326"/>
                      <a:pt x="484" y="326"/>
                    </a:cubicBezTo>
                    <a:cubicBezTo>
                      <a:pt x="485" y="328"/>
                      <a:pt x="485" y="328"/>
                      <a:pt x="485" y="328"/>
                    </a:cubicBezTo>
                    <a:cubicBezTo>
                      <a:pt x="485" y="327"/>
                      <a:pt x="485" y="327"/>
                      <a:pt x="485" y="327"/>
                    </a:cubicBezTo>
                    <a:cubicBezTo>
                      <a:pt x="486" y="326"/>
                      <a:pt x="486" y="326"/>
                      <a:pt x="486" y="326"/>
                    </a:cubicBezTo>
                    <a:cubicBezTo>
                      <a:pt x="493" y="326"/>
                      <a:pt x="493" y="326"/>
                      <a:pt x="493" y="326"/>
                    </a:cubicBezTo>
                    <a:cubicBezTo>
                      <a:pt x="493" y="328"/>
                      <a:pt x="493" y="328"/>
                      <a:pt x="493" y="328"/>
                    </a:cubicBezTo>
                    <a:cubicBezTo>
                      <a:pt x="501" y="327"/>
                      <a:pt x="501" y="327"/>
                      <a:pt x="501" y="327"/>
                    </a:cubicBezTo>
                    <a:cubicBezTo>
                      <a:pt x="501" y="329"/>
                      <a:pt x="501" y="329"/>
                      <a:pt x="501" y="329"/>
                    </a:cubicBezTo>
                    <a:cubicBezTo>
                      <a:pt x="502" y="330"/>
                      <a:pt x="502" y="330"/>
                      <a:pt x="502" y="330"/>
                    </a:cubicBezTo>
                    <a:cubicBezTo>
                      <a:pt x="506" y="328"/>
                      <a:pt x="506" y="328"/>
                      <a:pt x="506" y="328"/>
                    </a:cubicBezTo>
                    <a:cubicBezTo>
                      <a:pt x="507" y="327"/>
                      <a:pt x="507" y="327"/>
                      <a:pt x="507" y="327"/>
                    </a:cubicBezTo>
                    <a:cubicBezTo>
                      <a:pt x="507" y="326"/>
                      <a:pt x="507" y="326"/>
                      <a:pt x="507" y="326"/>
                    </a:cubicBezTo>
                    <a:cubicBezTo>
                      <a:pt x="510" y="326"/>
                      <a:pt x="510" y="326"/>
                      <a:pt x="510" y="326"/>
                    </a:cubicBezTo>
                    <a:cubicBezTo>
                      <a:pt x="510" y="322"/>
                      <a:pt x="510" y="322"/>
                      <a:pt x="510" y="322"/>
                    </a:cubicBezTo>
                    <a:cubicBezTo>
                      <a:pt x="509" y="320"/>
                      <a:pt x="509" y="320"/>
                      <a:pt x="509" y="320"/>
                    </a:cubicBezTo>
                    <a:cubicBezTo>
                      <a:pt x="508" y="319"/>
                      <a:pt x="508" y="319"/>
                      <a:pt x="508" y="319"/>
                    </a:cubicBezTo>
                    <a:cubicBezTo>
                      <a:pt x="507" y="319"/>
                      <a:pt x="507" y="319"/>
                      <a:pt x="507" y="319"/>
                    </a:cubicBezTo>
                    <a:cubicBezTo>
                      <a:pt x="503" y="313"/>
                      <a:pt x="503" y="313"/>
                      <a:pt x="503" y="313"/>
                    </a:cubicBezTo>
                    <a:cubicBezTo>
                      <a:pt x="502" y="310"/>
                      <a:pt x="502" y="310"/>
                      <a:pt x="502" y="310"/>
                    </a:cubicBezTo>
                    <a:cubicBezTo>
                      <a:pt x="500" y="308"/>
                      <a:pt x="500" y="308"/>
                      <a:pt x="500" y="308"/>
                    </a:cubicBezTo>
                    <a:cubicBezTo>
                      <a:pt x="500" y="306"/>
                      <a:pt x="500" y="306"/>
                      <a:pt x="500" y="306"/>
                    </a:cubicBezTo>
                    <a:cubicBezTo>
                      <a:pt x="503" y="306"/>
                      <a:pt x="503" y="306"/>
                      <a:pt x="503" y="306"/>
                    </a:cubicBezTo>
                    <a:cubicBezTo>
                      <a:pt x="502" y="304"/>
                      <a:pt x="502" y="304"/>
                      <a:pt x="502" y="304"/>
                    </a:cubicBezTo>
                    <a:cubicBezTo>
                      <a:pt x="503" y="304"/>
                      <a:pt x="503" y="304"/>
                      <a:pt x="503" y="304"/>
                    </a:cubicBezTo>
                    <a:cubicBezTo>
                      <a:pt x="505" y="303"/>
                      <a:pt x="505" y="303"/>
                      <a:pt x="505" y="303"/>
                    </a:cubicBezTo>
                    <a:cubicBezTo>
                      <a:pt x="506" y="301"/>
                      <a:pt x="506" y="301"/>
                      <a:pt x="506" y="301"/>
                    </a:cubicBezTo>
                    <a:cubicBezTo>
                      <a:pt x="506" y="298"/>
                      <a:pt x="506" y="298"/>
                      <a:pt x="506" y="298"/>
                    </a:cubicBezTo>
                    <a:cubicBezTo>
                      <a:pt x="516" y="303"/>
                      <a:pt x="516" y="303"/>
                      <a:pt x="516" y="303"/>
                    </a:cubicBezTo>
                    <a:cubicBezTo>
                      <a:pt x="518" y="303"/>
                      <a:pt x="518" y="303"/>
                      <a:pt x="518" y="303"/>
                    </a:cubicBezTo>
                    <a:cubicBezTo>
                      <a:pt x="522" y="304"/>
                      <a:pt x="522" y="304"/>
                      <a:pt x="522" y="304"/>
                    </a:cubicBezTo>
                    <a:cubicBezTo>
                      <a:pt x="528" y="304"/>
                      <a:pt x="528" y="304"/>
                      <a:pt x="528" y="304"/>
                    </a:cubicBezTo>
                    <a:cubicBezTo>
                      <a:pt x="530" y="305"/>
                      <a:pt x="530" y="305"/>
                      <a:pt x="530" y="305"/>
                    </a:cubicBezTo>
                    <a:cubicBezTo>
                      <a:pt x="531" y="306"/>
                      <a:pt x="531" y="306"/>
                      <a:pt x="531" y="306"/>
                    </a:cubicBezTo>
                    <a:cubicBezTo>
                      <a:pt x="535" y="308"/>
                      <a:pt x="535" y="308"/>
                      <a:pt x="535" y="308"/>
                    </a:cubicBezTo>
                    <a:cubicBezTo>
                      <a:pt x="536" y="308"/>
                      <a:pt x="536" y="308"/>
                      <a:pt x="536" y="308"/>
                    </a:cubicBezTo>
                    <a:cubicBezTo>
                      <a:pt x="538" y="307"/>
                      <a:pt x="538" y="307"/>
                      <a:pt x="538" y="307"/>
                    </a:cubicBezTo>
                    <a:cubicBezTo>
                      <a:pt x="541" y="307"/>
                      <a:pt x="541" y="307"/>
                      <a:pt x="541" y="307"/>
                    </a:cubicBezTo>
                    <a:cubicBezTo>
                      <a:pt x="543" y="308"/>
                      <a:pt x="543" y="308"/>
                      <a:pt x="543" y="308"/>
                    </a:cubicBezTo>
                    <a:cubicBezTo>
                      <a:pt x="544" y="309"/>
                      <a:pt x="544" y="309"/>
                      <a:pt x="544" y="309"/>
                    </a:cubicBezTo>
                    <a:cubicBezTo>
                      <a:pt x="545" y="311"/>
                      <a:pt x="545" y="311"/>
                      <a:pt x="545" y="311"/>
                    </a:cubicBezTo>
                    <a:cubicBezTo>
                      <a:pt x="547" y="313"/>
                      <a:pt x="547" y="313"/>
                      <a:pt x="547" y="313"/>
                    </a:cubicBezTo>
                    <a:cubicBezTo>
                      <a:pt x="549" y="317"/>
                      <a:pt x="549" y="317"/>
                      <a:pt x="549" y="317"/>
                    </a:cubicBezTo>
                    <a:cubicBezTo>
                      <a:pt x="550" y="318"/>
                      <a:pt x="550" y="318"/>
                      <a:pt x="550" y="318"/>
                    </a:cubicBezTo>
                    <a:cubicBezTo>
                      <a:pt x="550" y="319"/>
                      <a:pt x="550" y="319"/>
                      <a:pt x="550" y="319"/>
                    </a:cubicBezTo>
                    <a:cubicBezTo>
                      <a:pt x="554" y="318"/>
                      <a:pt x="554" y="318"/>
                      <a:pt x="554" y="318"/>
                    </a:cubicBezTo>
                    <a:cubicBezTo>
                      <a:pt x="554" y="319"/>
                      <a:pt x="554" y="319"/>
                      <a:pt x="554" y="319"/>
                    </a:cubicBezTo>
                    <a:cubicBezTo>
                      <a:pt x="557" y="322"/>
                      <a:pt x="557" y="322"/>
                      <a:pt x="557" y="322"/>
                    </a:cubicBezTo>
                    <a:cubicBezTo>
                      <a:pt x="562" y="322"/>
                      <a:pt x="562" y="322"/>
                      <a:pt x="562" y="322"/>
                    </a:cubicBezTo>
                    <a:cubicBezTo>
                      <a:pt x="563" y="323"/>
                      <a:pt x="563" y="323"/>
                      <a:pt x="563" y="323"/>
                    </a:cubicBezTo>
                    <a:cubicBezTo>
                      <a:pt x="565" y="323"/>
                      <a:pt x="565" y="323"/>
                      <a:pt x="565" y="323"/>
                    </a:cubicBezTo>
                    <a:cubicBezTo>
                      <a:pt x="567" y="324"/>
                      <a:pt x="567" y="324"/>
                      <a:pt x="567" y="324"/>
                    </a:cubicBezTo>
                    <a:cubicBezTo>
                      <a:pt x="569" y="324"/>
                      <a:pt x="569" y="324"/>
                      <a:pt x="569" y="324"/>
                    </a:cubicBezTo>
                    <a:cubicBezTo>
                      <a:pt x="571" y="323"/>
                      <a:pt x="571" y="323"/>
                      <a:pt x="571" y="323"/>
                    </a:cubicBezTo>
                    <a:cubicBezTo>
                      <a:pt x="580" y="320"/>
                      <a:pt x="580" y="320"/>
                      <a:pt x="580" y="320"/>
                    </a:cubicBezTo>
                    <a:cubicBezTo>
                      <a:pt x="588" y="320"/>
                      <a:pt x="588" y="320"/>
                      <a:pt x="588" y="320"/>
                    </a:cubicBezTo>
                    <a:cubicBezTo>
                      <a:pt x="590" y="321"/>
                      <a:pt x="590" y="321"/>
                      <a:pt x="590" y="321"/>
                    </a:cubicBezTo>
                    <a:cubicBezTo>
                      <a:pt x="591" y="321"/>
                      <a:pt x="591" y="321"/>
                      <a:pt x="591" y="321"/>
                    </a:cubicBezTo>
                    <a:cubicBezTo>
                      <a:pt x="592" y="322"/>
                      <a:pt x="592" y="322"/>
                      <a:pt x="592" y="322"/>
                    </a:cubicBezTo>
                    <a:cubicBezTo>
                      <a:pt x="598" y="322"/>
                      <a:pt x="598" y="322"/>
                      <a:pt x="598" y="322"/>
                    </a:cubicBezTo>
                    <a:cubicBezTo>
                      <a:pt x="602" y="326"/>
                      <a:pt x="602" y="326"/>
                      <a:pt x="602" y="326"/>
                    </a:cubicBezTo>
                    <a:cubicBezTo>
                      <a:pt x="612" y="326"/>
                      <a:pt x="612" y="326"/>
                      <a:pt x="612" y="326"/>
                    </a:cubicBezTo>
                    <a:cubicBezTo>
                      <a:pt x="613" y="327"/>
                      <a:pt x="613" y="327"/>
                      <a:pt x="613" y="327"/>
                    </a:cubicBezTo>
                    <a:cubicBezTo>
                      <a:pt x="613" y="328"/>
                      <a:pt x="613" y="328"/>
                      <a:pt x="613" y="328"/>
                    </a:cubicBezTo>
                    <a:cubicBezTo>
                      <a:pt x="615" y="330"/>
                      <a:pt x="615" y="330"/>
                      <a:pt x="615" y="330"/>
                    </a:cubicBezTo>
                    <a:cubicBezTo>
                      <a:pt x="615" y="331"/>
                      <a:pt x="615" y="331"/>
                      <a:pt x="615" y="331"/>
                    </a:cubicBezTo>
                    <a:cubicBezTo>
                      <a:pt x="618" y="331"/>
                      <a:pt x="618" y="331"/>
                      <a:pt x="618" y="331"/>
                    </a:cubicBezTo>
                    <a:cubicBezTo>
                      <a:pt x="620" y="332"/>
                      <a:pt x="620" y="332"/>
                      <a:pt x="620" y="332"/>
                    </a:cubicBezTo>
                    <a:cubicBezTo>
                      <a:pt x="620" y="334"/>
                      <a:pt x="620" y="334"/>
                      <a:pt x="620" y="334"/>
                    </a:cubicBezTo>
                    <a:cubicBezTo>
                      <a:pt x="621" y="335"/>
                      <a:pt x="621" y="335"/>
                      <a:pt x="621" y="335"/>
                    </a:cubicBezTo>
                    <a:cubicBezTo>
                      <a:pt x="632" y="335"/>
                      <a:pt x="632" y="335"/>
                      <a:pt x="632" y="335"/>
                    </a:cubicBezTo>
                    <a:cubicBezTo>
                      <a:pt x="633" y="336"/>
                      <a:pt x="633" y="336"/>
                      <a:pt x="633" y="336"/>
                    </a:cubicBezTo>
                    <a:cubicBezTo>
                      <a:pt x="634" y="336"/>
                      <a:pt x="634" y="336"/>
                      <a:pt x="634" y="336"/>
                    </a:cubicBezTo>
                    <a:cubicBezTo>
                      <a:pt x="636" y="337"/>
                      <a:pt x="636" y="337"/>
                      <a:pt x="636" y="337"/>
                    </a:cubicBezTo>
                    <a:cubicBezTo>
                      <a:pt x="640" y="337"/>
                      <a:pt x="640" y="337"/>
                      <a:pt x="640" y="337"/>
                    </a:cubicBezTo>
                    <a:cubicBezTo>
                      <a:pt x="642" y="336"/>
                      <a:pt x="642" y="336"/>
                      <a:pt x="642" y="336"/>
                    </a:cubicBezTo>
                    <a:cubicBezTo>
                      <a:pt x="645" y="336"/>
                      <a:pt x="645" y="336"/>
                      <a:pt x="645" y="336"/>
                    </a:cubicBezTo>
                    <a:cubicBezTo>
                      <a:pt x="646" y="337"/>
                      <a:pt x="646" y="337"/>
                      <a:pt x="646" y="337"/>
                    </a:cubicBezTo>
                    <a:cubicBezTo>
                      <a:pt x="646" y="338"/>
                      <a:pt x="646" y="338"/>
                      <a:pt x="646" y="338"/>
                    </a:cubicBezTo>
                    <a:cubicBezTo>
                      <a:pt x="647" y="338"/>
                      <a:pt x="647" y="338"/>
                      <a:pt x="647" y="338"/>
                    </a:cubicBezTo>
                    <a:cubicBezTo>
                      <a:pt x="650" y="335"/>
                      <a:pt x="650" y="335"/>
                      <a:pt x="650" y="335"/>
                    </a:cubicBezTo>
                    <a:cubicBezTo>
                      <a:pt x="650" y="334"/>
                      <a:pt x="650" y="334"/>
                      <a:pt x="650" y="334"/>
                    </a:cubicBezTo>
                    <a:cubicBezTo>
                      <a:pt x="658" y="334"/>
                      <a:pt x="658" y="334"/>
                      <a:pt x="658" y="334"/>
                    </a:cubicBezTo>
                    <a:cubicBezTo>
                      <a:pt x="660" y="332"/>
                      <a:pt x="660" y="332"/>
                      <a:pt x="660" y="332"/>
                    </a:cubicBezTo>
                    <a:cubicBezTo>
                      <a:pt x="666" y="332"/>
                      <a:pt x="666" y="332"/>
                      <a:pt x="666" y="332"/>
                    </a:cubicBezTo>
                    <a:cubicBezTo>
                      <a:pt x="668" y="330"/>
                      <a:pt x="668" y="330"/>
                      <a:pt x="668" y="330"/>
                    </a:cubicBezTo>
                    <a:cubicBezTo>
                      <a:pt x="668" y="328"/>
                      <a:pt x="668" y="328"/>
                      <a:pt x="668" y="328"/>
                    </a:cubicBezTo>
                    <a:cubicBezTo>
                      <a:pt x="673" y="323"/>
                      <a:pt x="673" y="323"/>
                      <a:pt x="673" y="323"/>
                    </a:cubicBezTo>
                    <a:cubicBezTo>
                      <a:pt x="676" y="323"/>
                      <a:pt x="676" y="323"/>
                      <a:pt x="676" y="323"/>
                    </a:cubicBezTo>
                    <a:cubicBezTo>
                      <a:pt x="678" y="324"/>
                      <a:pt x="678" y="324"/>
                      <a:pt x="678" y="324"/>
                    </a:cubicBezTo>
                    <a:cubicBezTo>
                      <a:pt x="684" y="324"/>
                      <a:pt x="684" y="324"/>
                      <a:pt x="684" y="324"/>
                    </a:cubicBezTo>
                    <a:cubicBezTo>
                      <a:pt x="687" y="327"/>
                      <a:pt x="687" y="327"/>
                      <a:pt x="687" y="327"/>
                    </a:cubicBezTo>
                    <a:cubicBezTo>
                      <a:pt x="689" y="328"/>
                      <a:pt x="689" y="328"/>
                      <a:pt x="689" y="328"/>
                    </a:cubicBezTo>
                    <a:cubicBezTo>
                      <a:pt x="693" y="328"/>
                      <a:pt x="693" y="328"/>
                      <a:pt x="693" y="328"/>
                    </a:cubicBezTo>
                    <a:cubicBezTo>
                      <a:pt x="695" y="327"/>
                      <a:pt x="695" y="327"/>
                      <a:pt x="695" y="327"/>
                    </a:cubicBezTo>
                    <a:cubicBezTo>
                      <a:pt x="696" y="326"/>
                      <a:pt x="696" y="326"/>
                      <a:pt x="696" y="326"/>
                    </a:cubicBezTo>
                    <a:cubicBezTo>
                      <a:pt x="700" y="327"/>
                      <a:pt x="700" y="327"/>
                      <a:pt x="700" y="327"/>
                    </a:cubicBezTo>
                    <a:cubicBezTo>
                      <a:pt x="703" y="327"/>
                      <a:pt x="703" y="327"/>
                      <a:pt x="703" y="327"/>
                    </a:cubicBezTo>
                    <a:cubicBezTo>
                      <a:pt x="709" y="331"/>
                      <a:pt x="709" y="331"/>
                      <a:pt x="709" y="331"/>
                    </a:cubicBezTo>
                    <a:cubicBezTo>
                      <a:pt x="715" y="331"/>
                      <a:pt x="715" y="331"/>
                      <a:pt x="715" y="331"/>
                    </a:cubicBezTo>
                    <a:cubicBezTo>
                      <a:pt x="716" y="332"/>
                      <a:pt x="716" y="332"/>
                      <a:pt x="716" y="332"/>
                    </a:cubicBezTo>
                    <a:cubicBezTo>
                      <a:pt x="718" y="332"/>
                      <a:pt x="718" y="332"/>
                      <a:pt x="718" y="332"/>
                    </a:cubicBezTo>
                    <a:cubicBezTo>
                      <a:pt x="721" y="329"/>
                      <a:pt x="721" y="329"/>
                      <a:pt x="721" y="329"/>
                    </a:cubicBezTo>
                    <a:cubicBezTo>
                      <a:pt x="721" y="327"/>
                      <a:pt x="721" y="327"/>
                      <a:pt x="721" y="327"/>
                    </a:cubicBezTo>
                    <a:cubicBezTo>
                      <a:pt x="725" y="327"/>
                      <a:pt x="725" y="327"/>
                      <a:pt x="725" y="327"/>
                    </a:cubicBezTo>
                    <a:cubicBezTo>
                      <a:pt x="727" y="326"/>
                      <a:pt x="727" y="326"/>
                      <a:pt x="727" y="326"/>
                    </a:cubicBezTo>
                    <a:cubicBezTo>
                      <a:pt x="728" y="325"/>
                      <a:pt x="728" y="325"/>
                      <a:pt x="728" y="325"/>
                    </a:cubicBezTo>
                    <a:cubicBezTo>
                      <a:pt x="728" y="323"/>
                      <a:pt x="728" y="323"/>
                      <a:pt x="728" y="323"/>
                    </a:cubicBezTo>
                    <a:cubicBezTo>
                      <a:pt x="726" y="323"/>
                      <a:pt x="726" y="323"/>
                      <a:pt x="726" y="323"/>
                    </a:cubicBezTo>
                    <a:cubicBezTo>
                      <a:pt x="725" y="322"/>
                      <a:pt x="725" y="322"/>
                      <a:pt x="725" y="322"/>
                    </a:cubicBezTo>
                    <a:cubicBezTo>
                      <a:pt x="724" y="315"/>
                      <a:pt x="724" y="315"/>
                      <a:pt x="724" y="315"/>
                    </a:cubicBezTo>
                    <a:cubicBezTo>
                      <a:pt x="724" y="303"/>
                      <a:pt x="724" y="303"/>
                      <a:pt x="724" y="303"/>
                    </a:cubicBezTo>
                    <a:cubicBezTo>
                      <a:pt x="727" y="300"/>
                      <a:pt x="727" y="300"/>
                      <a:pt x="727" y="300"/>
                    </a:cubicBezTo>
                    <a:cubicBezTo>
                      <a:pt x="727" y="298"/>
                      <a:pt x="727" y="298"/>
                      <a:pt x="727" y="298"/>
                    </a:cubicBezTo>
                    <a:cubicBezTo>
                      <a:pt x="726" y="297"/>
                      <a:pt x="726" y="297"/>
                      <a:pt x="726" y="297"/>
                    </a:cubicBezTo>
                    <a:cubicBezTo>
                      <a:pt x="724" y="296"/>
                      <a:pt x="724" y="296"/>
                      <a:pt x="724" y="296"/>
                    </a:cubicBezTo>
                    <a:cubicBezTo>
                      <a:pt x="722" y="294"/>
                      <a:pt x="722" y="294"/>
                      <a:pt x="722" y="294"/>
                    </a:cubicBezTo>
                    <a:cubicBezTo>
                      <a:pt x="720" y="294"/>
                      <a:pt x="720" y="294"/>
                      <a:pt x="720" y="294"/>
                    </a:cubicBezTo>
                    <a:cubicBezTo>
                      <a:pt x="719" y="293"/>
                      <a:pt x="719" y="293"/>
                      <a:pt x="719" y="293"/>
                    </a:cubicBezTo>
                    <a:cubicBezTo>
                      <a:pt x="717" y="293"/>
                      <a:pt x="717" y="293"/>
                      <a:pt x="717" y="293"/>
                    </a:cubicBezTo>
                    <a:cubicBezTo>
                      <a:pt x="714" y="292"/>
                      <a:pt x="714" y="292"/>
                      <a:pt x="714" y="292"/>
                    </a:cubicBezTo>
                    <a:cubicBezTo>
                      <a:pt x="713" y="292"/>
                      <a:pt x="713" y="292"/>
                      <a:pt x="713" y="292"/>
                    </a:cubicBezTo>
                    <a:cubicBezTo>
                      <a:pt x="713" y="290"/>
                      <a:pt x="713" y="290"/>
                      <a:pt x="713" y="290"/>
                    </a:cubicBezTo>
                    <a:cubicBezTo>
                      <a:pt x="714" y="290"/>
                      <a:pt x="714" y="290"/>
                      <a:pt x="714" y="290"/>
                    </a:cubicBezTo>
                    <a:cubicBezTo>
                      <a:pt x="721" y="283"/>
                      <a:pt x="721" y="283"/>
                      <a:pt x="721" y="283"/>
                    </a:cubicBezTo>
                    <a:cubicBezTo>
                      <a:pt x="727" y="282"/>
                      <a:pt x="727" y="282"/>
                      <a:pt x="727" y="282"/>
                    </a:cubicBezTo>
                    <a:cubicBezTo>
                      <a:pt x="728" y="280"/>
                      <a:pt x="728" y="280"/>
                      <a:pt x="728" y="280"/>
                    </a:cubicBezTo>
                    <a:cubicBezTo>
                      <a:pt x="735" y="281"/>
                      <a:pt x="735" y="281"/>
                      <a:pt x="735" y="281"/>
                    </a:cubicBezTo>
                    <a:cubicBezTo>
                      <a:pt x="744" y="279"/>
                      <a:pt x="744" y="279"/>
                      <a:pt x="744" y="279"/>
                    </a:cubicBezTo>
                    <a:cubicBezTo>
                      <a:pt x="750" y="282"/>
                      <a:pt x="750" y="282"/>
                      <a:pt x="750" y="282"/>
                    </a:cubicBezTo>
                    <a:cubicBezTo>
                      <a:pt x="756" y="286"/>
                      <a:pt x="756" y="286"/>
                      <a:pt x="756" y="286"/>
                    </a:cubicBezTo>
                    <a:cubicBezTo>
                      <a:pt x="767" y="286"/>
                      <a:pt x="767" y="286"/>
                      <a:pt x="767" y="286"/>
                    </a:cubicBezTo>
                    <a:cubicBezTo>
                      <a:pt x="768" y="287"/>
                      <a:pt x="768" y="287"/>
                      <a:pt x="768" y="287"/>
                    </a:cubicBezTo>
                    <a:cubicBezTo>
                      <a:pt x="770" y="288"/>
                      <a:pt x="770" y="288"/>
                      <a:pt x="770" y="288"/>
                    </a:cubicBezTo>
                    <a:cubicBezTo>
                      <a:pt x="771" y="289"/>
                      <a:pt x="771" y="289"/>
                      <a:pt x="771" y="289"/>
                    </a:cubicBezTo>
                    <a:cubicBezTo>
                      <a:pt x="773" y="290"/>
                      <a:pt x="773" y="290"/>
                      <a:pt x="773" y="290"/>
                    </a:cubicBezTo>
                    <a:cubicBezTo>
                      <a:pt x="773" y="292"/>
                      <a:pt x="773" y="292"/>
                      <a:pt x="773" y="292"/>
                    </a:cubicBezTo>
                    <a:cubicBezTo>
                      <a:pt x="774" y="292"/>
                      <a:pt x="774" y="292"/>
                      <a:pt x="774" y="292"/>
                    </a:cubicBezTo>
                    <a:cubicBezTo>
                      <a:pt x="776" y="294"/>
                      <a:pt x="776" y="294"/>
                      <a:pt x="776" y="294"/>
                    </a:cubicBezTo>
                    <a:cubicBezTo>
                      <a:pt x="778" y="295"/>
                      <a:pt x="778" y="295"/>
                      <a:pt x="778" y="295"/>
                    </a:cubicBezTo>
                    <a:cubicBezTo>
                      <a:pt x="780" y="297"/>
                      <a:pt x="780" y="297"/>
                      <a:pt x="780" y="297"/>
                    </a:cubicBezTo>
                    <a:cubicBezTo>
                      <a:pt x="782" y="297"/>
                      <a:pt x="782" y="297"/>
                      <a:pt x="782" y="297"/>
                    </a:cubicBezTo>
                    <a:cubicBezTo>
                      <a:pt x="783" y="298"/>
                      <a:pt x="783" y="298"/>
                      <a:pt x="783" y="298"/>
                    </a:cubicBezTo>
                    <a:cubicBezTo>
                      <a:pt x="784" y="298"/>
                      <a:pt x="784" y="298"/>
                      <a:pt x="784" y="298"/>
                    </a:cubicBezTo>
                    <a:cubicBezTo>
                      <a:pt x="785" y="303"/>
                      <a:pt x="785" y="303"/>
                      <a:pt x="785" y="303"/>
                    </a:cubicBezTo>
                    <a:cubicBezTo>
                      <a:pt x="793" y="307"/>
                      <a:pt x="793" y="307"/>
                      <a:pt x="793" y="307"/>
                    </a:cubicBezTo>
                    <a:cubicBezTo>
                      <a:pt x="795" y="312"/>
                      <a:pt x="795" y="312"/>
                      <a:pt x="795" y="312"/>
                    </a:cubicBezTo>
                    <a:cubicBezTo>
                      <a:pt x="797" y="312"/>
                      <a:pt x="797" y="312"/>
                      <a:pt x="797" y="312"/>
                    </a:cubicBezTo>
                    <a:cubicBezTo>
                      <a:pt x="805" y="316"/>
                      <a:pt x="805" y="316"/>
                      <a:pt x="805" y="316"/>
                    </a:cubicBezTo>
                    <a:cubicBezTo>
                      <a:pt x="806" y="318"/>
                      <a:pt x="806" y="318"/>
                      <a:pt x="806" y="318"/>
                    </a:cubicBezTo>
                    <a:cubicBezTo>
                      <a:pt x="809" y="321"/>
                      <a:pt x="809" y="321"/>
                      <a:pt x="809" y="321"/>
                    </a:cubicBezTo>
                    <a:cubicBezTo>
                      <a:pt x="810" y="323"/>
                      <a:pt x="810" y="323"/>
                      <a:pt x="810" y="323"/>
                    </a:cubicBezTo>
                    <a:cubicBezTo>
                      <a:pt x="812" y="323"/>
                      <a:pt x="812" y="323"/>
                      <a:pt x="812" y="323"/>
                    </a:cubicBezTo>
                    <a:cubicBezTo>
                      <a:pt x="813" y="327"/>
                      <a:pt x="813" y="327"/>
                      <a:pt x="813" y="327"/>
                    </a:cubicBezTo>
                    <a:cubicBezTo>
                      <a:pt x="814" y="327"/>
                      <a:pt x="814" y="327"/>
                      <a:pt x="814" y="327"/>
                    </a:cubicBezTo>
                    <a:cubicBezTo>
                      <a:pt x="815" y="328"/>
                      <a:pt x="815" y="328"/>
                      <a:pt x="815" y="328"/>
                    </a:cubicBezTo>
                    <a:cubicBezTo>
                      <a:pt x="819" y="330"/>
                      <a:pt x="819" y="330"/>
                      <a:pt x="819" y="330"/>
                    </a:cubicBezTo>
                    <a:cubicBezTo>
                      <a:pt x="820" y="331"/>
                      <a:pt x="820" y="331"/>
                      <a:pt x="820" y="331"/>
                    </a:cubicBezTo>
                    <a:cubicBezTo>
                      <a:pt x="822" y="332"/>
                      <a:pt x="822" y="332"/>
                      <a:pt x="822" y="332"/>
                    </a:cubicBezTo>
                    <a:cubicBezTo>
                      <a:pt x="830" y="332"/>
                      <a:pt x="830" y="332"/>
                      <a:pt x="830" y="332"/>
                    </a:cubicBezTo>
                    <a:cubicBezTo>
                      <a:pt x="832" y="333"/>
                      <a:pt x="832" y="333"/>
                      <a:pt x="832" y="333"/>
                    </a:cubicBezTo>
                    <a:cubicBezTo>
                      <a:pt x="833" y="334"/>
                      <a:pt x="833" y="334"/>
                      <a:pt x="833" y="334"/>
                    </a:cubicBezTo>
                    <a:cubicBezTo>
                      <a:pt x="835" y="335"/>
                      <a:pt x="835" y="335"/>
                      <a:pt x="835" y="335"/>
                    </a:cubicBezTo>
                    <a:cubicBezTo>
                      <a:pt x="837" y="333"/>
                      <a:pt x="837" y="333"/>
                      <a:pt x="837" y="333"/>
                    </a:cubicBezTo>
                    <a:cubicBezTo>
                      <a:pt x="839" y="333"/>
                      <a:pt x="839" y="333"/>
                      <a:pt x="839" y="333"/>
                    </a:cubicBezTo>
                    <a:cubicBezTo>
                      <a:pt x="842" y="336"/>
                      <a:pt x="842" y="336"/>
                      <a:pt x="842" y="336"/>
                    </a:cubicBezTo>
                    <a:cubicBezTo>
                      <a:pt x="844" y="337"/>
                      <a:pt x="844" y="337"/>
                      <a:pt x="844" y="337"/>
                    </a:cubicBezTo>
                    <a:cubicBezTo>
                      <a:pt x="847" y="340"/>
                      <a:pt x="847" y="340"/>
                      <a:pt x="847" y="340"/>
                    </a:cubicBezTo>
                    <a:cubicBezTo>
                      <a:pt x="854" y="340"/>
                      <a:pt x="854" y="340"/>
                      <a:pt x="854" y="340"/>
                    </a:cubicBezTo>
                    <a:cubicBezTo>
                      <a:pt x="857" y="345"/>
                      <a:pt x="857" y="345"/>
                      <a:pt x="857" y="345"/>
                    </a:cubicBezTo>
                    <a:cubicBezTo>
                      <a:pt x="860" y="345"/>
                      <a:pt x="860" y="345"/>
                      <a:pt x="860" y="345"/>
                    </a:cubicBezTo>
                    <a:cubicBezTo>
                      <a:pt x="861" y="346"/>
                      <a:pt x="861" y="346"/>
                      <a:pt x="861" y="346"/>
                    </a:cubicBezTo>
                    <a:cubicBezTo>
                      <a:pt x="861" y="347"/>
                      <a:pt x="861" y="347"/>
                      <a:pt x="861" y="347"/>
                    </a:cubicBezTo>
                    <a:cubicBezTo>
                      <a:pt x="862" y="349"/>
                      <a:pt x="862" y="349"/>
                      <a:pt x="862" y="349"/>
                    </a:cubicBezTo>
                    <a:cubicBezTo>
                      <a:pt x="862" y="351"/>
                      <a:pt x="862" y="351"/>
                      <a:pt x="862" y="351"/>
                    </a:cubicBezTo>
                    <a:cubicBezTo>
                      <a:pt x="869" y="356"/>
                      <a:pt x="869" y="356"/>
                      <a:pt x="869" y="356"/>
                    </a:cubicBezTo>
                    <a:cubicBezTo>
                      <a:pt x="873" y="355"/>
                      <a:pt x="873" y="355"/>
                      <a:pt x="873" y="355"/>
                    </a:cubicBezTo>
                    <a:cubicBezTo>
                      <a:pt x="875" y="357"/>
                      <a:pt x="875" y="357"/>
                      <a:pt x="875" y="357"/>
                    </a:cubicBezTo>
                    <a:cubicBezTo>
                      <a:pt x="878" y="357"/>
                      <a:pt x="878" y="357"/>
                      <a:pt x="878" y="357"/>
                    </a:cubicBezTo>
                    <a:cubicBezTo>
                      <a:pt x="878" y="355"/>
                      <a:pt x="878" y="355"/>
                      <a:pt x="878" y="355"/>
                    </a:cubicBezTo>
                    <a:cubicBezTo>
                      <a:pt x="883" y="356"/>
                      <a:pt x="883" y="356"/>
                      <a:pt x="883" y="356"/>
                    </a:cubicBezTo>
                    <a:cubicBezTo>
                      <a:pt x="883" y="353"/>
                      <a:pt x="883" y="353"/>
                      <a:pt x="883" y="353"/>
                    </a:cubicBezTo>
                    <a:cubicBezTo>
                      <a:pt x="884" y="352"/>
                      <a:pt x="884" y="352"/>
                      <a:pt x="884" y="352"/>
                    </a:cubicBezTo>
                    <a:cubicBezTo>
                      <a:pt x="885" y="352"/>
                      <a:pt x="885" y="352"/>
                      <a:pt x="885" y="352"/>
                    </a:cubicBezTo>
                    <a:cubicBezTo>
                      <a:pt x="887" y="351"/>
                      <a:pt x="887" y="351"/>
                      <a:pt x="887" y="351"/>
                    </a:cubicBezTo>
                    <a:cubicBezTo>
                      <a:pt x="892" y="351"/>
                      <a:pt x="892" y="351"/>
                      <a:pt x="892" y="351"/>
                    </a:cubicBezTo>
                    <a:cubicBezTo>
                      <a:pt x="893" y="347"/>
                      <a:pt x="893" y="347"/>
                      <a:pt x="893" y="347"/>
                    </a:cubicBezTo>
                    <a:cubicBezTo>
                      <a:pt x="900" y="347"/>
                      <a:pt x="900" y="347"/>
                      <a:pt x="900" y="347"/>
                    </a:cubicBezTo>
                    <a:cubicBezTo>
                      <a:pt x="902" y="348"/>
                      <a:pt x="902" y="348"/>
                      <a:pt x="902" y="348"/>
                    </a:cubicBezTo>
                    <a:cubicBezTo>
                      <a:pt x="903" y="350"/>
                      <a:pt x="903" y="350"/>
                      <a:pt x="903" y="350"/>
                    </a:cubicBezTo>
                    <a:cubicBezTo>
                      <a:pt x="903" y="353"/>
                      <a:pt x="903" y="353"/>
                      <a:pt x="903" y="353"/>
                    </a:cubicBezTo>
                    <a:cubicBezTo>
                      <a:pt x="907" y="355"/>
                      <a:pt x="907" y="355"/>
                      <a:pt x="907" y="355"/>
                    </a:cubicBezTo>
                    <a:cubicBezTo>
                      <a:pt x="907" y="360"/>
                      <a:pt x="907" y="360"/>
                      <a:pt x="907" y="360"/>
                    </a:cubicBezTo>
                    <a:cubicBezTo>
                      <a:pt x="904" y="361"/>
                      <a:pt x="904" y="361"/>
                      <a:pt x="904" y="361"/>
                    </a:cubicBezTo>
                    <a:cubicBezTo>
                      <a:pt x="906" y="364"/>
                      <a:pt x="906" y="364"/>
                      <a:pt x="906" y="364"/>
                    </a:cubicBezTo>
                    <a:cubicBezTo>
                      <a:pt x="906" y="367"/>
                      <a:pt x="906" y="367"/>
                      <a:pt x="906" y="367"/>
                    </a:cubicBezTo>
                    <a:cubicBezTo>
                      <a:pt x="908" y="369"/>
                      <a:pt x="908" y="369"/>
                      <a:pt x="908" y="369"/>
                    </a:cubicBezTo>
                    <a:cubicBezTo>
                      <a:pt x="908" y="373"/>
                      <a:pt x="908" y="373"/>
                      <a:pt x="908" y="373"/>
                    </a:cubicBezTo>
                    <a:cubicBezTo>
                      <a:pt x="911" y="374"/>
                      <a:pt x="911" y="374"/>
                      <a:pt x="911" y="374"/>
                    </a:cubicBezTo>
                    <a:cubicBezTo>
                      <a:pt x="910" y="379"/>
                      <a:pt x="910" y="379"/>
                      <a:pt x="910" y="379"/>
                    </a:cubicBezTo>
                    <a:cubicBezTo>
                      <a:pt x="911" y="383"/>
                      <a:pt x="911" y="383"/>
                      <a:pt x="911" y="383"/>
                    </a:cubicBezTo>
                    <a:cubicBezTo>
                      <a:pt x="910" y="384"/>
                      <a:pt x="910" y="384"/>
                      <a:pt x="910" y="384"/>
                    </a:cubicBezTo>
                    <a:cubicBezTo>
                      <a:pt x="909" y="384"/>
                      <a:pt x="909" y="384"/>
                      <a:pt x="909" y="384"/>
                    </a:cubicBezTo>
                    <a:cubicBezTo>
                      <a:pt x="909" y="387"/>
                      <a:pt x="909" y="387"/>
                      <a:pt x="909" y="387"/>
                    </a:cubicBezTo>
                    <a:cubicBezTo>
                      <a:pt x="910" y="389"/>
                      <a:pt x="910" y="389"/>
                      <a:pt x="910" y="389"/>
                    </a:cubicBezTo>
                    <a:cubicBezTo>
                      <a:pt x="910" y="391"/>
                      <a:pt x="910" y="391"/>
                      <a:pt x="910" y="391"/>
                    </a:cubicBezTo>
                    <a:cubicBezTo>
                      <a:pt x="909" y="392"/>
                      <a:pt x="909" y="392"/>
                      <a:pt x="909" y="392"/>
                    </a:cubicBezTo>
                    <a:cubicBezTo>
                      <a:pt x="908" y="392"/>
                      <a:pt x="908" y="392"/>
                      <a:pt x="908" y="392"/>
                    </a:cubicBezTo>
                    <a:cubicBezTo>
                      <a:pt x="906" y="391"/>
                      <a:pt x="906" y="391"/>
                      <a:pt x="906" y="391"/>
                    </a:cubicBezTo>
                    <a:cubicBezTo>
                      <a:pt x="904" y="391"/>
                      <a:pt x="904" y="391"/>
                      <a:pt x="904" y="391"/>
                    </a:cubicBezTo>
                    <a:cubicBezTo>
                      <a:pt x="901" y="390"/>
                      <a:pt x="901" y="390"/>
                      <a:pt x="901" y="390"/>
                    </a:cubicBezTo>
                    <a:cubicBezTo>
                      <a:pt x="899" y="389"/>
                      <a:pt x="899" y="389"/>
                      <a:pt x="899" y="389"/>
                    </a:cubicBezTo>
                    <a:cubicBezTo>
                      <a:pt x="895" y="389"/>
                      <a:pt x="895" y="389"/>
                      <a:pt x="895" y="389"/>
                    </a:cubicBezTo>
                    <a:cubicBezTo>
                      <a:pt x="894" y="390"/>
                      <a:pt x="894" y="390"/>
                      <a:pt x="894" y="390"/>
                    </a:cubicBezTo>
                    <a:cubicBezTo>
                      <a:pt x="895" y="391"/>
                      <a:pt x="895" y="391"/>
                      <a:pt x="895" y="391"/>
                    </a:cubicBezTo>
                    <a:cubicBezTo>
                      <a:pt x="895" y="393"/>
                      <a:pt x="895" y="393"/>
                      <a:pt x="895" y="393"/>
                    </a:cubicBezTo>
                    <a:cubicBezTo>
                      <a:pt x="891" y="393"/>
                      <a:pt x="891" y="393"/>
                      <a:pt x="891" y="393"/>
                    </a:cubicBezTo>
                    <a:cubicBezTo>
                      <a:pt x="891" y="395"/>
                      <a:pt x="891" y="395"/>
                      <a:pt x="891" y="395"/>
                    </a:cubicBezTo>
                    <a:cubicBezTo>
                      <a:pt x="892" y="397"/>
                      <a:pt x="892" y="397"/>
                      <a:pt x="892" y="397"/>
                    </a:cubicBezTo>
                    <a:cubicBezTo>
                      <a:pt x="893" y="397"/>
                      <a:pt x="893" y="397"/>
                      <a:pt x="893" y="397"/>
                    </a:cubicBezTo>
                    <a:cubicBezTo>
                      <a:pt x="895" y="399"/>
                      <a:pt x="895" y="399"/>
                      <a:pt x="895" y="399"/>
                    </a:cubicBezTo>
                    <a:cubicBezTo>
                      <a:pt x="897" y="400"/>
                      <a:pt x="897" y="400"/>
                      <a:pt x="897" y="400"/>
                    </a:cubicBezTo>
                    <a:cubicBezTo>
                      <a:pt x="899" y="403"/>
                      <a:pt x="899" y="403"/>
                      <a:pt x="899" y="403"/>
                    </a:cubicBezTo>
                    <a:cubicBezTo>
                      <a:pt x="901" y="405"/>
                      <a:pt x="901" y="405"/>
                      <a:pt x="901" y="405"/>
                    </a:cubicBezTo>
                    <a:cubicBezTo>
                      <a:pt x="902" y="408"/>
                      <a:pt x="902" y="408"/>
                      <a:pt x="902" y="408"/>
                    </a:cubicBezTo>
                    <a:cubicBezTo>
                      <a:pt x="902" y="410"/>
                      <a:pt x="902" y="410"/>
                      <a:pt x="902" y="410"/>
                    </a:cubicBezTo>
                    <a:cubicBezTo>
                      <a:pt x="904" y="412"/>
                      <a:pt x="904" y="412"/>
                      <a:pt x="904" y="412"/>
                    </a:cubicBezTo>
                    <a:cubicBezTo>
                      <a:pt x="905" y="414"/>
                      <a:pt x="905" y="414"/>
                      <a:pt x="905" y="414"/>
                    </a:cubicBezTo>
                    <a:cubicBezTo>
                      <a:pt x="906" y="420"/>
                      <a:pt x="906" y="420"/>
                      <a:pt x="906" y="420"/>
                    </a:cubicBezTo>
                    <a:cubicBezTo>
                      <a:pt x="901" y="419"/>
                      <a:pt x="901" y="419"/>
                      <a:pt x="901" y="419"/>
                    </a:cubicBezTo>
                    <a:cubicBezTo>
                      <a:pt x="900" y="423"/>
                      <a:pt x="900" y="423"/>
                      <a:pt x="900" y="423"/>
                    </a:cubicBezTo>
                    <a:cubicBezTo>
                      <a:pt x="904" y="425"/>
                      <a:pt x="904" y="425"/>
                      <a:pt x="904" y="425"/>
                    </a:cubicBezTo>
                    <a:cubicBezTo>
                      <a:pt x="910" y="425"/>
                      <a:pt x="910" y="425"/>
                      <a:pt x="910" y="425"/>
                    </a:cubicBezTo>
                    <a:cubicBezTo>
                      <a:pt x="910" y="415"/>
                      <a:pt x="910" y="415"/>
                      <a:pt x="910" y="415"/>
                    </a:cubicBezTo>
                    <a:cubicBezTo>
                      <a:pt x="911" y="414"/>
                      <a:pt x="911" y="414"/>
                      <a:pt x="911" y="414"/>
                    </a:cubicBezTo>
                    <a:cubicBezTo>
                      <a:pt x="912" y="414"/>
                      <a:pt x="912" y="414"/>
                      <a:pt x="912" y="414"/>
                    </a:cubicBezTo>
                    <a:cubicBezTo>
                      <a:pt x="914" y="415"/>
                      <a:pt x="914" y="415"/>
                      <a:pt x="914" y="415"/>
                    </a:cubicBezTo>
                    <a:cubicBezTo>
                      <a:pt x="915" y="416"/>
                      <a:pt x="915" y="416"/>
                      <a:pt x="915" y="416"/>
                    </a:cubicBezTo>
                    <a:cubicBezTo>
                      <a:pt x="917" y="414"/>
                      <a:pt x="917" y="414"/>
                      <a:pt x="917" y="414"/>
                    </a:cubicBezTo>
                    <a:cubicBezTo>
                      <a:pt x="918" y="416"/>
                      <a:pt x="918" y="416"/>
                      <a:pt x="918" y="416"/>
                    </a:cubicBezTo>
                    <a:cubicBezTo>
                      <a:pt x="919" y="417"/>
                      <a:pt x="919" y="417"/>
                      <a:pt x="919" y="417"/>
                    </a:cubicBezTo>
                    <a:cubicBezTo>
                      <a:pt x="920" y="419"/>
                      <a:pt x="920" y="419"/>
                      <a:pt x="920" y="419"/>
                    </a:cubicBezTo>
                    <a:cubicBezTo>
                      <a:pt x="922" y="421"/>
                      <a:pt x="922" y="421"/>
                      <a:pt x="922" y="421"/>
                    </a:cubicBezTo>
                    <a:cubicBezTo>
                      <a:pt x="924" y="421"/>
                      <a:pt x="924" y="421"/>
                      <a:pt x="924" y="421"/>
                    </a:cubicBezTo>
                    <a:cubicBezTo>
                      <a:pt x="926" y="420"/>
                      <a:pt x="926" y="420"/>
                      <a:pt x="926" y="420"/>
                    </a:cubicBezTo>
                    <a:cubicBezTo>
                      <a:pt x="928" y="420"/>
                      <a:pt x="928" y="420"/>
                      <a:pt x="928" y="420"/>
                    </a:cubicBezTo>
                    <a:cubicBezTo>
                      <a:pt x="929" y="419"/>
                      <a:pt x="929" y="419"/>
                      <a:pt x="929" y="419"/>
                    </a:cubicBezTo>
                    <a:cubicBezTo>
                      <a:pt x="930" y="419"/>
                      <a:pt x="930" y="419"/>
                      <a:pt x="930" y="419"/>
                    </a:cubicBezTo>
                    <a:cubicBezTo>
                      <a:pt x="930" y="422"/>
                      <a:pt x="930" y="422"/>
                      <a:pt x="930" y="422"/>
                    </a:cubicBezTo>
                    <a:cubicBezTo>
                      <a:pt x="931" y="422"/>
                      <a:pt x="931" y="422"/>
                      <a:pt x="931" y="422"/>
                    </a:cubicBezTo>
                    <a:cubicBezTo>
                      <a:pt x="932" y="421"/>
                      <a:pt x="932" y="421"/>
                      <a:pt x="932" y="421"/>
                    </a:cubicBezTo>
                    <a:cubicBezTo>
                      <a:pt x="934" y="420"/>
                      <a:pt x="934" y="420"/>
                      <a:pt x="934" y="420"/>
                    </a:cubicBezTo>
                    <a:cubicBezTo>
                      <a:pt x="937" y="419"/>
                      <a:pt x="937" y="419"/>
                      <a:pt x="937" y="419"/>
                    </a:cubicBezTo>
                    <a:cubicBezTo>
                      <a:pt x="940" y="417"/>
                      <a:pt x="940" y="417"/>
                      <a:pt x="940" y="417"/>
                    </a:cubicBezTo>
                    <a:cubicBezTo>
                      <a:pt x="942" y="416"/>
                      <a:pt x="942" y="416"/>
                      <a:pt x="942" y="416"/>
                    </a:cubicBezTo>
                    <a:cubicBezTo>
                      <a:pt x="944" y="412"/>
                      <a:pt x="944" y="412"/>
                      <a:pt x="944" y="412"/>
                    </a:cubicBezTo>
                    <a:cubicBezTo>
                      <a:pt x="944" y="409"/>
                      <a:pt x="944" y="409"/>
                      <a:pt x="944" y="409"/>
                    </a:cubicBezTo>
                    <a:cubicBezTo>
                      <a:pt x="945" y="406"/>
                      <a:pt x="945" y="406"/>
                      <a:pt x="945" y="406"/>
                    </a:cubicBezTo>
                    <a:cubicBezTo>
                      <a:pt x="945" y="400"/>
                      <a:pt x="945" y="400"/>
                      <a:pt x="945" y="400"/>
                    </a:cubicBezTo>
                    <a:cubicBezTo>
                      <a:pt x="949" y="399"/>
                      <a:pt x="949" y="399"/>
                      <a:pt x="949" y="399"/>
                    </a:cubicBezTo>
                    <a:cubicBezTo>
                      <a:pt x="949" y="389"/>
                      <a:pt x="949" y="389"/>
                      <a:pt x="949" y="389"/>
                    </a:cubicBezTo>
                    <a:cubicBezTo>
                      <a:pt x="950" y="387"/>
                      <a:pt x="950" y="387"/>
                      <a:pt x="950" y="387"/>
                    </a:cubicBezTo>
                    <a:cubicBezTo>
                      <a:pt x="951" y="386"/>
                      <a:pt x="951" y="386"/>
                      <a:pt x="951" y="386"/>
                    </a:cubicBezTo>
                    <a:cubicBezTo>
                      <a:pt x="953" y="382"/>
                      <a:pt x="953" y="382"/>
                      <a:pt x="953" y="382"/>
                    </a:cubicBezTo>
                    <a:cubicBezTo>
                      <a:pt x="953" y="377"/>
                      <a:pt x="953" y="377"/>
                      <a:pt x="953" y="377"/>
                    </a:cubicBezTo>
                    <a:cubicBezTo>
                      <a:pt x="954" y="374"/>
                      <a:pt x="954" y="374"/>
                      <a:pt x="954" y="374"/>
                    </a:cubicBezTo>
                    <a:cubicBezTo>
                      <a:pt x="954" y="371"/>
                      <a:pt x="954" y="371"/>
                      <a:pt x="954" y="371"/>
                    </a:cubicBezTo>
                    <a:cubicBezTo>
                      <a:pt x="953" y="369"/>
                      <a:pt x="953" y="369"/>
                      <a:pt x="953" y="369"/>
                    </a:cubicBezTo>
                    <a:cubicBezTo>
                      <a:pt x="953" y="366"/>
                      <a:pt x="953" y="366"/>
                      <a:pt x="953" y="366"/>
                    </a:cubicBezTo>
                    <a:cubicBezTo>
                      <a:pt x="952" y="365"/>
                      <a:pt x="952" y="365"/>
                      <a:pt x="952" y="365"/>
                    </a:cubicBezTo>
                    <a:cubicBezTo>
                      <a:pt x="952" y="364"/>
                      <a:pt x="952" y="364"/>
                      <a:pt x="952" y="364"/>
                    </a:cubicBezTo>
                    <a:cubicBezTo>
                      <a:pt x="953" y="362"/>
                      <a:pt x="953" y="362"/>
                      <a:pt x="953" y="362"/>
                    </a:cubicBezTo>
                    <a:cubicBezTo>
                      <a:pt x="954" y="361"/>
                      <a:pt x="954" y="361"/>
                      <a:pt x="954" y="361"/>
                    </a:cubicBezTo>
                    <a:cubicBezTo>
                      <a:pt x="954" y="359"/>
                      <a:pt x="954" y="359"/>
                      <a:pt x="954" y="359"/>
                    </a:cubicBezTo>
                    <a:cubicBezTo>
                      <a:pt x="955" y="358"/>
                      <a:pt x="955" y="358"/>
                      <a:pt x="955" y="358"/>
                    </a:cubicBezTo>
                    <a:cubicBezTo>
                      <a:pt x="955" y="356"/>
                      <a:pt x="955" y="356"/>
                      <a:pt x="955" y="356"/>
                    </a:cubicBezTo>
                    <a:cubicBezTo>
                      <a:pt x="954" y="355"/>
                      <a:pt x="954" y="355"/>
                      <a:pt x="954" y="355"/>
                    </a:cubicBezTo>
                    <a:cubicBezTo>
                      <a:pt x="953" y="353"/>
                      <a:pt x="953" y="353"/>
                      <a:pt x="953" y="353"/>
                    </a:cubicBezTo>
                    <a:cubicBezTo>
                      <a:pt x="954" y="351"/>
                      <a:pt x="954" y="351"/>
                      <a:pt x="954" y="351"/>
                    </a:cubicBezTo>
                    <a:cubicBezTo>
                      <a:pt x="955" y="350"/>
                      <a:pt x="955" y="350"/>
                      <a:pt x="955" y="350"/>
                    </a:cubicBezTo>
                    <a:cubicBezTo>
                      <a:pt x="956" y="348"/>
                      <a:pt x="956" y="348"/>
                      <a:pt x="956" y="348"/>
                    </a:cubicBezTo>
                    <a:cubicBezTo>
                      <a:pt x="956" y="345"/>
                      <a:pt x="956" y="345"/>
                      <a:pt x="956" y="345"/>
                    </a:cubicBezTo>
                    <a:cubicBezTo>
                      <a:pt x="955" y="344"/>
                      <a:pt x="955" y="344"/>
                      <a:pt x="955" y="344"/>
                    </a:cubicBezTo>
                    <a:cubicBezTo>
                      <a:pt x="955" y="342"/>
                      <a:pt x="955" y="342"/>
                      <a:pt x="955" y="342"/>
                    </a:cubicBezTo>
                    <a:cubicBezTo>
                      <a:pt x="953" y="338"/>
                      <a:pt x="953" y="338"/>
                      <a:pt x="953" y="338"/>
                    </a:cubicBezTo>
                    <a:cubicBezTo>
                      <a:pt x="952" y="337"/>
                      <a:pt x="952" y="337"/>
                      <a:pt x="952" y="337"/>
                    </a:cubicBezTo>
                    <a:cubicBezTo>
                      <a:pt x="952" y="335"/>
                      <a:pt x="952" y="335"/>
                      <a:pt x="952" y="335"/>
                    </a:cubicBezTo>
                    <a:cubicBezTo>
                      <a:pt x="951" y="334"/>
                      <a:pt x="951" y="334"/>
                      <a:pt x="951" y="334"/>
                    </a:cubicBezTo>
                    <a:cubicBezTo>
                      <a:pt x="951" y="332"/>
                      <a:pt x="951" y="332"/>
                      <a:pt x="951" y="332"/>
                    </a:cubicBezTo>
                    <a:cubicBezTo>
                      <a:pt x="950" y="331"/>
                      <a:pt x="950" y="331"/>
                      <a:pt x="950" y="331"/>
                    </a:cubicBezTo>
                    <a:cubicBezTo>
                      <a:pt x="950" y="329"/>
                      <a:pt x="950" y="329"/>
                      <a:pt x="950" y="329"/>
                    </a:cubicBezTo>
                    <a:cubicBezTo>
                      <a:pt x="949" y="328"/>
                      <a:pt x="949" y="328"/>
                      <a:pt x="949" y="328"/>
                    </a:cubicBezTo>
                    <a:cubicBezTo>
                      <a:pt x="947" y="327"/>
                      <a:pt x="947" y="327"/>
                      <a:pt x="947" y="327"/>
                    </a:cubicBezTo>
                    <a:cubicBezTo>
                      <a:pt x="946" y="326"/>
                      <a:pt x="946" y="326"/>
                      <a:pt x="946" y="326"/>
                    </a:cubicBezTo>
                    <a:cubicBezTo>
                      <a:pt x="947" y="325"/>
                      <a:pt x="947" y="325"/>
                      <a:pt x="947" y="325"/>
                    </a:cubicBezTo>
                    <a:cubicBezTo>
                      <a:pt x="946" y="325"/>
                      <a:pt x="946" y="325"/>
                      <a:pt x="946" y="325"/>
                    </a:cubicBezTo>
                    <a:cubicBezTo>
                      <a:pt x="945" y="324"/>
                      <a:pt x="945" y="324"/>
                      <a:pt x="945" y="324"/>
                    </a:cubicBezTo>
                    <a:cubicBezTo>
                      <a:pt x="943" y="323"/>
                      <a:pt x="943" y="323"/>
                      <a:pt x="943" y="323"/>
                    </a:cubicBezTo>
                    <a:cubicBezTo>
                      <a:pt x="941" y="321"/>
                      <a:pt x="941" y="321"/>
                      <a:pt x="941" y="321"/>
                    </a:cubicBezTo>
                    <a:cubicBezTo>
                      <a:pt x="940" y="319"/>
                      <a:pt x="940" y="319"/>
                      <a:pt x="940" y="319"/>
                    </a:cubicBezTo>
                    <a:cubicBezTo>
                      <a:pt x="939" y="316"/>
                      <a:pt x="939" y="316"/>
                      <a:pt x="939" y="316"/>
                    </a:cubicBezTo>
                    <a:cubicBezTo>
                      <a:pt x="939" y="314"/>
                      <a:pt x="939" y="314"/>
                      <a:pt x="939" y="314"/>
                    </a:cubicBezTo>
                    <a:cubicBezTo>
                      <a:pt x="938" y="313"/>
                      <a:pt x="938" y="313"/>
                      <a:pt x="938" y="313"/>
                    </a:cubicBezTo>
                    <a:cubicBezTo>
                      <a:pt x="938" y="312"/>
                      <a:pt x="938" y="312"/>
                      <a:pt x="938" y="312"/>
                    </a:cubicBezTo>
                    <a:cubicBezTo>
                      <a:pt x="936" y="311"/>
                      <a:pt x="936" y="311"/>
                      <a:pt x="936" y="311"/>
                    </a:cubicBezTo>
                    <a:cubicBezTo>
                      <a:pt x="936" y="309"/>
                      <a:pt x="936" y="309"/>
                      <a:pt x="936" y="309"/>
                    </a:cubicBezTo>
                    <a:cubicBezTo>
                      <a:pt x="937" y="307"/>
                      <a:pt x="937" y="307"/>
                      <a:pt x="937" y="307"/>
                    </a:cubicBezTo>
                    <a:cubicBezTo>
                      <a:pt x="937" y="302"/>
                      <a:pt x="937" y="302"/>
                      <a:pt x="937" y="302"/>
                    </a:cubicBezTo>
                    <a:cubicBezTo>
                      <a:pt x="935" y="300"/>
                      <a:pt x="935" y="300"/>
                      <a:pt x="935" y="300"/>
                    </a:cubicBezTo>
                    <a:cubicBezTo>
                      <a:pt x="934" y="298"/>
                      <a:pt x="934" y="298"/>
                      <a:pt x="934" y="298"/>
                    </a:cubicBezTo>
                    <a:cubicBezTo>
                      <a:pt x="933" y="297"/>
                      <a:pt x="933" y="297"/>
                      <a:pt x="933" y="297"/>
                    </a:cubicBezTo>
                    <a:cubicBezTo>
                      <a:pt x="930" y="296"/>
                      <a:pt x="930" y="296"/>
                      <a:pt x="930" y="296"/>
                    </a:cubicBezTo>
                    <a:cubicBezTo>
                      <a:pt x="930" y="295"/>
                      <a:pt x="930" y="295"/>
                      <a:pt x="930" y="295"/>
                    </a:cubicBezTo>
                    <a:cubicBezTo>
                      <a:pt x="929" y="294"/>
                      <a:pt x="929" y="294"/>
                      <a:pt x="929" y="294"/>
                    </a:cubicBezTo>
                    <a:cubicBezTo>
                      <a:pt x="928" y="292"/>
                      <a:pt x="928" y="292"/>
                      <a:pt x="928" y="292"/>
                    </a:cubicBezTo>
                    <a:cubicBezTo>
                      <a:pt x="926" y="290"/>
                      <a:pt x="926" y="290"/>
                      <a:pt x="926" y="290"/>
                    </a:cubicBezTo>
                    <a:cubicBezTo>
                      <a:pt x="924" y="290"/>
                      <a:pt x="924" y="290"/>
                      <a:pt x="924" y="290"/>
                    </a:cubicBezTo>
                    <a:cubicBezTo>
                      <a:pt x="922" y="288"/>
                      <a:pt x="922" y="288"/>
                      <a:pt x="922" y="288"/>
                    </a:cubicBezTo>
                    <a:cubicBezTo>
                      <a:pt x="921" y="288"/>
                      <a:pt x="921" y="288"/>
                      <a:pt x="921" y="288"/>
                    </a:cubicBezTo>
                    <a:cubicBezTo>
                      <a:pt x="918" y="287"/>
                      <a:pt x="918" y="287"/>
                      <a:pt x="918" y="287"/>
                    </a:cubicBezTo>
                    <a:cubicBezTo>
                      <a:pt x="917" y="285"/>
                      <a:pt x="917" y="285"/>
                      <a:pt x="917" y="285"/>
                    </a:cubicBezTo>
                    <a:cubicBezTo>
                      <a:pt x="918" y="285"/>
                      <a:pt x="918" y="285"/>
                      <a:pt x="918" y="285"/>
                    </a:cubicBezTo>
                    <a:cubicBezTo>
                      <a:pt x="919" y="286"/>
                      <a:pt x="919" y="286"/>
                      <a:pt x="919" y="286"/>
                    </a:cubicBezTo>
                    <a:cubicBezTo>
                      <a:pt x="921" y="286"/>
                      <a:pt x="921" y="286"/>
                      <a:pt x="921" y="286"/>
                    </a:cubicBezTo>
                    <a:cubicBezTo>
                      <a:pt x="922" y="287"/>
                      <a:pt x="922" y="287"/>
                      <a:pt x="922" y="287"/>
                    </a:cubicBezTo>
                    <a:cubicBezTo>
                      <a:pt x="924" y="287"/>
                      <a:pt x="924" y="287"/>
                      <a:pt x="924" y="287"/>
                    </a:cubicBezTo>
                    <a:cubicBezTo>
                      <a:pt x="925" y="286"/>
                      <a:pt x="925" y="286"/>
                      <a:pt x="925" y="286"/>
                    </a:cubicBezTo>
                    <a:cubicBezTo>
                      <a:pt x="925" y="285"/>
                      <a:pt x="925" y="285"/>
                      <a:pt x="925" y="285"/>
                    </a:cubicBezTo>
                    <a:cubicBezTo>
                      <a:pt x="924" y="285"/>
                      <a:pt x="924" y="285"/>
                      <a:pt x="924" y="285"/>
                    </a:cubicBezTo>
                    <a:cubicBezTo>
                      <a:pt x="922" y="284"/>
                      <a:pt x="922" y="284"/>
                      <a:pt x="922" y="284"/>
                    </a:cubicBezTo>
                    <a:cubicBezTo>
                      <a:pt x="921" y="283"/>
                      <a:pt x="921" y="283"/>
                      <a:pt x="921" y="283"/>
                    </a:cubicBezTo>
                    <a:cubicBezTo>
                      <a:pt x="920" y="283"/>
                      <a:pt x="920" y="283"/>
                      <a:pt x="920" y="283"/>
                    </a:cubicBezTo>
                    <a:cubicBezTo>
                      <a:pt x="907" y="277"/>
                      <a:pt x="907" y="277"/>
                      <a:pt x="907" y="277"/>
                    </a:cubicBezTo>
                    <a:cubicBezTo>
                      <a:pt x="906" y="277"/>
                      <a:pt x="906" y="277"/>
                      <a:pt x="906" y="277"/>
                    </a:cubicBezTo>
                    <a:cubicBezTo>
                      <a:pt x="905" y="276"/>
                      <a:pt x="905" y="276"/>
                      <a:pt x="905" y="276"/>
                    </a:cubicBezTo>
                    <a:cubicBezTo>
                      <a:pt x="903" y="275"/>
                      <a:pt x="903" y="275"/>
                      <a:pt x="903" y="275"/>
                    </a:cubicBezTo>
                    <a:cubicBezTo>
                      <a:pt x="901" y="273"/>
                      <a:pt x="901" y="273"/>
                      <a:pt x="901" y="273"/>
                    </a:cubicBezTo>
                    <a:cubicBezTo>
                      <a:pt x="899" y="272"/>
                      <a:pt x="899" y="272"/>
                      <a:pt x="899" y="272"/>
                    </a:cubicBezTo>
                    <a:cubicBezTo>
                      <a:pt x="898" y="271"/>
                      <a:pt x="898" y="271"/>
                      <a:pt x="898" y="271"/>
                    </a:cubicBezTo>
                    <a:cubicBezTo>
                      <a:pt x="895" y="271"/>
                      <a:pt x="895" y="271"/>
                      <a:pt x="895" y="271"/>
                    </a:cubicBezTo>
                    <a:cubicBezTo>
                      <a:pt x="894" y="272"/>
                      <a:pt x="894" y="272"/>
                      <a:pt x="894" y="272"/>
                    </a:cubicBezTo>
                    <a:cubicBezTo>
                      <a:pt x="892" y="273"/>
                      <a:pt x="892" y="273"/>
                      <a:pt x="892" y="273"/>
                    </a:cubicBezTo>
                    <a:cubicBezTo>
                      <a:pt x="886" y="271"/>
                      <a:pt x="886" y="271"/>
                      <a:pt x="886" y="271"/>
                    </a:cubicBezTo>
                    <a:cubicBezTo>
                      <a:pt x="892" y="278"/>
                      <a:pt x="892" y="278"/>
                      <a:pt x="892" y="278"/>
                    </a:cubicBezTo>
                    <a:cubicBezTo>
                      <a:pt x="891" y="282"/>
                      <a:pt x="891" y="282"/>
                      <a:pt x="891" y="282"/>
                    </a:cubicBezTo>
                    <a:cubicBezTo>
                      <a:pt x="889" y="282"/>
                      <a:pt x="889" y="282"/>
                      <a:pt x="889" y="282"/>
                    </a:cubicBezTo>
                    <a:cubicBezTo>
                      <a:pt x="889" y="277"/>
                      <a:pt x="889" y="277"/>
                      <a:pt x="889" y="277"/>
                    </a:cubicBezTo>
                    <a:cubicBezTo>
                      <a:pt x="886" y="275"/>
                      <a:pt x="886" y="275"/>
                      <a:pt x="886" y="275"/>
                    </a:cubicBezTo>
                    <a:cubicBezTo>
                      <a:pt x="886" y="280"/>
                      <a:pt x="886" y="280"/>
                      <a:pt x="886" y="280"/>
                    </a:cubicBezTo>
                    <a:cubicBezTo>
                      <a:pt x="878" y="280"/>
                      <a:pt x="878" y="280"/>
                      <a:pt x="878" y="280"/>
                    </a:cubicBezTo>
                    <a:cubicBezTo>
                      <a:pt x="879" y="279"/>
                      <a:pt x="879" y="279"/>
                      <a:pt x="879" y="279"/>
                    </a:cubicBezTo>
                    <a:cubicBezTo>
                      <a:pt x="879" y="276"/>
                      <a:pt x="879" y="276"/>
                      <a:pt x="879" y="276"/>
                    </a:cubicBezTo>
                    <a:cubicBezTo>
                      <a:pt x="878" y="275"/>
                      <a:pt x="878" y="275"/>
                      <a:pt x="878" y="275"/>
                    </a:cubicBezTo>
                    <a:cubicBezTo>
                      <a:pt x="874" y="275"/>
                      <a:pt x="874" y="275"/>
                      <a:pt x="874" y="275"/>
                    </a:cubicBezTo>
                    <a:cubicBezTo>
                      <a:pt x="873" y="277"/>
                      <a:pt x="873" y="277"/>
                      <a:pt x="873" y="277"/>
                    </a:cubicBezTo>
                    <a:cubicBezTo>
                      <a:pt x="869" y="277"/>
                      <a:pt x="869" y="277"/>
                      <a:pt x="869" y="277"/>
                    </a:cubicBezTo>
                    <a:cubicBezTo>
                      <a:pt x="867" y="271"/>
                      <a:pt x="867" y="271"/>
                      <a:pt x="867" y="271"/>
                    </a:cubicBezTo>
                    <a:cubicBezTo>
                      <a:pt x="866" y="271"/>
                      <a:pt x="866" y="271"/>
                      <a:pt x="866" y="271"/>
                    </a:cubicBezTo>
                    <a:cubicBezTo>
                      <a:pt x="864" y="267"/>
                      <a:pt x="864" y="267"/>
                      <a:pt x="864" y="267"/>
                    </a:cubicBezTo>
                    <a:cubicBezTo>
                      <a:pt x="852" y="268"/>
                      <a:pt x="852" y="268"/>
                      <a:pt x="852" y="268"/>
                    </a:cubicBezTo>
                    <a:cubicBezTo>
                      <a:pt x="851" y="266"/>
                      <a:pt x="851" y="266"/>
                      <a:pt x="851" y="266"/>
                    </a:cubicBezTo>
                    <a:cubicBezTo>
                      <a:pt x="847" y="266"/>
                      <a:pt x="847" y="266"/>
                      <a:pt x="847" y="266"/>
                    </a:cubicBezTo>
                    <a:cubicBezTo>
                      <a:pt x="845" y="265"/>
                      <a:pt x="845" y="265"/>
                      <a:pt x="845" y="265"/>
                    </a:cubicBezTo>
                    <a:cubicBezTo>
                      <a:pt x="844" y="264"/>
                      <a:pt x="844" y="264"/>
                      <a:pt x="844" y="264"/>
                    </a:cubicBezTo>
                    <a:cubicBezTo>
                      <a:pt x="844" y="261"/>
                      <a:pt x="844" y="261"/>
                      <a:pt x="844" y="261"/>
                    </a:cubicBezTo>
                    <a:cubicBezTo>
                      <a:pt x="846" y="260"/>
                      <a:pt x="846" y="260"/>
                      <a:pt x="846" y="260"/>
                    </a:cubicBezTo>
                    <a:cubicBezTo>
                      <a:pt x="848" y="258"/>
                      <a:pt x="848" y="258"/>
                      <a:pt x="848" y="258"/>
                    </a:cubicBezTo>
                    <a:cubicBezTo>
                      <a:pt x="850" y="258"/>
                      <a:pt x="850" y="258"/>
                      <a:pt x="850" y="258"/>
                    </a:cubicBezTo>
                    <a:cubicBezTo>
                      <a:pt x="850" y="254"/>
                      <a:pt x="850" y="254"/>
                      <a:pt x="850" y="254"/>
                    </a:cubicBezTo>
                    <a:cubicBezTo>
                      <a:pt x="851" y="254"/>
                      <a:pt x="851" y="254"/>
                      <a:pt x="851" y="254"/>
                    </a:cubicBezTo>
                    <a:cubicBezTo>
                      <a:pt x="853" y="253"/>
                      <a:pt x="853" y="253"/>
                      <a:pt x="853" y="253"/>
                    </a:cubicBezTo>
                    <a:cubicBezTo>
                      <a:pt x="855" y="251"/>
                      <a:pt x="855" y="251"/>
                      <a:pt x="855" y="251"/>
                    </a:cubicBezTo>
                    <a:cubicBezTo>
                      <a:pt x="855" y="250"/>
                      <a:pt x="855" y="250"/>
                      <a:pt x="855" y="250"/>
                    </a:cubicBezTo>
                    <a:cubicBezTo>
                      <a:pt x="856" y="248"/>
                      <a:pt x="856" y="248"/>
                      <a:pt x="856" y="248"/>
                    </a:cubicBezTo>
                    <a:cubicBezTo>
                      <a:pt x="856" y="247"/>
                      <a:pt x="856" y="247"/>
                      <a:pt x="856" y="247"/>
                    </a:cubicBezTo>
                    <a:cubicBezTo>
                      <a:pt x="857" y="245"/>
                      <a:pt x="857" y="245"/>
                      <a:pt x="857" y="245"/>
                    </a:cubicBezTo>
                    <a:cubicBezTo>
                      <a:pt x="855" y="243"/>
                      <a:pt x="855" y="243"/>
                      <a:pt x="855" y="243"/>
                    </a:cubicBezTo>
                    <a:cubicBezTo>
                      <a:pt x="857" y="239"/>
                      <a:pt x="857" y="239"/>
                      <a:pt x="857" y="239"/>
                    </a:cubicBezTo>
                    <a:cubicBezTo>
                      <a:pt x="855" y="237"/>
                      <a:pt x="855" y="237"/>
                      <a:pt x="855" y="237"/>
                    </a:cubicBezTo>
                    <a:cubicBezTo>
                      <a:pt x="858" y="234"/>
                      <a:pt x="858" y="234"/>
                      <a:pt x="858" y="234"/>
                    </a:cubicBezTo>
                    <a:cubicBezTo>
                      <a:pt x="862" y="233"/>
                      <a:pt x="862" y="233"/>
                      <a:pt x="862" y="233"/>
                    </a:cubicBezTo>
                    <a:cubicBezTo>
                      <a:pt x="860" y="228"/>
                      <a:pt x="860" y="228"/>
                      <a:pt x="860" y="228"/>
                    </a:cubicBezTo>
                    <a:cubicBezTo>
                      <a:pt x="864" y="227"/>
                      <a:pt x="864" y="227"/>
                      <a:pt x="864" y="227"/>
                    </a:cubicBezTo>
                    <a:cubicBezTo>
                      <a:pt x="860" y="221"/>
                      <a:pt x="860" y="221"/>
                      <a:pt x="860" y="221"/>
                    </a:cubicBezTo>
                    <a:cubicBezTo>
                      <a:pt x="865" y="219"/>
                      <a:pt x="865" y="219"/>
                      <a:pt x="865" y="219"/>
                    </a:cubicBezTo>
                    <a:cubicBezTo>
                      <a:pt x="865" y="212"/>
                      <a:pt x="865" y="212"/>
                      <a:pt x="865" y="212"/>
                    </a:cubicBezTo>
                    <a:cubicBezTo>
                      <a:pt x="866" y="210"/>
                      <a:pt x="866" y="210"/>
                      <a:pt x="866" y="210"/>
                    </a:cubicBezTo>
                    <a:cubicBezTo>
                      <a:pt x="867" y="209"/>
                      <a:pt x="867" y="209"/>
                      <a:pt x="867" y="209"/>
                    </a:cubicBezTo>
                    <a:cubicBezTo>
                      <a:pt x="870" y="207"/>
                      <a:pt x="870" y="207"/>
                      <a:pt x="870" y="207"/>
                    </a:cubicBezTo>
                    <a:cubicBezTo>
                      <a:pt x="872" y="206"/>
                      <a:pt x="872" y="206"/>
                      <a:pt x="872" y="206"/>
                    </a:cubicBezTo>
                    <a:cubicBezTo>
                      <a:pt x="875" y="206"/>
                      <a:pt x="875" y="206"/>
                      <a:pt x="875" y="206"/>
                    </a:cubicBezTo>
                    <a:cubicBezTo>
                      <a:pt x="878" y="207"/>
                      <a:pt x="878" y="207"/>
                      <a:pt x="878" y="207"/>
                    </a:cubicBezTo>
                    <a:cubicBezTo>
                      <a:pt x="898" y="207"/>
                      <a:pt x="898" y="207"/>
                      <a:pt x="898" y="207"/>
                    </a:cubicBezTo>
                    <a:cubicBezTo>
                      <a:pt x="901" y="210"/>
                      <a:pt x="901" y="210"/>
                      <a:pt x="901" y="210"/>
                    </a:cubicBezTo>
                    <a:cubicBezTo>
                      <a:pt x="904" y="209"/>
                      <a:pt x="904" y="209"/>
                      <a:pt x="904" y="209"/>
                    </a:cubicBezTo>
                    <a:cubicBezTo>
                      <a:pt x="903" y="206"/>
                      <a:pt x="903" y="206"/>
                      <a:pt x="903" y="206"/>
                    </a:cubicBezTo>
                    <a:cubicBezTo>
                      <a:pt x="915" y="209"/>
                      <a:pt x="915" y="209"/>
                      <a:pt x="915" y="209"/>
                    </a:cubicBezTo>
                    <a:cubicBezTo>
                      <a:pt x="920" y="206"/>
                      <a:pt x="920" y="206"/>
                      <a:pt x="920" y="206"/>
                    </a:cubicBezTo>
                    <a:cubicBezTo>
                      <a:pt x="925" y="210"/>
                      <a:pt x="925" y="210"/>
                      <a:pt x="925" y="210"/>
                    </a:cubicBezTo>
                    <a:cubicBezTo>
                      <a:pt x="926" y="204"/>
                      <a:pt x="926" y="204"/>
                      <a:pt x="926" y="204"/>
                    </a:cubicBezTo>
                    <a:cubicBezTo>
                      <a:pt x="939" y="204"/>
                      <a:pt x="939" y="204"/>
                      <a:pt x="939" y="204"/>
                    </a:cubicBezTo>
                    <a:cubicBezTo>
                      <a:pt x="941" y="205"/>
                      <a:pt x="941" y="205"/>
                      <a:pt x="941" y="205"/>
                    </a:cubicBezTo>
                    <a:cubicBezTo>
                      <a:pt x="942" y="207"/>
                      <a:pt x="942" y="207"/>
                      <a:pt x="942" y="207"/>
                    </a:cubicBezTo>
                    <a:cubicBezTo>
                      <a:pt x="943" y="207"/>
                      <a:pt x="943" y="207"/>
                      <a:pt x="943" y="207"/>
                    </a:cubicBezTo>
                    <a:cubicBezTo>
                      <a:pt x="944" y="206"/>
                      <a:pt x="944" y="206"/>
                      <a:pt x="944" y="206"/>
                    </a:cubicBezTo>
                    <a:cubicBezTo>
                      <a:pt x="946" y="206"/>
                      <a:pt x="946" y="206"/>
                      <a:pt x="946" y="206"/>
                    </a:cubicBezTo>
                    <a:cubicBezTo>
                      <a:pt x="947" y="205"/>
                      <a:pt x="947" y="205"/>
                      <a:pt x="947" y="205"/>
                    </a:cubicBezTo>
                    <a:cubicBezTo>
                      <a:pt x="949" y="204"/>
                      <a:pt x="949" y="204"/>
                      <a:pt x="949" y="204"/>
                    </a:cubicBezTo>
                    <a:cubicBezTo>
                      <a:pt x="953" y="207"/>
                      <a:pt x="953" y="207"/>
                      <a:pt x="953" y="207"/>
                    </a:cubicBezTo>
                    <a:cubicBezTo>
                      <a:pt x="960" y="208"/>
                      <a:pt x="960" y="208"/>
                      <a:pt x="960" y="208"/>
                    </a:cubicBezTo>
                    <a:cubicBezTo>
                      <a:pt x="951" y="210"/>
                      <a:pt x="951" y="210"/>
                      <a:pt x="951" y="210"/>
                    </a:cubicBezTo>
                    <a:cubicBezTo>
                      <a:pt x="951" y="211"/>
                      <a:pt x="951" y="211"/>
                      <a:pt x="951" y="211"/>
                    </a:cubicBezTo>
                    <a:cubicBezTo>
                      <a:pt x="952" y="212"/>
                      <a:pt x="952" y="212"/>
                      <a:pt x="952" y="212"/>
                    </a:cubicBezTo>
                    <a:cubicBezTo>
                      <a:pt x="954" y="213"/>
                      <a:pt x="954" y="213"/>
                      <a:pt x="954" y="213"/>
                    </a:cubicBezTo>
                    <a:cubicBezTo>
                      <a:pt x="955" y="214"/>
                      <a:pt x="955" y="214"/>
                      <a:pt x="955" y="214"/>
                    </a:cubicBezTo>
                    <a:cubicBezTo>
                      <a:pt x="957" y="214"/>
                      <a:pt x="957" y="214"/>
                      <a:pt x="957" y="214"/>
                    </a:cubicBezTo>
                    <a:cubicBezTo>
                      <a:pt x="958" y="213"/>
                      <a:pt x="958" y="213"/>
                      <a:pt x="958" y="213"/>
                    </a:cubicBezTo>
                    <a:cubicBezTo>
                      <a:pt x="960" y="213"/>
                      <a:pt x="960" y="213"/>
                      <a:pt x="960" y="213"/>
                    </a:cubicBezTo>
                    <a:cubicBezTo>
                      <a:pt x="962" y="212"/>
                      <a:pt x="962" y="212"/>
                      <a:pt x="962" y="212"/>
                    </a:cubicBezTo>
                    <a:cubicBezTo>
                      <a:pt x="963" y="211"/>
                      <a:pt x="963" y="211"/>
                      <a:pt x="963" y="211"/>
                    </a:cubicBezTo>
                    <a:cubicBezTo>
                      <a:pt x="964" y="211"/>
                      <a:pt x="964" y="211"/>
                      <a:pt x="964" y="211"/>
                    </a:cubicBezTo>
                    <a:cubicBezTo>
                      <a:pt x="969" y="213"/>
                      <a:pt x="969" y="213"/>
                      <a:pt x="969" y="213"/>
                    </a:cubicBezTo>
                    <a:cubicBezTo>
                      <a:pt x="973" y="210"/>
                      <a:pt x="973" y="210"/>
                      <a:pt x="973" y="210"/>
                    </a:cubicBezTo>
                    <a:cubicBezTo>
                      <a:pt x="974" y="210"/>
                      <a:pt x="974" y="210"/>
                      <a:pt x="974" y="210"/>
                    </a:cubicBezTo>
                    <a:cubicBezTo>
                      <a:pt x="975" y="211"/>
                      <a:pt x="975" y="211"/>
                      <a:pt x="975" y="211"/>
                    </a:cubicBezTo>
                    <a:cubicBezTo>
                      <a:pt x="981" y="211"/>
                      <a:pt x="981" y="211"/>
                      <a:pt x="981" y="211"/>
                    </a:cubicBezTo>
                    <a:cubicBezTo>
                      <a:pt x="982" y="210"/>
                      <a:pt x="982" y="210"/>
                      <a:pt x="982" y="210"/>
                    </a:cubicBezTo>
                    <a:cubicBezTo>
                      <a:pt x="982" y="208"/>
                      <a:pt x="982" y="208"/>
                      <a:pt x="982" y="208"/>
                    </a:cubicBezTo>
                    <a:cubicBezTo>
                      <a:pt x="988" y="209"/>
                      <a:pt x="988" y="209"/>
                      <a:pt x="988" y="209"/>
                    </a:cubicBezTo>
                    <a:cubicBezTo>
                      <a:pt x="980" y="204"/>
                      <a:pt x="980" y="204"/>
                      <a:pt x="980" y="204"/>
                    </a:cubicBezTo>
                    <a:cubicBezTo>
                      <a:pt x="975" y="206"/>
                      <a:pt x="975" y="206"/>
                      <a:pt x="975" y="206"/>
                    </a:cubicBezTo>
                    <a:cubicBezTo>
                      <a:pt x="974" y="203"/>
                      <a:pt x="974" y="203"/>
                      <a:pt x="974" y="203"/>
                    </a:cubicBezTo>
                    <a:cubicBezTo>
                      <a:pt x="973" y="201"/>
                      <a:pt x="973" y="201"/>
                      <a:pt x="973" y="201"/>
                    </a:cubicBezTo>
                    <a:cubicBezTo>
                      <a:pt x="972" y="200"/>
                      <a:pt x="972" y="200"/>
                      <a:pt x="972" y="200"/>
                    </a:cubicBezTo>
                    <a:cubicBezTo>
                      <a:pt x="971" y="198"/>
                      <a:pt x="971" y="198"/>
                      <a:pt x="971" y="198"/>
                    </a:cubicBezTo>
                    <a:cubicBezTo>
                      <a:pt x="971" y="195"/>
                      <a:pt x="971" y="195"/>
                      <a:pt x="971" y="195"/>
                    </a:cubicBezTo>
                    <a:cubicBezTo>
                      <a:pt x="975" y="191"/>
                      <a:pt x="975" y="191"/>
                      <a:pt x="975" y="191"/>
                    </a:cubicBezTo>
                    <a:cubicBezTo>
                      <a:pt x="974" y="186"/>
                      <a:pt x="974" y="186"/>
                      <a:pt x="974" y="186"/>
                    </a:cubicBezTo>
                    <a:cubicBezTo>
                      <a:pt x="977" y="184"/>
                      <a:pt x="977" y="184"/>
                      <a:pt x="977" y="184"/>
                    </a:cubicBezTo>
                    <a:cubicBezTo>
                      <a:pt x="975" y="183"/>
                      <a:pt x="975" y="183"/>
                      <a:pt x="975" y="183"/>
                    </a:cubicBezTo>
                    <a:cubicBezTo>
                      <a:pt x="973" y="181"/>
                      <a:pt x="973" y="181"/>
                      <a:pt x="973" y="181"/>
                    </a:cubicBezTo>
                    <a:cubicBezTo>
                      <a:pt x="973" y="179"/>
                      <a:pt x="973" y="179"/>
                      <a:pt x="973" y="179"/>
                    </a:cubicBezTo>
                    <a:cubicBezTo>
                      <a:pt x="974" y="178"/>
                      <a:pt x="974" y="178"/>
                      <a:pt x="974" y="178"/>
                    </a:cubicBezTo>
                    <a:cubicBezTo>
                      <a:pt x="977" y="177"/>
                      <a:pt x="977" y="177"/>
                      <a:pt x="977" y="177"/>
                    </a:cubicBezTo>
                    <a:cubicBezTo>
                      <a:pt x="983" y="177"/>
                      <a:pt x="983" y="177"/>
                      <a:pt x="983" y="177"/>
                    </a:cubicBezTo>
                    <a:cubicBezTo>
                      <a:pt x="985" y="178"/>
                      <a:pt x="985" y="178"/>
                      <a:pt x="985" y="178"/>
                    </a:cubicBezTo>
                    <a:cubicBezTo>
                      <a:pt x="988" y="178"/>
                      <a:pt x="988" y="178"/>
                      <a:pt x="988" y="178"/>
                    </a:cubicBezTo>
                    <a:cubicBezTo>
                      <a:pt x="991" y="175"/>
                      <a:pt x="991" y="175"/>
                      <a:pt x="991" y="175"/>
                    </a:cubicBezTo>
                    <a:cubicBezTo>
                      <a:pt x="997" y="180"/>
                      <a:pt x="997" y="180"/>
                      <a:pt x="997" y="180"/>
                    </a:cubicBezTo>
                    <a:cubicBezTo>
                      <a:pt x="1001" y="177"/>
                      <a:pt x="1001" y="177"/>
                      <a:pt x="1001" y="177"/>
                    </a:cubicBezTo>
                    <a:cubicBezTo>
                      <a:pt x="1002" y="179"/>
                      <a:pt x="1002" y="179"/>
                      <a:pt x="1002" y="179"/>
                    </a:cubicBezTo>
                    <a:cubicBezTo>
                      <a:pt x="1003" y="180"/>
                      <a:pt x="1003" y="180"/>
                      <a:pt x="1003" y="180"/>
                    </a:cubicBezTo>
                    <a:cubicBezTo>
                      <a:pt x="1005" y="184"/>
                      <a:pt x="1005" y="184"/>
                      <a:pt x="1005" y="184"/>
                    </a:cubicBezTo>
                    <a:cubicBezTo>
                      <a:pt x="1005" y="185"/>
                      <a:pt x="1005" y="185"/>
                      <a:pt x="1005" y="185"/>
                    </a:cubicBezTo>
                    <a:cubicBezTo>
                      <a:pt x="1006" y="186"/>
                      <a:pt x="1006" y="186"/>
                      <a:pt x="1006" y="186"/>
                    </a:cubicBezTo>
                    <a:cubicBezTo>
                      <a:pt x="1013" y="186"/>
                      <a:pt x="1013" y="186"/>
                      <a:pt x="1013" y="186"/>
                    </a:cubicBezTo>
                    <a:cubicBezTo>
                      <a:pt x="1013" y="189"/>
                      <a:pt x="1013" y="189"/>
                      <a:pt x="1013" y="189"/>
                    </a:cubicBezTo>
                    <a:cubicBezTo>
                      <a:pt x="1014" y="191"/>
                      <a:pt x="1014" y="191"/>
                      <a:pt x="1014" y="191"/>
                    </a:cubicBezTo>
                    <a:cubicBezTo>
                      <a:pt x="1015" y="192"/>
                      <a:pt x="1015" y="192"/>
                      <a:pt x="1015" y="192"/>
                    </a:cubicBezTo>
                    <a:cubicBezTo>
                      <a:pt x="1016" y="192"/>
                      <a:pt x="1016" y="192"/>
                      <a:pt x="1016" y="192"/>
                    </a:cubicBezTo>
                    <a:cubicBezTo>
                      <a:pt x="1019" y="189"/>
                      <a:pt x="1019" y="189"/>
                      <a:pt x="1019" y="189"/>
                    </a:cubicBezTo>
                    <a:cubicBezTo>
                      <a:pt x="1022" y="183"/>
                      <a:pt x="1022" y="183"/>
                      <a:pt x="1022" y="183"/>
                    </a:cubicBezTo>
                    <a:cubicBezTo>
                      <a:pt x="1023" y="182"/>
                      <a:pt x="1023" y="182"/>
                      <a:pt x="1023" y="182"/>
                    </a:cubicBezTo>
                    <a:cubicBezTo>
                      <a:pt x="1023" y="181"/>
                      <a:pt x="1023" y="181"/>
                      <a:pt x="1023" y="181"/>
                    </a:cubicBezTo>
                    <a:cubicBezTo>
                      <a:pt x="1027" y="179"/>
                      <a:pt x="1027" y="179"/>
                      <a:pt x="1027" y="179"/>
                    </a:cubicBezTo>
                    <a:cubicBezTo>
                      <a:pt x="1032" y="181"/>
                      <a:pt x="1032" y="181"/>
                      <a:pt x="1032" y="181"/>
                    </a:cubicBezTo>
                    <a:cubicBezTo>
                      <a:pt x="1031" y="179"/>
                      <a:pt x="1031" y="179"/>
                      <a:pt x="1031" y="179"/>
                    </a:cubicBezTo>
                    <a:cubicBezTo>
                      <a:pt x="1027" y="176"/>
                      <a:pt x="1027" y="176"/>
                      <a:pt x="1027" y="176"/>
                    </a:cubicBezTo>
                    <a:cubicBezTo>
                      <a:pt x="1026" y="175"/>
                      <a:pt x="1026" y="175"/>
                      <a:pt x="1026" y="175"/>
                    </a:cubicBezTo>
                    <a:cubicBezTo>
                      <a:pt x="1022" y="173"/>
                      <a:pt x="1022" y="173"/>
                      <a:pt x="1022" y="173"/>
                    </a:cubicBezTo>
                    <a:cubicBezTo>
                      <a:pt x="1021" y="171"/>
                      <a:pt x="1021" y="171"/>
                      <a:pt x="1021" y="171"/>
                    </a:cubicBezTo>
                    <a:cubicBezTo>
                      <a:pt x="1019" y="170"/>
                      <a:pt x="1019" y="170"/>
                      <a:pt x="1019" y="170"/>
                    </a:cubicBezTo>
                    <a:cubicBezTo>
                      <a:pt x="1018" y="169"/>
                      <a:pt x="1018" y="169"/>
                      <a:pt x="1018" y="169"/>
                    </a:cubicBezTo>
                    <a:cubicBezTo>
                      <a:pt x="1018" y="167"/>
                      <a:pt x="1018" y="167"/>
                      <a:pt x="1018" y="167"/>
                    </a:cubicBezTo>
                    <a:cubicBezTo>
                      <a:pt x="1027" y="167"/>
                      <a:pt x="1027" y="167"/>
                      <a:pt x="1027" y="167"/>
                    </a:cubicBezTo>
                    <a:cubicBezTo>
                      <a:pt x="1032" y="168"/>
                      <a:pt x="1032" y="168"/>
                      <a:pt x="1032" y="168"/>
                    </a:cubicBezTo>
                    <a:cubicBezTo>
                      <a:pt x="1042" y="168"/>
                      <a:pt x="1042" y="168"/>
                      <a:pt x="1042" y="168"/>
                    </a:cubicBezTo>
                    <a:cubicBezTo>
                      <a:pt x="1042" y="171"/>
                      <a:pt x="1042" y="171"/>
                      <a:pt x="1042" y="171"/>
                    </a:cubicBezTo>
                    <a:cubicBezTo>
                      <a:pt x="1040" y="171"/>
                      <a:pt x="1040" y="171"/>
                      <a:pt x="1040" y="171"/>
                    </a:cubicBezTo>
                    <a:cubicBezTo>
                      <a:pt x="1038" y="170"/>
                      <a:pt x="1038" y="170"/>
                      <a:pt x="1038" y="170"/>
                    </a:cubicBezTo>
                    <a:cubicBezTo>
                      <a:pt x="1032" y="170"/>
                      <a:pt x="1032" y="170"/>
                      <a:pt x="1032" y="170"/>
                    </a:cubicBezTo>
                    <a:cubicBezTo>
                      <a:pt x="1032" y="173"/>
                      <a:pt x="1032" y="173"/>
                      <a:pt x="1032" y="173"/>
                    </a:cubicBezTo>
                    <a:cubicBezTo>
                      <a:pt x="1036" y="177"/>
                      <a:pt x="1036" y="177"/>
                      <a:pt x="1036" y="177"/>
                    </a:cubicBezTo>
                    <a:cubicBezTo>
                      <a:pt x="1038" y="178"/>
                      <a:pt x="1038" y="178"/>
                      <a:pt x="1038" y="178"/>
                    </a:cubicBezTo>
                    <a:cubicBezTo>
                      <a:pt x="1039" y="182"/>
                      <a:pt x="1039" y="182"/>
                      <a:pt x="1039" y="182"/>
                    </a:cubicBezTo>
                    <a:cubicBezTo>
                      <a:pt x="1044" y="183"/>
                      <a:pt x="1044" y="183"/>
                      <a:pt x="1044" y="183"/>
                    </a:cubicBezTo>
                    <a:cubicBezTo>
                      <a:pt x="1043" y="186"/>
                      <a:pt x="1043" y="186"/>
                      <a:pt x="1043" y="186"/>
                    </a:cubicBezTo>
                    <a:cubicBezTo>
                      <a:pt x="1046" y="189"/>
                      <a:pt x="1046" y="189"/>
                      <a:pt x="1046" y="189"/>
                    </a:cubicBezTo>
                    <a:cubicBezTo>
                      <a:pt x="1041" y="190"/>
                      <a:pt x="1041" y="190"/>
                      <a:pt x="1041" y="190"/>
                    </a:cubicBezTo>
                    <a:cubicBezTo>
                      <a:pt x="1040" y="192"/>
                      <a:pt x="1040" y="192"/>
                      <a:pt x="1040" y="192"/>
                    </a:cubicBezTo>
                    <a:cubicBezTo>
                      <a:pt x="1037" y="193"/>
                      <a:pt x="1037" y="193"/>
                      <a:pt x="1037" y="193"/>
                    </a:cubicBezTo>
                    <a:cubicBezTo>
                      <a:pt x="1038" y="195"/>
                      <a:pt x="1038" y="195"/>
                      <a:pt x="1038" y="195"/>
                    </a:cubicBezTo>
                    <a:cubicBezTo>
                      <a:pt x="1038" y="196"/>
                      <a:pt x="1038" y="196"/>
                      <a:pt x="1038" y="196"/>
                    </a:cubicBezTo>
                    <a:cubicBezTo>
                      <a:pt x="1039" y="198"/>
                      <a:pt x="1039" y="198"/>
                      <a:pt x="1039" y="198"/>
                    </a:cubicBezTo>
                    <a:cubicBezTo>
                      <a:pt x="1039" y="202"/>
                      <a:pt x="1039" y="202"/>
                      <a:pt x="1039" y="202"/>
                    </a:cubicBezTo>
                    <a:cubicBezTo>
                      <a:pt x="1038" y="204"/>
                      <a:pt x="1038" y="204"/>
                      <a:pt x="1038" y="204"/>
                    </a:cubicBezTo>
                    <a:cubicBezTo>
                      <a:pt x="1036" y="206"/>
                      <a:pt x="1036" y="206"/>
                      <a:pt x="1036" y="206"/>
                    </a:cubicBezTo>
                    <a:cubicBezTo>
                      <a:pt x="1034" y="210"/>
                      <a:pt x="1034" y="210"/>
                      <a:pt x="1034" y="210"/>
                    </a:cubicBezTo>
                    <a:cubicBezTo>
                      <a:pt x="1034" y="213"/>
                      <a:pt x="1034" y="213"/>
                      <a:pt x="1034" y="213"/>
                    </a:cubicBezTo>
                    <a:cubicBezTo>
                      <a:pt x="1035" y="213"/>
                      <a:pt x="1035" y="213"/>
                      <a:pt x="1035" y="213"/>
                    </a:cubicBezTo>
                    <a:cubicBezTo>
                      <a:pt x="1036" y="214"/>
                      <a:pt x="1036" y="214"/>
                      <a:pt x="1036" y="214"/>
                    </a:cubicBezTo>
                    <a:cubicBezTo>
                      <a:pt x="1037" y="216"/>
                      <a:pt x="1037" y="216"/>
                      <a:pt x="1037" y="216"/>
                    </a:cubicBezTo>
                    <a:cubicBezTo>
                      <a:pt x="1036" y="217"/>
                      <a:pt x="1036" y="217"/>
                      <a:pt x="1036" y="217"/>
                    </a:cubicBezTo>
                    <a:cubicBezTo>
                      <a:pt x="1035" y="219"/>
                      <a:pt x="1035" y="219"/>
                      <a:pt x="1035" y="219"/>
                    </a:cubicBezTo>
                    <a:cubicBezTo>
                      <a:pt x="1031" y="223"/>
                      <a:pt x="1031" y="223"/>
                      <a:pt x="1031" y="223"/>
                    </a:cubicBezTo>
                    <a:cubicBezTo>
                      <a:pt x="1029" y="224"/>
                      <a:pt x="1029" y="224"/>
                      <a:pt x="1029" y="224"/>
                    </a:cubicBezTo>
                    <a:cubicBezTo>
                      <a:pt x="1028" y="225"/>
                      <a:pt x="1028" y="225"/>
                      <a:pt x="1028" y="225"/>
                    </a:cubicBezTo>
                    <a:cubicBezTo>
                      <a:pt x="1027" y="225"/>
                      <a:pt x="1027" y="225"/>
                      <a:pt x="1027" y="225"/>
                    </a:cubicBezTo>
                    <a:cubicBezTo>
                      <a:pt x="1027" y="228"/>
                      <a:pt x="1027" y="228"/>
                      <a:pt x="1027" y="228"/>
                    </a:cubicBezTo>
                    <a:cubicBezTo>
                      <a:pt x="1025" y="228"/>
                      <a:pt x="1025" y="228"/>
                      <a:pt x="1025" y="228"/>
                    </a:cubicBezTo>
                    <a:cubicBezTo>
                      <a:pt x="1026" y="229"/>
                      <a:pt x="1026" y="229"/>
                      <a:pt x="1026" y="229"/>
                    </a:cubicBezTo>
                    <a:cubicBezTo>
                      <a:pt x="1028" y="230"/>
                      <a:pt x="1028" y="230"/>
                      <a:pt x="1028" y="230"/>
                    </a:cubicBezTo>
                    <a:cubicBezTo>
                      <a:pt x="1030" y="234"/>
                      <a:pt x="1030" y="234"/>
                      <a:pt x="1030" y="234"/>
                    </a:cubicBezTo>
                    <a:cubicBezTo>
                      <a:pt x="1029" y="237"/>
                      <a:pt x="1029" y="237"/>
                      <a:pt x="1029" y="237"/>
                    </a:cubicBezTo>
                    <a:cubicBezTo>
                      <a:pt x="1029" y="239"/>
                      <a:pt x="1029" y="239"/>
                      <a:pt x="1029" y="239"/>
                    </a:cubicBezTo>
                    <a:cubicBezTo>
                      <a:pt x="1028" y="241"/>
                      <a:pt x="1028" y="241"/>
                      <a:pt x="1028" y="241"/>
                    </a:cubicBezTo>
                    <a:cubicBezTo>
                      <a:pt x="1028" y="243"/>
                      <a:pt x="1028" y="243"/>
                      <a:pt x="1028" y="243"/>
                    </a:cubicBezTo>
                    <a:cubicBezTo>
                      <a:pt x="1029" y="246"/>
                      <a:pt x="1029" y="246"/>
                      <a:pt x="1029" y="246"/>
                    </a:cubicBezTo>
                    <a:cubicBezTo>
                      <a:pt x="1032" y="249"/>
                      <a:pt x="1032" y="249"/>
                      <a:pt x="1032" y="249"/>
                    </a:cubicBezTo>
                    <a:cubicBezTo>
                      <a:pt x="1036" y="254"/>
                      <a:pt x="1036" y="254"/>
                      <a:pt x="1036" y="254"/>
                    </a:cubicBezTo>
                    <a:cubicBezTo>
                      <a:pt x="1041" y="258"/>
                      <a:pt x="1041" y="258"/>
                      <a:pt x="1041" y="258"/>
                    </a:cubicBezTo>
                    <a:cubicBezTo>
                      <a:pt x="1045" y="262"/>
                      <a:pt x="1045" y="262"/>
                      <a:pt x="1045" y="262"/>
                    </a:cubicBezTo>
                    <a:cubicBezTo>
                      <a:pt x="1047" y="263"/>
                      <a:pt x="1047" y="263"/>
                      <a:pt x="1047" y="263"/>
                    </a:cubicBezTo>
                    <a:cubicBezTo>
                      <a:pt x="1057" y="274"/>
                      <a:pt x="1057" y="274"/>
                      <a:pt x="1057" y="274"/>
                    </a:cubicBezTo>
                    <a:cubicBezTo>
                      <a:pt x="1059" y="273"/>
                      <a:pt x="1059" y="273"/>
                      <a:pt x="1059" y="273"/>
                    </a:cubicBezTo>
                    <a:cubicBezTo>
                      <a:pt x="1073" y="289"/>
                      <a:pt x="1073" y="289"/>
                      <a:pt x="1073" y="289"/>
                    </a:cubicBezTo>
                    <a:cubicBezTo>
                      <a:pt x="1080" y="292"/>
                      <a:pt x="1080" y="292"/>
                      <a:pt x="1080" y="292"/>
                    </a:cubicBezTo>
                    <a:cubicBezTo>
                      <a:pt x="1084" y="296"/>
                      <a:pt x="1084" y="296"/>
                      <a:pt x="1084" y="296"/>
                    </a:cubicBezTo>
                    <a:cubicBezTo>
                      <a:pt x="1085" y="298"/>
                      <a:pt x="1085" y="298"/>
                      <a:pt x="1085" y="298"/>
                    </a:cubicBezTo>
                    <a:cubicBezTo>
                      <a:pt x="1087" y="299"/>
                      <a:pt x="1087" y="299"/>
                      <a:pt x="1087" y="299"/>
                    </a:cubicBezTo>
                    <a:cubicBezTo>
                      <a:pt x="1088" y="301"/>
                      <a:pt x="1088" y="301"/>
                      <a:pt x="1088" y="301"/>
                    </a:cubicBezTo>
                    <a:cubicBezTo>
                      <a:pt x="1097" y="310"/>
                      <a:pt x="1097" y="310"/>
                      <a:pt x="1097" y="310"/>
                    </a:cubicBezTo>
                    <a:cubicBezTo>
                      <a:pt x="1100" y="310"/>
                      <a:pt x="1100" y="310"/>
                      <a:pt x="1100" y="310"/>
                    </a:cubicBezTo>
                    <a:cubicBezTo>
                      <a:pt x="1100" y="313"/>
                      <a:pt x="1100" y="313"/>
                      <a:pt x="1100" y="313"/>
                    </a:cubicBezTo>
                    <a:cubicBezTo>
                      <a:pt x="1102" y="313"/>
                      <a:pt x="1102" y="313"/>
                      <a:pt x="1102" y="313"/>
                    </a:cubicBezTo>
                    <a:cubicBezTo>
                      <a:pt x="1104" y="312"/>
                      <a:pt x="1104" y="312"/>
                      <a:pt x="1104" y="312"/>
                    </a:cubicBezTo>
                    <a:cubicBezTo>
                      <a:pt x="1105" y="311"/>
                      <a:pt x="1105" y="311"/>
                      <a:pt x="1105" y="311"/>
                    </a:cubicBezTo>
                    <a:cubicBezTo>
                      <a:pt x="1106" y="309"/>
                      <a:pt x="1106" y="309"/>
                      <a:pt x="1106" y="309"/>
                    </a:cubicBezTo>
                    <a:cubicBezTo>
                      <a:pt x="1106" y="308"/>
                      <a:pt x="1106" y="308"/>
                      <a:pt x="1106" y="308"/>
                    </a:cubicBezTo>
                    <a:cubicBezTo>
                      <a:pt x="1104" y="306"/>
                      <a:pt x="1104" y="306"/>
                      <a:pt x="1104" y="306"/>
                    </a:cubicBezTo>
                    <a:cubicBezTo>
                      <a:pt x="1105" y="305"/>
                      <a:pt x="1105" y="305"/>
                      <a:pt x="1105" y="305"/>
                    </a:cubicBezTo>
                    <a:cubicBezTo>
                      <a:pt x="1106" y="303"/>
                      <a:pt x="1106" y="303"/>
                      <a:pt x="1106" y="303"/>
                    </a:cubicBezTo>
                    <a:cubicBezTo>
                      <a:pt x="1107" y="302"/>
                      <a:pt x="1107" y="302"/>
                      <a:pt x="1107" y="302"/>
                    </a:cubicBezTo>
                    <a:cubicBezTo>
                      <a:pt x="1107" y="299"/>
                      <a:pt x="1107" y="299"/>
                      <a:pt x="1107" y="299"/>
                    </a:cubicBezTo>
                    <a:cubicBezTo>
                      <a:pt x="1104" y="296"/>
                      <a:pt x="1104" y="296"/>
                      <a:pt x="1104" y="296"/>
                    </a:cubicBezTo>
                    <a:cubicBezTo>
                      <a:pt x="1102" y="295"/>
                      <a:pt x="1102" y="295"/>
                      <a:pt x="1102" y="295"/>
                    </a:cubicBezTo>
                    <a:cubicBezTo>
                      <a:pt x="1100" y="291"/>
                      <a:pt x="1100" y="291"/>
                      <a:pt x="1100" y="291"/>
                    </a:cubicBezTo>
                    <a:cubicBezTo>
                      <a:pt x="1100" y="289"/>
                      <a:pt x="1100" y="289"/>
                      <a:pt x="1100" y="289"/>
                    </a:cubicBezTo>
                    <a:cubicBezTo>
                      <a:pt x="1101" y="287"/>
                      <a:pt x="1101" y="287"/>
                      <a:pt x="1101" y="287"/>
                    </a:cubicBezTo>
                    <a:cubicBezTo>
                      <a:pt x="1104" y="284"/>
                      <a:pt x="1104" y="284"/>
                      <a:pt x="1104" y="284"/>
                    </a:cubicBezTo>
                    <a:cubicBezTo>
                      <a:pt x="1106" y="284"/>
                      <a:pt x="1106" y="284"/>
                      <a:pt x="1106" y="284"/>
                    </a:cubicBezTo>
                    <a:cubicBezTo>
                      <a:pt x="1108" y="285"/>
                      <a:pt x="1108" y="285"/>
                      <a:pt x="1108" y="285"/>
                    </a:cubicBezTo>
                    <a:cubicBezTo>
                      <a:pt x="1109" y="285"/>
                      <a:pt x="1109" y="285"/>
                      <a:pt x="1109" y="285"/>
                    </a:cubicBezTo>
                    <a:cubicBezTo>
                      <a:pt x="1110" y="286"/>
                      <a:pt x="1110" y="286"/>
                      <a:pt x="1110" y="286"/>
                    </a:cubicBezTo>
                    <a:cubicBezTo>
                      <a:pt x="1111" y="286"/>
                      <a:pt x="1111" y="286"/>
                      <a:pt x="1111" y="286"/>
                    </a:cubicBezTo>
                    <a:cubicBezTo>
                      <a:pt x="1110" y="285"/>
                      <a:pt x="1110" y="285"/>
                      <a:pt x="1110" y="285"/>
                    </a:cubicBezTo>
                    <a:cubicBezTo>
                      <a:pt x="1109" y="283"/>
                      <a:pt x="1109" y="283"/>
                      <a:pt x="1109" y="283"/>
                    </a:cubicBezTo>
                    <a:cubicBezTo>
                      <a:pt x="1107" y="282"/>
                      <a:pt x="1107" y="282"/>
                      <a:pt x="1107" y="282"/>
                    </a:cubicBezTo>
                    <a:cubicBezTo>
                      <a:pt x="1106" y="280"/>
                      <a:pt x="1106" y="280"/>
                      <a:pt x="1106" y="280"/>
                    </a:cubicBezTo>
                    <a:cubicBezTo>
                      <a:pt x="1103" y="277"/>
                      <a:pt x="1103" y="277"/>
                      <a:pt x="1103" y="277"/>
                    </a:cubicBezTo>
                    <a:cubicBezTo>
                      <a:pt x="1101" y="277"/>
                      <a:pt x="1101" y="277"/>
                      <a:pt x="1101" y="277"/>
                    </a:cubicBezTo>
                    <a:cubicBezTo>
                      <a:pt x="1100" y="276"/>
                      <a:pt x="1100" y="276"/>
                      <a:pt x="1100" y="276"/>
                    </a:cubicBezTo>
                    <a:cubicBezTo>
                      <a:pt x="1099" y="274"/>
                      <a:pt x="1099" y="274"/>
                      <a:pt x="1099" y="274"/>
                    </a:cubicBezTo>
                    <a:cubicBezTo>
                      <a:pt x="1099" y="272"/>
                      <a:pt x="1099" y="272"/>
                      <a:pt x="1099" y="272"/>
                    </a:cubicBezTo>
                    <a:cubicBezTo>
                      <a:pt x="1100" y="270"/>
                      <a:pt x="1100" y="270"/>
                      <a:pt x="1100" y="270"/>
                    </a:cubicBezTo>
                    <a:cubicBezTo>
                      <a:pt x="1101" y="269"/>
                      <a:pt x="1101" y="269"/>
                      <a:pt x="1101" y="269"/>
                    </a:cubicBezTo>
                    <a:cubicBezTo>
                      <a:pt x="1103" y="268"/>
                      <a:pt x="1103" y="268"/>
                      <a:pt x="1103" y="268"/>
                    </a:cubicBezTo>
                    <a:cubicBezTo>
                      <a:pt x="1104" y="267"/>
                      <a:pt x="1104" y="267"/>
                      <a:pt x="1104" y="267"/>
                    </a:cubicBezTo>
                    <a:cubicBezTo>
                      <a:pt x="1106" y="268"/>
                      <a:pt x="1106" y="268"/>
                      <a:pt x="1106" y="268"/>
                    </a:cubicBezTo>
                    <a:cubicBezTo>
                      <a:pt x="1110" y="268"/>
                      <a:pt x="1110" y="268"/>
                      <a:pt x="1110" y="268"/>
                    </a:cubicBezTo>
                    <a:cubicBezTo>
                      <a:pt x="1111" y="267"/>
                      <a:pt x="1111" y="267"/>
                      <a:pt x="1111" y="267"/>
                    </a:cubicBezTo>
                    <a:cubicBezTo>
                      <a:pt x="1111" y="264"/>
                      <a:pt x="1111" y="264"/>
                      <a:pt x="1111" y="264"/>
                    </a:cubicBezTo>
                    <a:cubicBezTo>
                      <a:pt x="1108" y="261"/>
                      <a:pt x="1108" y="261"/>
                      <a:pt x="1108" y="261"/>
                    </a:cubicBezTo>
                    <a:cubicBezTo>
                      <a:pt x="1105" y="260"/>
                      <a:pt x="1105" y="260"/>
                      <a:pt x="1105" y="260"/>
                    </a:cubicBezTo>
                    <a:cubicBezTo>
                      <a:pt x="1103" y="259"/>
                      <a:pt x="1103" y="259"/>
                      <a:pt x="1103" y="259"/>
                    </a:cubicBezTo>
                    <a:cubicBezTo>
                      <a:pt x="1100" y="257"/>
                      <a:pt x="1100" y="257"/>
                      <a:pt x="1100" y="257"/>
                    </a:cubicBezTo>
                    <a:cubicBezTo>
                      <a:pt x="1098" y="255"/>
                      <a:pt x="1098" y="255"/>
                      <a:pt x="1098" y="255"/>
                    </a:cubicBezTo>
                    <a:cubicBezTo>
                      <a:pt x="1097" y="252"/>
                      <a:pt x="1097" y="252"/>
                      <a:pt x="1097" y="252"/>
                    </a:cubicBezTo>
                    <a:cubicBezTo>
                      <a:pt x="1095" y="248"/>
                      <a:pt x="1095" y="248"/>
                      <a:pt x="1095" y="248"/>
                    </a:cubicBezTo>
                    <a:cubicBezTo>
                      <a:pt x="1095" y="246"/>
                      <a:pt x="1095" y="246"/>
                      <a:pt x="1095" y="246"/>
                    </a:cubicBezTo>
                    <a:cubicBezTo>
                      <a:pt x="1094" y="245"/>
                      <a:pt x="1094" y="245"/>
                      <a:pt x="1094" y="245"/>
                    </a:cubicBezTo>
                    <a:cubicBezTo>
                      <a:pt x="1094" y="244"/>
                      <a:pt x="1094" y="244"/>
                      <a:pt x="1094" y="244"/>
                    </a:cubicBezTo>
                    <a:cubicBezTo>
                      <a:pt x="1096" y="243"/>
                      <a:pt x="1096" y="243"/>
                      <a:pt x="1096" y="243"/>
                    </a:cubicBezTo>
                    <a:cubicBezTo>
                      <a:pt x="1100" y="247"/>
                      <a:pt x="1100" y="247"/>
                      <a:pt x="1100" y="247"/>
                    </a:cubicBezTo>
                    <a:cubicBezTo>
                      <a:pt x="1102" y="248"/>
                      <a:pt x="1102" y="248"/>
                      <a:pt x="1102" y="248"/>
                    </a:cubicBezTo>
                    <a:cubicBezTo>
                      <a:pt x="1104" y="248"/>
                      <a:pt x="1104" y="248"/>
                      <a:pt x="1104" y="248"/>
                    </a:cubicBezTo>
                    <a:cubicBezTo>
                      <a:pt x="1104" y="247"/>
                      <a:pt x="1104" y="247"/>
                      <a:pt x="1104" y="247"/>
                    </a:cubicBezTo>
                    <a:cubicBezTo>
                      <a:pt x="1103" y="246"/>
                      <a:pt x="1103" y="246"/>
                      <a:pt x="1103" y="246"/>
                    </a:cubicBezTo>
                    <a:cubicBezTo>
                      <a:pt x="1102" y="244"/>
                      <a:pt x="1102" y="244"/>
                      <a:pt x="1102" y="244"/>
                    </a:cubicBezTo>
                    <a:cubicBezTo>
                      <a:pt x="1101" y="243"/>
                      <a:pt x="1101" y="243"/>
                      <a:pt x="1101" y="243"/>
                    </a:cubicBezTo>
                    <a:cubicBezTo>
                      <a:pt x="1100" y="241"/>
                      <a:pt x="1100" y="241"/>
                      <a:pt x="1100" y="241"/>
                    </a:cubicBezTo>
                    <a:cubicBezTo>
                      <a:pt x="1099" y="240"/>
                      <a:pt x="1099" y="240"/>
                      <a:pt x="1099" y="240"/>
                    </a:cubicBezTo>
                    <a:cubicBezTo>
                      <a:pt x="1093" y="240"/>
                      <a:pt x="1093" y="240"/>
                      <a:pt x="1093" y="240"/>
                    </a:cubicBezTo>
                    <a:cubicBezTo>
                      <a:pt x="1085" y="233"/>
                      <a:pt x="1085" y="233"/>
                      <a:pt x="1085" y="233"/>
                    </a:cubicBezTo>
                    <a:cubicBezTo>
                      <a:pt x="1085" y="228"/>
                      <a:pt x="1085" y="228"/>
                      <a:pt x="1085" y="228"/>
                    </a:cubicBezTo>
                    <a:cubicBezTo>
                      <a:pt x="1084" y="227"/>
                      <a:pt x="1084" y="227"/>
                      <a:pt x="1084" y="227"/>
                    </a:cubicBezTo>
                    <a:cubicBezTo>
                      <a:pt x="1082" y="226"/>
                      <a:pt x="1082" y="226"/>
                      <a:pt x="1082" y="226"/>
                    </a:cubicBezTo>
                    <a:cubicBezTo>
                      <a:pt x="1079" y="225"/>
                      <a:pt x="1079" y="225"/>
                      <a:pt x="1079" y="225"/>
                    </a:cubicBezTo>
                    <a:cubicBezTo>
                      <a:pt x="1077" y="224"/>
                      <a:pt x="1077" y="224"/>
                      <a:pt x="1077" y="224"/>
                    </a:cubicBezTo>
                    <a:cubicBezTo>
                      <a:pt x="1075" y="224"/>
                      <a:pt x="1075" y="224"/>
                      <a:pt x="1075" y="224"/>
                    </a:cubicBezTo>
                    <a:cubicBezTo>
                      <a:pt x="1075" y="227"/>
                      <a:pt x="1075" y="227"/>
                      <a:pt x="1075" y="227"/>
                    </a:cubicBezTo>
                    <a:cubicBezTo>
                      <a:pt x="1074" y="227"/>
                      <a:pt x="1074" y="227"/>
                      <a:pt x="1074" y="227"/>
                    </a:cubicBezTo>
                    <a:cubicBezTo>
                      <a:pt x="1073" y="226"/>
                      <a:pt x="1073" y="226"/>
                      <a:pt x="1073" y="226"/>
                    </a:cubicBezTo>
                    <a:cubicBezTo>
                      <a:pt x="1072" y="226"/>
                      <a:pt x="1072" y="226"/>
                      <a:pt x="1072" y="226"/>
                    </a:cubicBezTo>
                    <a:cubicBezTo>
                      <a:pt x="1069" y="224"/>
                      <a:pt x="1069" y="224"/>
                      <a:pt x="1069" y="224"/>
                    </a:cubicBezTo>
                    <a:cubicBezTo>
                      <a:pt x="1067" y="223"/>
                      <a:pt x="1067" y="223"/>
                      <a:pt x="1067" y="223"/>
                    </a:cubicBezTo>
                    <a:cubicBezTo>
                      <a:pt x="1066" y="222"/>
                      <a:pt x="1066" y="222"/>
                      <a:pt x="1066" y="222"/>
                    </a:cubicBezTo>
                    <a:cubicBezTo>
                      <a:pt x="1065" y="220"/>
                      <a:pt x="1065" y="220"/>
                      <a:pt x="1065" y="220"/>
                    </a:cubicBezTo>
                    <a:cubicBezTo>
                      <a:pt x="1065" y="218"/>
                      <a:pt x="1065" y="218"/>
                      <a:pt x="1065" y="218"/>
                    </a:cubicBezTo>
                    <a:cubicBezTo>
                      <a:pt x="1066" y="216"/>
                      <a:pt x="1066" y="216"/>
                      <a:pt x="1066" y="216"/>
                    </a:cubicBezTo>
                    <a:cubicBezTo>
                      <a:pt x="1066" y="212"/>
                      <a:pt x="1066" y="212"/>
                      <a:pt x="1066" y="212"/>
                    </a:cubicBezTo>
                    <a:cubicBezTo>
                      <a:pt x="1064" y="208"/>
                      <a:pt x="1064" y="208"/>
                      <a:pt x="1064" y="208"/>
                    </a:cubicBezTo>
                    <a:cubicBezTo>
                      <a:pt x="1061" y="205"/>
                      <a:pt x="1061" y="205"/>
                      <a:pt x="1061" y="205"/>
                    </a:cubicBezTo>
                    <a:cubicBezTo>
                      <a:pt x="1059" y="204"/>
                      <a:pt x="1059" y="204"/>
                      <a:pt x="1059" y="204"/>
                    </a:cubicBezTo>
                    <a:cubicBezTo>
                      <a:pt x="1059" y="201"/>
                      <a:pt x="1059" y="201"/>
                      <a:pt x="1059" y="201"/>
                    </a:cubicBezTo>
                    <a:cubicBezTo>
                      <a:pt x="1060" y="200"/>
                      <a:pt x="1060" y="200"/>
                      <a:pt x="1060" y="200"/>
                    </a:cubicBezTo>
                    <a:cubicBezTo>
                      <a:pt x="1062" y="200"/>
                      <a:pt x="1062" y="200"/>
                      <a:pt x="1062" y="200"/>
                    </a:cubicBezTo>
                    <a:cubicBezTo>
                      <a:pt x="1064" y="201"/>
                      <a:pt x="1064" y="201"/>
                      <a:pt x="1064" y="201"/>
                    </a:cubicBezTo>
                    <a:cubicBezTo>
                      <a:pt x="1066" y="198"/>
                      <a:pt x="1066" y="198"/>
                      <a:pt x="1066" y="198"/>
                    </a:cubicBezTo>
                    <a:cubicBezTo>
                      <a:pt x="1072" y="203"/>
                      <a:pt x="1072" y="203"/>
                      <a:pt x="1072" y="203"/>
                    </a:cubicBezTo>
                    <a:cubicBezTo>
                      <a:pt x="1073" y="202"/>
                      <a:pt x="1073" y="202"/>
                      <a:pt x="1073" y="202"/>
                    </a:cubicBezTo>
                    <a:cubicBezTo>
                      <a:pt x="1071" y="200"/>
                      <a:pt x="1071" y="200"/>
                      <a:pt x="1071" y="200"/>
                    </a:cubicBezTo>
                    <a:cubicBezTo>
                      <a:pt x="1071" y="199"/>
                      <a:pt x="1071" y="199"/>
                      <a:pt x="1071" y="199"/>
                    </a:cubicBezTo>
                    <a:cubicBezTo>
                      <a:pt x="1072" y="198"/>
                      <a:pt x="1072" y="198"/>
                      <a:pt x="1072" y="198"/>
                    </a:cubicBezTo>
                    <a:cubicBezTo>
                      <a:pt x="1072" y="196"/>
                      <a:pt x="1072" y="196"/>
                      <a:pt x="1072" y="196"/>
                    </a:cubicBezTo>
                    <a:cubicBezTo>
                      <a:pt x="1073" y="194"/>
                      <a:pt x="1073" y="194"/>
                      <a:pt x="1073" y="194"/>
                    </a:cubicBezTo>
                    <a:cubicBezTo>
                      <a:pt x="1074" y="193"/>
                      <a:pt x="1074" y="193"/>
                      <a:pt x="1074" y="193"/>
                    </a:cubicBezTo>
                    <a:cubicBezTo>
                      <a:pt x="1075" y="193"/>
                      <a:pt x="1075" y="193"/>
                      <a:pt x="1075" y="193"/>
                    </a:cubicBezTo>
                    <a:cubicBezTo>
                      <a:pt x="1078" y="196"/>
                      <a:pt x="1078" y="196"/>
                      <a:pt x="1078" y="196"/>
                    </a:cubicBezTo>
                    <a:cubicBezTo>
                      <a:pt x="1079" y="198"/>
                      <a:pt x="1079" y="198"/>
                      <a:pt x="1079" y="198"/>
                    </a:cubicBezTo>
                    <a:cubicBezTo>
                      <a:pt x="1081" y="200"/>
                      <a:pt x="1081" y="200"/>
                      <a:pt x="1081" y="200"/>
                    </a:cubicBezTo>
                    <a:cubicBezTo>
                      <a:pt x="1083" y="201"/>
                      <a:pt x="1083" y="201"/>
                      <a:pt x="1083" y="201"/>
                    </a:cubicBezTo>
                    <a:cubicBezTo>
                      <a:pt x="1084" y="203"/>
                      <a:pt x="1084" y="203"/>
                      <a:pt x="1084" y="203"/>
                    </a:cubicBezTo>
                    <a:cubicBezTo>
                      <a:pt x="1086" y="195"/>
                      <a:pt x="1086" y="195"/>
                      <a:pt x="1086" y="195"/>
                    </a:cubicBezTo>
                    <a:cubicBezTo>
                      <a:pt x="1088" y="195"/>
                      <a:pt x="1088" y="195"/>
                      <a:pt x="1088" y="195"/>
                    </a:cubicBezTo>
                    <a:cubicBezTo>
                      <a:pt x="1093" y="194"/>
                      <a:pt x="1093" y="194"/>
                      <a:pt x="1093" y="194"/>
                    </a:cubicBezTo>
                    <a:cubicBezTo>
                      <a:pt x="1099" y="193"/>
                      <a:pt x="1099" y="193"/>
                      <a:pt x="1099" y="193"/>
                    </a:cubicBezTo>
                    <a:cubicBezTo>
                      <a:pt x="1104" y="193"/>
                      <a:pt x="1104" y="193"/>
                      <a:pt x="1104" y="193"/>
                    </a:cubicBezTo>
                    <a:cubicBezTo>
                      <a:pt x="1112" y="197"/>
                      <a:pt x="1112" y="197"/>
                      <a:pt x="1112" y="197"/>
                    </a:cubicBezTo>
                    <a:cubicBezTo>
                      <a:pt x="1113" y="198"/>
                      <a:pt x="1113" y="198"/>
                      <a:pt x="1113" y="198"/>
                    </a:cubicBezTo>
                    <a:cubicBezTo>
                      <a:pt x="1114" y="198"/>
                      <a:pt x="1114" y="198"/>
                      <a:pt x="1114" y="198"/>
                    </a:cubicBezTo>
                    <a:cubicBezTo>
                      <a:pt x="1121" y="201"/>
                      <a:pt x="1121" y="201"/>
                      <a:pt x="1121" y="201"/>
                    </a:cubicBezTo>
                    <a:cubicBezTo>
                      <a:pt x="1116" y="191"/>
                      <a:pt x="1116" y="191"/>
                      <a:pt x="1116" y="191"/>
                    </a:cubicBezTo>
                    <a:cubicBezTo>
                      <a:pt x="1120" y="191"/>
                      <a:pt x="1120" y="191"/>
                      <a:pt x="1120" y="191"/>
                    </a:cubicBezTo>
                    <a:cubicBezTo>
                      <a:pt x="1122" y="190"/>
                      <a:pt x="1122" y="190"/>
                      <a:pt x="1122" y="190"/>
                    </a:cubicBezTo>
                    <a:cubicBezTo>
                      <a:pt x="1124" y="188"/>
                      <a:pt x="1124" y="188"/>
                      <a:pt x="1124" y="188"/>
                    </a:cubicBezTo>
                    <a:cubicBezTo>
                      <a:pt x="1124" y="184"/>
                      <a:pt x="1124" y="184"/>
                      <a:pt x="1124" y="184"/>
                    </a:cubicBezTo>
                    <a:cubicBezTo>
                      <a:pt x="1123" y="183"/>
                      <a:pt x="1123" y="183"/>
                      <a:pt x="1123" y="183"/>
                    </a:cubicBezTo>
                    <a:cubicBezTo>
                      <a:pt x="1122" y="181"/>
                      <a:pt x="1122" y="181"/>
                      <a:pt x="1122" y="181"/>
                    </a:cubicBezTo>
                    <a:cubicBezTo>
                      <a:pt x="1126" y="181"/>
                      <a:pt x="1126" y="181"/>
                      <a:pt x="1126" y="181"/>
                    </a:cubicBezTo>
                    <a:cubicBezTo>
                      <a:pt x="1126" y="177"/>
                      <a:pt x="1126" y="177"/>
                      <a:pt x="1126" y="177"/>
                    </a:cubicBezTo>
                    <a:cubicBezTo>
                      <a:pt x="1128" y="177"/>
                      <a:pt x="1128" y="177"/>
                      <a:pt x="1128" y="177"/>
                    </a:cubicBezTo>
                    <a:cubicBezTo>
                      <a:pt x="1130" y="178"/>
                      <a:pt x="1130" y="178"/>
                      <a:pt x="1130" y="178"/>
                    </a:cubicBezTo>
                    <a:cubicBezTo>
                      <a:pt x="1135" y="178"/>
                      <a:pt x="1135" y="178"/>
                      <a:pt x="1135" y="178"/>
                    </a:cubicBezTo>
                    <a:cubicBezTo>
                      <a:pt x="1137" y="177"/>
                      <a:pt x="1137" y="177"/>
                      <a:pt x="1137" y="177"/>
                    </a:cubicBezTo>
                    <a:cubicBezTo>
                      <a:pt x="1138" y="176"/>
                      <a:pt x="1138" y="176"/>
                      <a:pt x="1138" y="176"/>
                    </a:cubicBezTo>
                    <a:cubicBezTo>
                      <a:pt x="1139" y="174"/>
                      <a:pt x="1139" y="174"/>
                      <a:pt x="1139" y="174"/>
                    </a:cubicBezTo>
                    <a:cubicBezTo>
                      <a:pt x="1141" y="172"/>
                      <a:pt x="1141" y="172"/>
                      <a:pt x="1141" y="172"/>
                    </a:cubicBezTo>
                    <a:cubicBezTo>
                      <a:pt x="1142" y="170"/>
                      <a:pt x="1142" y="170"/>
                      <a:pt x="1142" y="170"/>
                    </a:cubicBezTo>
                    <a:cubicBezTo>
                      <a:pt x="1143" y="169"/>
                      <a:pt x="1143" y="169"/>
                      <a:pt x="1143" y="169"/>
                    </a:cubicBezTo>
                    <a:cubicBezTo>
                      <a:pt x="1144" y="169"/>
                      <a:pt x="1144" y="169"/>
                      <a:pt x="1144" y="169"/>
                    </a:cubicBezTo>
                    <a:cubicBezTo>
                      <a:pt x="1141" y="165"/>
                      <a:pt x="1141" y="165"/>
                      <a:pt x="1141" y="165"/>
                    </a:cubicBezTo>
                    <a:cubicBezTo>
                      <a:pt x="1146" y="165"/>
                      <a:pt x="1146" y="165"/>
                      <a:pt x="1146" y="165"/>
                    </a:cubicBezTo>
                    <a:cubicBezTo>
                      <a:pt x="1147" y="168"/>
                      <a:pt x="1147" y="168"/>
                      <a:pt x="1147" y="168"/>
                    </a:cubicBezTo>
                    <a:cubicBezTo>
                      <a:pt x="1157" y="169"/>
                      <a:pt x="1157" y="169"/>
                      <a:pt x="1157" y="169"/>
                    </a:cubicBezTo>
                    <a:cubicBezTo>
                      <a:pt x="1159" y="169"/>
                      <a:pt x="1159" y="169"/>
                      <a:pt x="1159" y="169"/>
                    </a:cubicBezTo>
                    <a:cubicBezTo>
                      <a:pt x="1161" y="170"/>
                      <a:pt x="1161" y="170"/>
                      <a:pt x="1161" y="170"/>
                    </a:cubicBezTo>
                    <a:cubicBezTo>
                      <a:pt x="1167" y="170"/>
                      <a:pt x="1167" y="170"/>
                      <a:pt x="1167" y="170"/>
                    </a:cubicBezTo>
                    <a:cubicBezTo>
                      <a:pt x="1167" y="167"/>
                      <a:pt x="1167" y="167"/>
                      <a:pt x="1167" y="167"/>
                    </a:cubicBezTo>
                    <a:cubicBezTo>
                      <a:pt x="1166" y="165"/>
                      <a:pt x="1166" y="165"/>
                      <a:pt x="1166" y="165"/>
                    </a:cubicBezTo>
                    <a:cubicBezTo>
                      <a:pt x="1160" y="165"/>
                      <a:pt x="1160" y="165"/>
                      <a:pt x="1160" y="165"/>
                    </a:cubicBezTo>
                    <a:cubicBezTo>
                      <a:pt x="1159" y="161"/>
                      <a:pt x="1159" y="161"/>
                      <a:pt x="1159" y="161"/>
                    </a:cubicBezTo>
                    <a:cubicBezTo>
                      <a:pt x="1158" y="161"/>
                      <a:pt x="1158" y="161"/>
                      <a:pt x="1158" y="161"/>
                    </a:cubicBezTo>
                    <a:cubicBezTo>
                      <a:pt x="1157" y="160"/>
                      <a:pt x="1157" y="160"/>
                      <a:pt x="1157" y="160"/>
                    </a:cubicBezTo>
                    <a:cubicBezTo>
                      <a:pt x="1155" y="160"/>
                      <a:pt x="1155" y="160"/>
                      <a:pt x="1155" y="160"/>
                    </a:cubicBezTo>
                    <a:cubicBezTo>
                      <a:pt x="1151" y="158"/>
                      <a:pt x="1151" y="158"/>
                      <a:pt x="1151" y="158"/>
                    </a:cubicBezTo>
                    <a:cubicBezTo>
                      <a:pt x="1149" y="158"/>
                      <a:pt x="1149" y="158"/>
                      <a:pt x="1149" y="158"/>
                    </a:cubicBezTo>
                    <a:cubicBezTo>
                      <a:pt x="1147" y="157"/>
                      <a:pt x="1147" y="157"/>
                      <a:pt x="1147" y="157"/>
                    </a:cubicBezTo>
                    <a:cubicBezTo>
                      <a:pt x="1142" y="157"/>
                      <a:pt x="1142" y="157"/>
                      <a:pt x="1142" y="157"/>
                    </a:cubicBezTo>
                    <a:cubicBezTo>
                      <a:pt x="1143" y="154"/>
                      <a:pt x="1143" y="154"/>
                      <a:pt x="1143" y="154"/>
                    </a:cubicBezTo>
                    <a:cubicBezTo>
                      <a:pt x="1131" y="146"/>
                      <a:pt x="1131" y="146"/>
                      <a:pt x="1131" y="146"/>
                    </a:cubicBezTo>
                    <a:cubicBezTo>
                      <a:pt x="1128" y="149"/>
                      <a:pt x="1128" y="149"/>
                      <a:pt x="1128" y="149"/>
                    </a:cubicBezTo>
                    <a:cubicBezTo>
                      <a:pt x="1127" y="149"/>
                      <a:pt x="1127" y="149"/>
                      <a:pt x="1127" y="149"/>
                    </a:cubicBezTo>
                    <a:cubicBezTo>
                      <a:pt x="1126" y="148"/>
                      <a:pt x="1126" y="148"/>
                      <a:pt x="1126" y="148"/>
                    </a:cubicBezTo>
                    <a:cubicBezTo>
                      <a:pt x="1124" y="148"/>
                      <a:pt x="1124" y="148"/>
                      <a:pt x="1124" y="148"/>
                    </a:cubicBezTo>
                    <a:cubicBezTo>
                      <a:pt x="1122" y="147"/>
                      <a:pt x="1122" y="147"/>
                      <a:pt x="1122" y="147"/>
                    </a:cubicBezTo>
                    <a:cubicBezTo>
                      <a:pt x="1121" y="147"/>
                      <a:pt x="1121" y="147"/>
                      <a:pt x="1121" y="147"/>
                    </a:cubicBezTo>
                    <a:cubicBezTo>
                      <a:pt x="1119" y="146"/>
                      <a:pt x="1119" y="146"/>
                      <a:pt x="1119" y="146"/>
                    </a:cubicBezTo>
                    <a:cubicBezTo>
                      <a:pt x="1117" y="144"/>
                      <a:pt x="1117" y="144"/>
                      <a:pt x="1117" y="144"/>
                    </a:cubicBezTo>
                    <a:cubicBezTo>
                      <a:pt x="1116" y="144"/>
                      <a:pt x="1116" y="144"/>
                      <a:pt x="1116" y="144"/>
                    </a:cubicBezTo>
                    <a:cubicBezTo>
                      <a:pt x="1110" y="145"/>
                      <a:pt x="1110" y="145"/>
                      <a:pt x="1110" y="145"/>
                    </a:cubicBezTo>
                    <a:cubicBezTo>
                      <a:pt x="1106" y="144"/>
                      <a:pt x="1106" y="144"/>
                      <a:pt x="1106" y="144"/>
                    </a:cubicBezTo>
                    <a:cubicBezTo>
                      <a:pt x="1104" y="143"/>
                      <a:pt x="1104" y="143"/>
                      <a:pt x="1104" y="143"/>
                    </a:cubicBezTo>
                    <a:cubicBezTo>
                      <a:pt x="1101" y="140"/>
                      <a:pt x="1101" y="140"/>
                      <a:pt x="1101" y="140"/>
                    </a:cubicBezTo>
                    <a:cubicBezTo>
                      <a:pt x="1100" y="140"/>
                      <a:pt x="1100" y="140"/>
                      <a:pt x="1100" y="140"/>
                    </a:cubicBezTo>
                    <a:cubicBezTo>
                      <a:pt x="1101" y="139"/>
                      <a:pt x="1101" y="139"/>
                      <a:pt x="1101" y="139"/>
                    </a:cubicBezTo>
                    <a:cubicBezTo>
                      <a:pt x="1105" y="139"/>
                      <a:pt x="1105" y="139"/>
                      <a:pt x="1105" y="139"/>
                    </a:cubicBezTo>
                    <a:cubicBezTo>
                      <a:pt x="1109" y="141"/>
                      <a:pt x="1109" y="141"/>
                      <a:pt x="1109" y="141"/>
                    </a:cubicBezTo>
                    <a:cubicBezTo>
                      <a:pt x="1112" y="141"/>
                      <a:pt x="1112" y="141"/>
                      <a:pt x="1112" y="141"/>
                    </a:cubicBezTo>
                    <a:cubicBezTo>
                      <a:pt x="1115" y="142"/>
                      <a:pt x="1115" y="142"/>
                      <a:pt x="1115" y="142"/>
                    </a:cubicBezTo>
                    <a:cubicBezTo>
                      <a:pt x="1118" y="142"/>
                      <a:pt x="1118" y="142"/>
                      <a:pt x="1118" y="142"/>
                    </a:cubicBezTo>
                    <a:cubicBezTo>
                      <a:pt x="1120" y="143"/>
                      <a:pt x="1120" y="143"/>
                      <a:pt x="1120" y="143"/>
                    </a:cubicBezTo>
                    <a:cubicBezTo>
                      <a:pt x="1123" y="143"/>
                      <a:pt x="1123" y="143"/>
                      <a:pt x="1123" y="143"/>
                    </a:cubicBezTo>
                    <a:cubicBezTo>
                      <a:pt x="1124" y="142"/>
                      <a:pt x="1124" y="142"/>
                      <a:pt x="1124" y="142"/>
                    </a:cubicBezTo>
                    <a:cubicBezTo>
                      <a:pt x="1126" y="142"/>
                      <a:pt x="1126" y="142"/>
                      <a:pt x="1126" y="142"/>
                    </a:cubicBezTo>
                    <a:cubicBezTo>
                      <a:pt x="1129" y="141"/>
                      <a:pt x="1129" y="141"/>
                      <a:pt x="1129" y="141"/>
                    </a:cubicBezTo>
                    <a:cubicBezTo>
                      <a:pt x="1133" y="139"/>
                      <a:pt x="1133" y="139"/>
                      <a:pt x="1133" y="139"/>
                    </a:cubicBezTo>
                    <a:cubicBezTo>
                      <a:pt x="1135" y="137"/>
                      <a:pt x="1135" y="137"/>
                      <a:pt x="1135" y="137"/>
                    </a:cubicBezTo>
                    <a:cubicBezTo>
                      <a:pt x="1133" y="135"/>
                      <a:pt x="1133" y="135"/>
                      <a:pt x="1133" y="135"/>
                    </a:cubicBezTo>
                    <a:cubicBezTo>
                      <a:pt x="1131" y="134"/>
                      <a:pt x="1131" y="134"/>
                      <a:pt x="1131" y="134"/>
                    </a:cubicBezTo>
                    <a:cubicBezTo>
                      <a:pt x="1130" y="133"/>
                      <a:pt x="1130" y="133"/>
                      <a:pt x="1130" y="133"/>
                    </a:cubicBezTo>
                    <a:cubicBezTo>
                      <a:pt x="1128" y="132"/>
                      <a:pt x="1128" y="132"/>
                      <a:pt x="1128" y="132"/>
                    </a:cubicBezTo>
                    <a:cubicBezTo>
                      <a:pt x="1127" y="131"/>
                      <a:pt x="1127" y="131"/>
                      <a:pt x="1127" y="131"/>
                    </a:cubicBezTo>
                    <a:cubicBezTo>
                      <a:pt x="1126" y="131"/>
                      <a:pt x="1126" y="131"/>
                      <a:pt x="1126" y="131"/>
                    </a:cubicBezTo>
                    <a:cubicBezTo>
                      <a:pt x="1125" y="130"/>
                      <a:pt x="1125" y="130"/>
                      <a:pt x="1125" y="130"/>
                    </a:cubicBezTo>
                    <a:cubicBezTo>
                      <a:pt x="1119" y="127"/>
                      <a:pt x="1119" y="127"/>
                      <a:pt x="1119" y="127"/>
                    </a:cubicBezTo>
                    <a:cubicBezTo>
                      <a:pt x="1117" y="125"/>
                      <a:pt x="1117" y="125"/>
                      <a:pt x="1117" y="125"/>
                    </a:cubicBezTo>
                    <a:cubicBezTo>
                      <a:pt x="1118" y="124"/>
                      <a:pt x="1118" y="124"/>
                      <a:pt x="1118" y="124"/>
                    </a:cubicBezTo>
                    <a:cubicBezTo>
                      <a:pt x="1122" y="124"/>
                      <a:pt x="1122" y="124"/>
                      <a:pt x="1122" y="124"/>
                    </a:cubicBezTo>
                    <a:cubicBezTo>
                      <a:pt x="1125" y="125"/>
                      <a:pt x="1125" y="125"/>
                      <a:pt x="1125" y="125"/>
                    </a:cubicBezTo>
                    <a:cubicBezTo>
                      <a:pt x="1126" y="126"/>
                      <a:pt x="1126" y="126"/>
                      <a:pt x="1126" y="126"/>
                    </a:cubicBezTo>
                    <a:cubicBezTo>
                      <a:pt x="1128" y="127"/>
                      <a:pt x="1128" y="127"/>
                      <a:pt x="1128" y="127"/>
                    </a:cubicBezTo>
                    <a:cubicBezTo>
                      <a:pt x="1129" y="127"/>
                      <a:pt x="1129" y="127"/>
                      <a:pt x="1129" y="127"/>
                    </a:cubicBezTo>
                    <a:cubicBezTo>
                      <a:pt x="1130" y="128"/>
                      <a:pt x="1130" y="128"/>
                      <a:pt x="1130" y="128"/>
                    </a:cubicBezTo>
                    <a:cubicBezTo>
                      <a:pt x="1134" y="130"/>
                      <a:pt x="1134" y="130"/>
                      <a:pt x="1134" y="130"/>
                    </a:cubicBezTo>
                    <a:cubicBezTo>
                      <a:pt x="1137" y="132"/>
                      <a:pt x="1137" y="132"/>
                      <a:pt x="1137" y="132"/>
                    </a:cubicBezTo>
                    <a:cubicBezTo>
                      <a:pt x="1141" y="134"/>
                      <a:pt x="1141" y="134"/>
                      <a:pt x="1141" y="134"/>
                    </a:cubicBezTo>
                    <a:cubicBezTo>
                      <a:pt x="1143" y="134"/>
                      <a:pt x="1143" y="134"/>
                      <a:pt x="1143" y="134"/>
                    </a:cubicBezTo>
                    <a:cubicBezTo>
                      <a:pt x="1145" y="133"/>
                      <a:pt x="1145" y="133"/>
                      <a:pt x="1145" y="133"/>
                    </a:cubicBezTo>
                    <a:cubicBezTo>
                      <a:pt x="1146" y="133"/>
                      <a:pt x="1146" y="133"/>
                      <a:pt x="1146" y="133"/>
                    </a:cubicBezTo>
                    <a:cubicBezTo>
                      <a:pt x="1147" y="132"/>
                      <a:pt x="1147" y="132"/>
                      <a:pt x="1147" y="132"/>
                    </a:cubicBezTo>
                    <a:cubicBezTo>
                      <a:pt x="1154" y="132"/>
                      <a:pt x="1154" y="132"/>
                      <a:pt x="1154" y="132"/>
                    </a:cubicBezTo>
                    <a:cubicBezTo>
                      <a:pt x="1158" y="133"/>
                      <a:pt x="1158" y="133"/>
                      <a:pt x="1158" y="133"/>
                    </a:cubicBezTo>
                    <a:cubicBezTo>
                      <a:pt x="1167" y="136"/>
                      <a:pt x="1167" y="136"/>
                      <a:pt x="1167" y="136"/>
                    </a:cubicBezTo>
                    <a:cubicBezTo>
                      <a:pt x="1174" y="139"/>
                      <a:pt x="1174" y="139"/>
                      <a:pt x="1174" y="139"/>
                    </a:cubicBezTo>
                    <a:cubicBezTo>
                      <a:pt x="1179" y="140"/>
                      <a:pt x="1179" y="140"/>
                      <a:pt x="1179" y="140"/>
                    </a:cubicBezTo>
                    <a:cubicBezTo>
                      <a:pt x="1180" y="141"/>
                      <a:pt x="1180" y="141"/>
                      <a:pt x="1180" y="141"/>
                    </a:cubicBezTo>
                    <a:cubicBezTo>
                      <a:pt x="1182" y="141"/>
                      <a:pt x="1182" y="141"/>
                      <a:pt x="1182" y="141"/>
                    </a:cubicBezTo>
                    <a:cubicBezTo>
                      <a:pt x="1188" y="143"/>
                      <a:pt x="1188" y="143"/>
                      <a:pt x="1188" y="143"/>
                    </a:cubicBezTo>
                    <a:cubicBezTo>
                      <a:pt x="1190" y="143"/>
                      <a:pt x="1190" y="143"/>
                      <a:pt x="1190" y="143"/>
                    </a:cubicBezTo>
                    <a:cubicBezTo>
                      <a:pt x="1191" y="144"/>
                      <a:pt x="1191" y="144"/>
                      <a:pt x="1191" y="144"/>
                    </a:cubicBezTo>
                    <a:cubicBezTo>
                      <a:pt x="1192" y="144"/>
                      <a:pt x="1192" y="144"/>
                      <a:pt x="1192" y="144"/>
                    </a:cubicBezTo>
                    <a:cubicBezTo>
                      <a:pt x="1194" y="145"/>
                      <a:pt x="1194" y="145"/>
                      <a:pt x="1194" y="145"/>
                    </a:cubicBezTo>
                    <a:cubicBezTo>
                      <a:pt x="1195" y="146"/>
                      <a:pt x="1195" y="146"/>
                      <a:pt x="1195" y="146"/>
                    </a:cubicBezTo>
                    <a:cubicBezTo>
                      <a:pt x="1197" y="147"/>
                      <a:pt x="1197" y="147"/>
                      <a:pt x="1197" y="147"/>
                    </a:cubicBezTo>
                    <a:cubicBezTo>
                      <a:pt x="1199" y="147"/>
                      <a:pt x="1199" y="147"/>
                      <a:pt x="1199" y="147"/>
                    </a:cubicBezTo>
                    <a:cubicBezTo>
                      <a:pt x="1202" y="148"/>
                      <a:pt x="1202" y="148"/>
                      <a:pt x="1202" y="148"/>
                    </a:cubicBezTo>
                    <a:cubicBezTo>
                      <a:pt x="1203" y="149"/>
                      <a:pt x="1203" y="149"/>
                      <a:pt x="1203" y="149"/>
                    </a:cubicBezTo>
                    <a:cubicBezTo>
                      <a:pt x="1206" y="149"/>
                      <a:pt x="1206" y="149"/>
                      <a:pt x="1206" y="149"/>
                    </a:cubicBezTo>
                    <a:cubicBezTo>
                      <a:pt x="1206" y="148"/>
                      <a:pt x="1206" y="148"/>
                      <a:pt x="1206" y="148"/>
                    </a:cubicBezTo>
                    <a:cubicBezTo>
                      <a:pt x="1205" y="145"/>
                      <a:pt x="1205" y="145"/>
                      <a:pt x="1205" y="145"/>
                    </a:cubicBezTo>
                    <a:cubicBezTo>
                      <a:pt x="1201" y="141"/>
                      <a:pt x="1201" y="141"/>
                      <a:pt x="1201" y="141"/>
                    </a:cubicBezTo>
                    <a:cubicBezTo>
                      <a:pt x="1200" y="141"/>
                      <a:pt x="1200" y="141"/>
                      <a:pt x="1200" y="141"/>
                    </a:cubicBezTo>
                    <a:cubicBezTo>
                      <a:pt x="1203" y="138"/>
                      <a:pt x="1203" y="138"/>
                      <a:pt x="1203" y="138"/>
                    </a:cubicBezTo>
                    <a:cubicBezTo>
                      <a:pt x="1195" y="135"/>
                      <a:pt x="1195" y="135"/>
                      <a:pt x="1195" y="135"/>
                    </a:cubicBezTo>
                    <a:cubicBezTo>
                      <a:pt x="1197" y="134"/>
                      <a:pt x="1197" y="134"/>
                      <a:pt x="1197" y="134"/>
                    </a:cubicBezTo>
                    <a:cubicBezTo>
                      <a:pt x="1189" y="130"/>
                      <a:pt x="1189" y="130"/>
                      <a:pt x="1189" y="130"/>
                    </a:cubicBezTo>
                    <a:cubicBezTo>
                      <a:pt x="1198" y="132"/>
                      <a:pt x="1198" y="132"/>
                      <a:pt x="1198" y="132"/>
                    </a:cubicBezTo>
                    <a:cubicBezTo>
                      <a:pt x="1197" y="128"/>
                      <a:pt x="1197" y="128"/>
                      <a:pt x="1197" y="128"/>
                    </a:cubicBezTo>
                    <a:cubicBezTo>
                      <a:pt x="1199" y="128"/>
                      <a:pt x="1199" y="128"/>
                      <a:pt x="1199" y="128"/>
                    </a:cubicBezTo>
                    <a:lnTo>
                      <a:pt x="1201" y="129"/>
                    </a:lnTo>
                    <a:close/>
                  </a:path>
                </a:pathLst>
              </a:custGeom>
              <a:grpFill/>
              <a:ln w="3175">
                <a:solidFill>
                  <a:schemeClr val="bg1"/>
                </a:solidFill>
                <a:round/>
                <a:headEnd/>
                <a:tailEnd/>
              </a:ln>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mn-cs"/>
                </a:endParaRPr>
              </a:p>
            </p:txBody>
          </p:sp>
          <p:sp>
            <p:nvSpPr>
              <p:cNvPr id="108" name="Freeform 68" descr="© INSCALE GmbH, 15.06.2010">
                <a:hlinkClick r:id="" action="ppaction://noaction"/>
                <a:extLst>
                  <a:ext uri="{FF2B5EF4-FFF2-40B4-BE49-F238E27FC236}">
                    <a16:creationId xmlns:a16="http://schemas.microsoft.com/office/drawing/2014/main" id="{62729737-127E-4691-87B5-F60F990AC1A1}"/>
                  </a:ext>
                </a:extLst>
              </p:cNvPr>
              <p:cNvSpPr>
                <a:spLocks/>
              </p:cNvSpPr>
              <p:nvPr/>
            </p:nvSpPr>
            <p:spPr bwMode="auto">
              <a:xfrm>
                <a:off x="12937744" y="3150591"/>
                <a:ext cx="28574" cy="14287"/>
              </a:xfrm>
              <a:custGeom>
                <a:avLst/>
                <a:gdLst/>
                <a:ahLst/>
                <a:cxnLst>
                  <a:cxn ang="0">
                    <a:pos x="18" y="0"/>
                  </a:cxn>
                  <a:cxn ang="0">
                    <a:pos x="10" y="9"/>
                  </a:cxn>
                  <a:cxn ang="0">
                    <a:pos x="18" y="0"/>
                  </a:cxn>
                </a:cxnLst>
                <a:rect l="0" t="0" r="r" b="b"/>
                <a:pathLst>
                  <a:path w="18" h="9">
                    <a:moveTo>
                      <a:pt x="18" y="0"/>
                    </a:moveTo>
                    <a:cubicBezTo>
                      <a:pt x="10" y="1"/>
                      <a:pt x="0" y="2"/>
                      <a:pt x="10" y="9"/>
                    </a:cubicBezTo>
                    <a:cubicBezTo>
                      <a:pt x="15" y="7"/>
                      <a:pt x="18" y="6"/>
                      <a:pt x="18" y="0"/>
                    </a:cubicBez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Arial"/>
                  <a:ea typeface="+mn-ea"/>
                  <a:cs typeface="+mn-cs"/>
                </a:endParaRPr>
              </a:p>
            </p:txBody>
          </p:sp>
          <p:sp>
            <p:nvSpPr>
              <p:cNvPr id="109" name="Freeform 85">
                <a:hlinkClick r:id="" action="ppaction://noaction"/>
                <a:extLst>
                  <a:ext uri="{FF2B5EF4-FFF2-40B4-BE49-F238E27FC236}">
                    <a16:creationId xmlns:a16="http://schemas.microsoft.com/office/drawing/2014/main" id="{BA094741-E55F-421B-8E94-FBF29842CA26}"/>
                  </a:ext>
                </a:extLst>
              </p:cNvPr>
              <p:cNvSpPr>
                <a:spLocks noEditPoints="1"/>
              </p:cNvSpPr>
              <p:nvPr/>
            </p:nvSpPr>
            <p:spPr bwMode="auto">
              <a:xfrm>
                <a:off x="11308058" y="3880297"/>
                <a:ext cx="61912" cy="369888"/>
              </a:xfrm>
              <a:custGeom>
                <a:avLst/>
                <a:gdLst/>
                <a:ahLst/>
                <a:cxnLst>
                  <a:cxn ang="0">
                    <a:pos x="36" y="353"/>
                  </a:cxn>
                  <a:cxn ang="0">
                    <a:pos x="47" y="336"/>
                  </a:cxn>
                  <a:cxn ang="0">
                    <a:pos x="61" y="364"/>
                  </a:cxn>
                  <a:cxn ang="0">
                    <a:pos x="26" y="364"/>
                  </a:cxn>
                  <a:cxn ang="0">
                    <a:pos x="38" y="415"/>
                  </a:cxn>
                  <a:cxn ang="0">
                    <a:pos x="53" y="406"/>
                  </a:cxn>
                  <a:cxn ang="0">
                    <a:pos x="53" y="406"/>
                  </a:cxn>
                  <a:cxn ang="0">
                    <a:pos x="47" y="294"/>
                  </a:cxn>
                  <a:cxn ang="0">
                    <a:pos x="45" y="279"/>
                  </a:cxn>
                  <a:cxn ang="0">
                    <a:pos x="34" y="274"/>
                  </a:cxn>
                  <a:cxn ang="0">
                    <a:pos x="32" y="249"/>
                  </a:cxn>
                  <a:cxn ang="0">
                    <a:pos x="36" y="226"/>
                  </a:cxn>
                  <a:cxn ang="0">
                    <a:pos x="22" y="222"/>
                  </a:cxn>
                  <a:cxn ang="0">
                    <a:pos x="14" y="157"/>
                  </a:cxn>
                  <a:cxn ang="0">
                    <a:pos x="26" y="199"/>
                  </a:cxn>
                  <a:cxn ang="0">
                    <a:pos x="28" y="165"/>
                  </a:cxn>
                  <a:cxn ang="0">
                    <a:pos x="25" y="146"/>
                  </a:cxn>
                  <a:cxn ang="0">
                    <a:pos x="46" y="239"/>
                  </a:cxn>
                  <a:cxn ang="0">
                    <a:pos x="54" y="210"/>
                  </a:cxn>
                  <a:cxn ang="0">
                    <a:pos x="60" y="197"/>
                  </a:cxn>
                  <a:cxn ang="0">
                    <a:pos x="57" y="176"/>
                  </a:cxn>
                  <a:cxn ang="0">
                    <a:pos x="70" y="150"/>
                  </a:cxn>
                  <a:cxn ang="0">
                    <a:pos x="46" y="127"/>
                  </a:cxn>
                  <a:cxn ang="0">
                    <a:pos x="45" y="164"/>
                  </a:cxn>
                  <a:cxn ang="0">
                    <a:pos x="48" y="183"/>
                  </a:cxn>
                  <a:cxn ang="0">
                    <a:pos x="44" y="203"/>
                  </a:cxn>
                  <a:cxn ang="0">
                    <a:pos x="46" y="239"/>
                  </a:cxn>
                  <a:cxn ang="0">
                    <a:pos x="47" y="87"/>
                  </a:cxn>
                  <a:cxn ang="0">
                    <a:pos x="18" y="104"/>
                  </a:cxn>
                  <a:cxn ang="0">
                    <a:pos x="39" y="104"/>
                  </a:cxn>
                  <a:cxn ang="0">
                    <a:pos x="22" y="65"/>
                  </a:cxn>
                  <a:cxn ang="0">
                    <a:pos x="24" y="129"/>
                  </a:cxn>
                  <a:cxn ang="0">
                    <a:pos x="24" y="129"/>
                  </a:cxn>
                  <a:cxn ang="0">
                    <a:pos x="46" y="118"/>
                  </a:cxn>
                  <a:cxn ang="0">
                    <a:pos x="5" y="52"/>
                  </a:cxn>
                  <a:cxn ang="0">
                    <a:pos x="5" y="52"/>
                  </a:cxn>
                  <a:cxn ang="0">
                    <a:pos x="16" y="42"/>
                  </a:cxn>
                  <a:cxn ang="0">
                    <a:pos x="32" y="73"/>
                  </a:cxn>
                  <a:cxn ang="0">
                    <a:pos x="41" y="56"/>
                  </a:cxn>
                  <a:cxn ang="0">
                    <a:pos x="34" y="21"/>
                  </a:cxn>
                  <a:cxn ang="0">
                    <a:pos x="13" y="3"/>
                  </a:cxn>
                  <a:cxn ang="0">
                    <a:pos x="38" y="81"/>
                  </a:cxn>
                  <a:cxn ang="0">
                    <a:pos x="41" y="65"/>
                  </a:cxn>
                </a:cxnLst>
                <a:rect l="0" t="0" r="r" b="b"/>
                <a:pathLst>
                  <a:path w="72" h="429">
                    <a:moveTo>
                      <a:pt x="26" y="364"/>
                    </a:moveTo>
                    <a:cubicBezTo>
                      <a:pt x="24" y="358"/>
                      <a:pt x="36" y="353"/>
                      <a:pt x="36" y="353"/>
                    </a:cubicBezTo>
                    <a:cubicBezTo>
                      <a:pt x="36" y="342"/>
                      <a:pt x="36" y="342"/>
                      <a:pt x="36" y="342"/>
                    </a:cubicBezTo>
                    <a:cubicBezTo>
                      <a:pt x="36" y="342"/>
                      <a:pt x="42" y="336"/>
                      <a:pt x="47" y="336"/>
                    </a:cubicBezTo>
                    <a:cubicBezTo>
                      <a:pt x="51" y="336"/>
                      <a:pt x="54" y="351"/>
                      <a:pt x="54" y="351"/>
                    </a:cubicBezTo>
                    <a:cubicBezTo>
                      <a:pt x="54" y="351"/>
                      <a:pt x="62" y="356"/>
                      <a:pt x="61" y="364"/>
                    </a:cubicBezTo>
                    <a:cubicBezTo>
                      <a:pt x="60" y="372"/>
                      <a:pt x="38" y="380"/>
                      <a:pt x="38" y="380"/>
                    </a:cubicBezTo>
                    <a:cubicBezTo>
                      <a:pt x="31" y="380"/>
                      <a:pt x="27" y="369"/>
                      <a:pt x="26" y="364"/>
                    </a:cubicBezTo>
                    <a:close/>
                    <a:moveTo>
                      <a:pt x="38" y="429"/>
                    </a:moveTo>
                    <a:cubicBezTo>
                      <a:pt x="45" y="428"/>
                      <a:pt x="43" y="415"/>
                      <a:pt x="38" y="415"/>
                    </a:cubicBezTo>
                    <a:cubicBezTo>
                      <a:pt x="27" y="416"/>
                      <a:pt x="31" y="429"/>
                      <a:pt x="38" y="429"/>
                    </a:cubicBezTo>
                    <a:close/>
                    <a:moveTo>
                      <a:pt x="53" y="406"/>
                    </a:moveTo>
                    <a:cubicBezTo>
                      <a:pt x="57" y="402"/>
                      <a:pt x="50" y="402"/>
                      <a:pt x="50" y="402"/>
                    </a:cubicBezTo>
                    <a:cubicBezTo>
                      <a:pt x="46" y="403"/>
                      <a:pt x="49" y="410"/>
                      <a:pt x="53" y="406"/>
                    </a:cubicBezTo>
                    <a:close/>
                    <a:moveTo>
                      <a:pt x="45" y="279"/>
                    </a:moveTo>
                    <a:cubicBezTo>
                      <a:pt x="42" y="280"/>
                      <a:pt x="33" y="294"/>
                      <a:pt x="47" y="294"/>
                    </a:cubicBezTo>
                    <a:cubicBezTo>
                      <a:pt x="61" y="295"/>
                      <a:pt x="65" y="274"/>
                      <a:pt x="61" y="272"/>
                    </a:cubicBezTo>
                    <a:cubicBezTo>
                      <a:pt x="57" y="269"/>
                      <a:pt x="48" y="278"/>
                      <a:pt x="45" y="279"/>
                    </a:cubicBezTo>
                    <a:close/>
                    <a:moveTo>
                      <a:pt x="32" y="249"/>
                    </a:moveTo>
                    <a:cubicBezTo>
                      <a:pt x="23" y="250"/>
                      <a:pt x="14" y="277"/>
                      <a:pt x="34" y="274"/>
                    </a:cubicBezTo>
                    <a:cubicBezTo>
                      <a:pt x="54" y="272"/>
                      <a:pt x="49" y="249"/>
                      <a:pt x="49" y="249"/>
                    </a:cubicBezTo>
                    <a:cubicBezTo>
                      <a:pt x="49" y="249"/>
                      <a:pt x="40" y="248"/>
                      <a:pt x="32" y="249"/>
                    </a:cubicBezTo>
                    <a:close/>
                    <a:moveTo>
                      <a:pt x="25" y="244"/>
                    </a:moveTo>
                    <a:cubicBezTo>
                      <a:pt x="25" y="244"/>
                      <a:pt x="35" y="241"/>
                      <a:pt x="36" y="226"/>
                    </a:cubicBezTo>
                    <a:cubicBezTo>
                      <a:pt x="36" y="211"/>
                      <a:pt x="34" y="203"/>
                      <a:pt x="25" y="204"/>
                    </a:cubicBezTo>
                    <a:cubicBezTo>
                      <a:pt x="16" y="205"/>
                      <a:pt x="22" y="214"/>
                      <a:pt x="22" y="222"/>
                    </a:cubicBezTo>
                    <a:cubicBezTo>
                      <a:pt x="22" y="229"/>
                      <a:pt x="14" y="245"/>
                      <a:pt x="25" y="244"/>
                    </a:cubicBezTo>
                    <a:close/>
                    <a:moveTo>
                      <a:pt x="14" y="157"/>
                    </a:moveTo>
                    <a:cubicBezTo>
                      <a:pt x="10" y="164"/>
                      <a:pt x="15" y="168"/>
                      <a:pt x="13" y="184"/>
                    </a:cubicBezTo>
                    <a:cubicBezTo>
                      <a:pt x="11" y="200"/>
                      <a:pt x="18" y="199"/>
                      <a:pt x="26" y="199"/>
                    </a:cubicBezTo>
                    <a:cubicBezTo>
                      <a:pt x="35" y="198"/>
                      <a:pt x="30" y="180"/>
                      <a:pt x="31" y="176"/>
                    </a:cubicBezTo>
                    <a:cubicBezTo>
                      <a:pt x="32" y="171"/>
                      <a:pt x="28" y="165"/>
                      <a:pt x="28" y="165"/>
                    </a:cubicBezTo>
                    <a:cubicBezTo>
                      <a:pt x="28" y="165"/>
                      <a:pt x="30" y="161"/>
                      <a:pt x="31" y="156"/>
                    </a:cubicBezTo>
                    <a:cubicBezTo>
                      <a:pt x="33" y="152"/>
                      <a:pt x="25" y="146"/>
                      <a:pt x="25" y="146"/>
                    </a:cubicBezTo>
                    <a:cubicBezTo>
                      <a:pt x="26" y="153"/>
                      <a:pt x="19" y="150"/>
                      <a:pt x="14" y="157"/>
                    </a:cubicBezTo>
                    <a:close/>
                    <a:moveTo>
                      <a:pt x="46" y="239"/>
                    </a:moveTo>
                    <a:cubicBezTo>
                      <a:pt x="49" y="244"/>
                      <a:pt x="62" y="233"/>
                      <a:pt x="62" y="226"/>
                    </a:cubicBezTo>
                    <a:cubicBezTo>
                      <a:pt x="62" y="219"/>
                      <a:pt x="54" y="217"/>
                      <a:pt x="54" y="210"/>
                    </a:cubicBezTo>
                    <a:cubicBezTo>
                      <a:pt x="54" y="203"/>
                      <a:pt x="72" y="211"/>
                      <a:pt x="71" y="202"/>
                    </a:cubicBezTo>
                    <a:cubicBezTo>
                      <a:pt x="70" y="193"/>
                      <a:pt x="60" y="197"/>
                      <a:pt x="60" y="197"/>
                    </a:cubicBezTo>
                    <a:cubicBezTo>
                      <a:pt x="54" y="184"/>
                      <a:pt x="54" y="184"/>
                      <a:pt x="54" y="184"/>
                    </a:cubicBezTo>
                    <a:cubicBezTo>
                      <a:pt x="54" y="184"/>
                      <a:pt x="53" y="180"/>
                      <a:pt x="57" y="176"/>
                    </a:cubicBezTo>
                    <a:cubicBezTo>
                      <a:pt x="62" y="172"/>
                      <a:pt x="64" y="166"/>
                      <a:pt x="62" y="159"/>
                    </a:cubicBezTo>
                    <a:cubicBezTo>
                      <a:pt x="60" y="153"/>
                      <a:pt x="70" y="150"/>
                      <a:pt x="70" y="150"/>
                    </a:cubicBezTo>
                    <a:cubicBezTo>
                      <a:pt x="70" y="150"/>
                      <a:pt x="61" y="144"/>
                      <a:pt x="59" y="139"/>
                    </a:cubicBezTo>
                    <a:cubicBezTo>
                      <a:pt x="56" y="134"/>
                      <a:pt x="51" y="126"/>
                      <a:pt x="46" y="127"/>
                    </a:cubicBezTo>
                    <a:cubicBezTo>
                      <a:pt x="42" y="127"/>
                      <a:pt x="46" y="142"/>
                      <a:pt x="43" y="146"/>
                    </a:cubicBezTo>
                    <a:cubicBezTo>
                      <a:pt x="40" y="149"/>
                      <a:pt x="46" y="163"/>
                      <a:pt x="45" y="164"/>
                    </a:cubicBezTo>
                    <a:cubicBezTo>
                      <a:pt x="45" y="166"/>
                      <a:pt x="41" y="175"/>
                      <a:pt x="41" y="175"/>
                    </a:cubicBezTo>
                    <a:cubicBezTo>
                      <a:pt x="48" y="183"/>
                      <a:pt x="48" y="183"/>
                      <a:pt x="48" y="183"/>
                    </a:cubicBezTo>
                    <a:cubicBezTo>
                      <a:pt x="45" y="192"/>
                      <a:pt x="45" y="192"/>
                      <a:pt x="45" y="192"/>
                    </a:cubicBezTo>
                    <a:cubicBezTo>
                      <a:pt x="44" y="203"/>
                      <a:pt x="44" y="203"/>
                      <a:pt x="44" y="203"/>
                    </a:cubicBezTo>
                    <a:cubicBezTo>
                      <a:pt x="49" y="208"/>
                      <a:pt x="49" y="208"/>
                      <a:pt x="49" y="208"/>
                    </a:cubicBezTo>
                    <a:cubicBezTo>
                      <a:pt x="49" y="208"/>
                      <a:pt x="41" y="228"/>
                      <a:pt x="46" y="239"/>
                    </a:cubicBezTo>
                    <a:close/>
                    <a:moveTo>
                      <a:pt x="56" y="105"/>
                    </a:moveTo>
                    <a:cubicBezTo>
                      <a:pt x="66" y="97"/>
                      <a:pt x="52" y="86"/>
                      <a:pt x="47" y="87"/>
                    </a:cubicBezTo>
                    <a:cubicBezTo>
                      <a:pt x="33" y="90"/>
                      <a:pt x="46" y="114"/>
                      <a:pt x="56" y="105"/>
                    </a:cubicBezTo>
                    <a:close/>
                    <a:moveTo>
                      <a:pt x="18" y="104"/>
                    </a:moveTo>
                    <a:cubicBezTo>
                      <a:pt x="17" y="120"/>
                      <a:pt x="26" y="118"/>
                      <a:pt x="31" y="117"/>
                    </a:cubicBezTo>
                    <a:cubicBezTo>
                      <a:pt x="35" y="116"/>
                      <a:pt x="39" y="104"/>
                      <a:pt x="39" y="104"/>
                    </a:cubicBezTo>
                    <a:cubicBezTo>
                      <a:pt x="39" y="104"/>
                      <a:pt x="36" y="101"/>
                      <a:pt x="32" y="91"/>
                    </a:cubicBezTo>
                    <a:cubicBezTo>
                      <a:pt x="27" y="82"/>
                      <a:pt x="22" y="65"/>
                      <a:pt x="22" y="65"/>
                    </a:cubicBezTo>
                    <a:cubicBezTo>
                      <a:pt x="12" y="65"/>
                      <a:pt x="18" y="89"/>
                      <a:pt x="18" y="104"/>
                    </a:cubicBezTo>
                    <a:close/>
                    <a:moveTo>
                      <a:pt x="24" y="129"/>
                    </a:moveTo>
                    <a:cubicBezTo>
                      <a:pt x="29" y="129"/>
                      <a:pt x="28" y="122"/>
                      <a:pt x="24" y="122"/>
                    </a:cubicBezTo>
                    <a:cubicBezTo>
                      <a:pt x="17" y="122"/>
                      <a:pt x="19" y="129"/>
                      <a:pt x="24" y="129"/>
                    </a:cubicBezTo>
                    <a:close/>
                    <a:moveTo>
                      <a:pt x="49" y="122"/>
                    </a:moveTo>
                    <a:cubicBezTo>
                      <a:pt x="52" y="120"/>
                      <a:pt x="49" y="115"/>
                      <a:pt x="46" y="118"/>
                    </a:cubicBezTo>
                    <a:cubicBezTo>
                      <a:pt x="42" y="120"/>
                      <a:pt x="46" y="124"/>
                      <a:pt x="49" y="122"/>
                    </a:cubicBezTo>
                    <a:close/>
                    <a:moveTo>
                      <a:pt x="5" y="52"/>
                    </a:moveTo>
                    <a:cubicBezTo>
                      <a:pt x="9" y="56"/>
                      <a:pt x="16" y="39"/>
                      <a:pt x="12" y="38"/>
                    </a:cubicBezTo>
                    <a:cubicBezTo>
                      <a:pt x="6" y="37"/>
                      <a:pt x="0" y="49"/>
                      <a:pt x="5" y="52"/>
                    </a:cubicBezTo>
                    <a:close/>
                    <a:moveTo>
                      <a:pt x="16" y="19"/>
                    </a:moveTo>
                    <a:cubicBezTo>
                      <a:pt x="19" y="26"/>
                      <a:pt x="17" y="37"/>
                      <a:pt x="16" y="42"/>
                    </a:cubicBezTo>
                    <a:cubicBezTo>
                      <a:pt x="16" y="47"/>
                      <a:pt x="22" y="51"/>
                      <a:pt x="25" y="57"/>
                    </a:cubicBezTo>
                    <a:cubicBezTo>
                      <a:pt x="28" y="62"/>
                      <a:pt x="29" y="71"/>
                      <a:pt x="32" y="73"/>
                    </a:cubicBezTo>
                    <a:cubicBezTo>
                      <a:pt x="35" y="75"/>
                      <a:pt x="34" y="71"/>
                      <a:pt x="34" y="71"/>
                    </a:cubicBezTo>
                    <a:cubicBezTo>
                      <a:pt x="33" y="63"/>
                      <a:pt x="40" y="64"/>
                      <a:pt x="41" y="56"/>
                    </a:cubicBezTo>
                    <a:cubicBezTo>
                      <a:pt x="42" y="49"/>
                      <a:pt x="34" y="45"/>
                      <a:pt x="27" y="41"/>
                    </a:cubicBezTo>
                    <a:cubicBezTo>
                      <a:pt x="21" y="37"/>
                      <a:pt x="28" y="32"/>
                      <a:pt x="34" y="21"/>
                    </a:cubicBezTo>
                    <a:cubicBezTo>
                      <a:pt x="40" y="9"/>
                      <a:pt x="34" y="10"/>
                      <a:pt x="28" y="11"/>
                    </a:cubicBezTo>
                    <a:cubicBezTo>
                      <a:pt x="23" y="12"/>
                      <a:pt x="21" y="0"/>
                      <a:pt x="13" y="3"/>
                    </a:cubicBezTo>
                    <a:cubicBezTo>
                      <a:pt x="9" y="5"/>
                      <a:pt x="14" y="11"/>
                      <a:pt x="16" y="19"/>
                    </a:cubicBezTo>
                    <a:close/>
                    <a:moveTo>
                      <a:pt x="38" y="81"/>
                    </a:moveTo>
                    <a:cubicBezTo>
                      <a:pt x="36" y="84"/>
                      <a:pt x="49" y="76"/>
                      <a:pt x="49" y="72"/>
                    </a:cubicBezTo>
                    <a:cubicBezTo>
                      <a:pt x="49" y="67"/>
                      <a:pt x="44" y="60"/>
                      <a:pt x="41" y="65"/>
                    </a:cubicBezTo>
                    <a:cubicBezTo>
                      <a:pt x="39" y="69"/>
                      <a:pt x="41" y="76"/>
                      <a:pt x="38" y="81"/>
                    </a:cubicBezTo>
                    <a:close/>
                  </a:path>
                </a:pathLst>
              </a:custGeom>
              <a:grpFill/>
              <a:ln w="3175" cap="flat" cmpd="sng">
                <a:solidFill>
                  <a:schemeClr val="bg1"/>
                </a:solidFill>
                <a:prstDash val="solid"/>
                <a:miter lim="800000"/>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Arial"/>
                  <a:ea typeface="+mn-ea"/>
                  <a:cs typeface="+mn-cs"/>
                </a:endParaRPr>
              </a:p>
            </p:txBody>
          </p:sp>
          <p:sp>
            <p:nvSpPr>
              <p:cNvPr id="110" name="Freeform 69" descr="© INSCALE GmbH, 15.06.2010">
                <a:hlinkClick r:id="" action="ppaction://noaction"/>
                <a:extLst>
                  <a:ext uri="{FF2B5EF4-FFF2-40B4-BE49-F238E27FC236}">
                    <a16:creationId xmlns:a16="http://schemas.microsoft.com/office/drawing/2014/main" id="{0C978589-89D7-4593-8BA1-91E340030EF1}"/>
                  </a:ext>
                </a:extLst>
              </p:cNvPr>
              <p:cNvSpPr>
                <a:spLocks/>
              </p:cNvSpPr>
              <p:nvPr/>
            </p:nvSpPr>
            <p:spPr bwMode="auto">
              <a:xfrm>
                <a:off x="12605841" y="4151877"/>
                <a:ext cx="28574" cy="14287"/>
              </a:xfrm>
              <a:custGeom>
                <a:avLst/>
                <a:gdLst/>
                <a:ahLst/>
                <a:cxnLst>
                  <a:cxn ang="0">
                    <a:pos x="18" y="0"/>
                  </a:cxn>
                  <a:cxn ang="0">
                    <a:pos x="10" y="9"/>
                  </a:cxn>
                  <a:cxn ang="0">
                    <a:pos x="18" y="0"/>
                  </a:cxn>
                </a:cxnLst>
                <a:rect l="0" t="0" r="r" b="b"/>
                <a:pathLst>
                  <a:path w="18" h="9">
                    <a:moveTo>
                      <a:pt x="18" y="0"/>
                    </a:moveTo>
                    <a:cubicBezTo>
                      <a:pt x="10" y="1"/>
                      <a:pt x="0" y="2"/>
                      <a:pt x="10" y="9"/>
                    </a:cubicBezTo>
                    <a:cubicBezTo>
                      <a:pt x="15" y="7"/>
                      <a:pt x="18" y="6"/>
                      <a:pt x="18" y="0"/>
                    </a:cubicBez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Arial"/>
                  <a:ea typeface="+mn-ea"/>
                  <a:cs typeface="+mn-cs"/>
                </a:endParaRPr>
              </a:p>
            </p:txBody>
          </p:sp>
          <p:sp>
            <p:nvSpPr>
              <p:cNvPr id="111" name="Freeform 43">
                <a:hlinkClick r:id="" action="ppaction://noaction"/>
                <a:extLst>
                  <a:ext uri="{FF2B5EF4-FFF2-40B4-BE49-F238E27FC236}">
                    <a16:creationId xmlns:a16="http://schemas.microsoft.com/office/drawing/2014/main" id="{F304DEA0-D075-46F9-9BD0-23681902D90B}"/>
                  </a:ext>
                </a:extLst>
              </p:cNvPr>
              <p:cNvSpPr>
                <a:spLocks/>
              </p:cNvSpPr>
              <p:nvPr/>
            </p:nvSpPr>
            <p:spPr bwMode="auto">
              <a:xfrm>
                <a:off x="13060054" y="3960103"/>
                <a:ext cx="52690" cy="77837"/>
              </a:xfrm>
              <a:custGeom>
                <a:avLst/>
                <a:gdLst/>
                <a:ahLst/>
                <a:cxnLst>
                  <a:cxn ang="0">
                    <a:pos x="25" y="89"/>
                  </a:cxn>
                  <a:cxn ang="0">
                    <a:pos x="36" y="81"/>
                  </a:cxn>
                  <a:cxn ang="0">
                    <a:pos x="36" y="49"/>
                  </a:cxn>
                  <a:cxn ang="0">
                    <a:pos x="49" y="69"/>
                  </a:cxn>
                  <a:cxn ang="0">
                    <a:pos x="60" y="75"/>
                  </a:cxn>
                  <a:cxn ang="0">
                    <a:pos x="30" y="0"/>
                  </a:cxn>
                  <a:cxn ang="0">
                    <a:pos x="21" y="34"/>
                  </a:cxn>
                  <a:cxn ang="0">
                    <a:pos x="0" y="58"/>
                  </a:cxn>
                  <a:cxn ang="0">
                    <a:pos x="8" y="64"/>
                  </a:cxn>
                  <a:cxn ang="0">
                    <a:pos x="25" y="89"/>
                  </a:cxn>
                </a:cxnLst>
                <a:rect l="0" t="0" r="r" b="b"/>
                <a:pathLst>
                  <a:path w="60" h="89">
                    <a:moveTo>
                      <a:pt x="25" y="89"/>
                    </a:moveTo>
                    <a:cubicBezTo>
                      <a:pt x="25" y="89"/>
                      <a:pt x="35" y="88"/>
                      <a:pt x="36" y="81"/>
                    </a:cubicBezTo>
                    <a:cubicBezTo>
                      <a:pt x="37" y="73"/>
                      <a:pt x="36" y="49"/>
                      <a:pt x="36" y="49"/>
                    </a:cubicBezTo>
                    <a:cubicBezTo>
                      <a:pt x="49" y="69"/>
                      <a:pt x="49" y="69"/>
                      <a:pt x="49" y="69"/>
                    </a:cubicBezTo>
                    <a:cubicBezTo>
                      <a:pt x="60" y="75"/>
                      <a:pt x="60" y="75"/>
                      <a:pt x="60" y="75"/>
                    </a:cubicBezTo>
                    <a:cubicBezTo>
                      <a:pt x="60" y="75"/>
                      <a:pt x="53" y="18"/>
                      <a:pt x="30" y="0"/>
                    </a:cubicBezTo>
                    <a:cubicBezTo>
                      <a:pt x="22" y="8"/>
                      <a:pt x="21" y="34"/>
                      <a:pt x="21" y="34"/>
                    </a:cubicBezTo>
                    <a:cubicBezTo>
                      <a:pt x="0" y="58"/>
                      <a:pt x="0" y="58"/>
                      <a:pt x="0" y="58"/>
                    </a:cubicBezTo>
                    <a:cubicBezTo>
                      <a:pt x="8" y="64"/>
                      <a:pt x="8" y="64"/>
                      <a:pt x="8" y="64"/>
                    </a:cubicBezTo>
                    <a:lnTo>
                      <a:pt x="25" y="89"/>
                    </a:lnTo>
                    <a:close/>
                  </a:path>
                </a:pathLst>
              </a:custGeom>
              <a:grpFill/>
              <a:ln w="3175" algn="ctr">
                <a:solidFill>
                  <a:schemeClr val="bg1"/>
                </a:solidFill>
                <a:round/>
                <a:headEnd/>
                <a:tailEnd/>
              </a:ln>
              <a:effectLst>
                <a:outerShdw blurRad="127000" dist="50800" dir="2700000" algn="tl" rotWithShape="0">
                  <a:prstClr val="black">
                    <a:alpha val="40000"/>
                  </a:prstClr>
                </a:outerShdw>
              </a:effectLst>
            </p:spPr>
            <p:txBody>
              <a:bodyPr/>
              <a:lstStyle/>
              <a:p>
                <a:pPr marL="0" marR="0" lvl="0" indent="0" algn="l" defTabSz="108850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itchFamily="34" charset="0"/>
                  <a:ea typeface="+mn-ea"/>
                  <a:cs typeface="Calibri" pitchFamily="34" charset="0"/>
                </a:endParaRPr>
              </a:p>
            </p:txBody>
          </p:sp>
        </p:grpSp>
        <p:grpSp>
          <p:nvGrpSpPr>
            <p:cNvPr id="36" name="Gruppieren 274">
              <a:extLst>
                <a:ext uri="{FF2B5EF4-FFF2-40B4-BE49-F238E27FC236}">
                  <a16:creationId xmlns:a16="http://schemas.microsoft.com/office/drawing/2014/main" id="{97E73A51-E243-47F2-83B5-2154A0F4EA61}"/>
                </a:ext>
              </a:extLst>
            </p:cNvPr>
            <p:cNvGrpSpPr/>
            <p:nvPr/>
          </p:nvGrpSpPr>
          <p:grpSpPr>
            <a:xfrm>
              <a:off x="7380480" y="4286315"/>
              <a:ext cx="1639695" cy="1423269"/>
              <a:chOff x="7380480" y="4286315"/>
              <a:chExt cx="1639695" cy="1423269"/>
            </a:xfrm>
            <a:grpFill/>
          </p:grpSpPr>
          <p:sp>
            <p:nvSpPr>
              <p:cNvPr id="37" name="Papua New Guinea">
                <a:extLst>
                  <a:ext uri="{FF2B5EF4-FFF2-40B4-BE49-F238E27FC236}">
                    <a16:creationId xmlns:a16="http://schemas.microsoft.com/office/drawing/2014/main" id="{7A55DB25-8D53-4F55-9333-64B31699EAA4}"/>
                  </a:ext>
                </a:extLst>
              </p:cNvPr>
              <p:cNvSpPr>
                <a:spLocks noEditPoints="1"/>
              </p:cNvSpPr>
              <p:nvPr/>
            </p:nvSpPr>
            <p:spPr bwMode="auto">
              <a:xfrm>
                <a:off x="8269937" y="4286315"/>
                <a:ext cx="430033" cy="287748"/>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3175" cap="flat">
                <a:solidFill>
                  <a:schemeClr val="bg1"/>
                </a:solidFill>
                <a:prstDash val="solid"/>
                <a:miter lim="800000"/>
                <a:headEnd/>
                <a:tailEnd/>
              </a:ln>
            </p:spPr>
            <p:txBody>
              <a:bodyPr vert="horz" wrap="square" lIns="91461" tIns="45731" rIns="91461" bIns="45731" numCol="1" anchor="t" anchorCtr="0" compatLnSpc="1">
                <a:prstTxWarp prst="textNoShape">
                  <a:avLst/>
                </a:prstTxWarp>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1">
                  <a:ln>
                    <a:noFill/>
                  </a:ln>
                  <a:solidFill>
                    <a:prstClr val="black"/>
                  </a:solidFill>
                  <a:effectLst/>
                  <a:uLnTx/>
                  <a:uFillTx/>
                  <a:latin typeface="Arial"/>
                  <a:ea typeface="+mn-ea"/>
                  <a:cs typeface="+mn-cs"/>
                </a:endParaRPr>
              </a:p>
            </p:txBody>
          </p:sp>
          <p:sp>
            <p:nvSpPr>
              <p:cNvPr id="38" name="Solomon Islands">
                <a:extLst>
                  <a:ext uri="{FF2B5EF4-FFF2-40B4-BE49-F238E27FC236}">
                    <a16:creationId xmlns:a16="http://schemas.microsoft.com/office/drawing/2014/main" id="{22A56FBC-8D57-402E-94C2-422F3736A5BA}"/>
                  </a:ext>
                </a:extLst>
              </p:cNvPr>
              <p:cNvSpPr>
                <a:spLocks noEditPoints="1"/>
              </p:cNvSpPr>
              <p:nvPr/>
            </p:nvSpPr>
            <p:spPr bwMode="auto">
              <a:xfrm>
                <a:off x="8718533" y="4441018"/>
                <a:ext cx="146954" cy="137686"/>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3175" cap="flat">
                <a:solidFill>
                  <a:schemeClr val="bg1"/>
                </a:solidFill>
                <a:prstDash val="solid"/>
                <a:miter lim="800000"/>
                <a:headEnd/>
                <a:tailEnd/>
              </a:ln>
            </p:spPr>
            <p:txBody>
              <a:bodyPr vert="horz" wrap="square" lIns="91461" tIns="45731" rIns="91461" bIns="45731" numCol="1" anchor="t" anchorCtr="0" compatLnSpc="1">
                <a:prstTxWarp prst="textNoShape">
                  <a:avLst/>
                </a:prstTxWarp>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1">
                  <a:ln>
                    <a:noFill/>
                  </a:ln>
                  <a:solidFill>
                    <a:prstClr val="black"/>
                  </a:solidFill>
                  <a:effectLst/>
                  <a:uLnTx/>
                  <a:uFillTx/>
                  <a:latin typeface="Arial"/>
                  <a:ea typeface="+mn-ea"/>
                  <a:cs typeface="+mn-cs"/>
                </a:endParaRPr>
              </a:p>
            </p:txBody>
          </p:sp>
          <p:sp>
            <p:nvSpPr>
              <p:cNvPr id="39" name="New Zealand">
                <a:extLst>
                  <a:ext uri="{FF2B5EF4-FFF2-40B4-BE49-F238E27FC236}">
                    <a16:creationId xmlns:a16="http://schemas.microsoft.com/office/drawing/2014/main" id="{0ADFCB88-7B4F-445B-B504-7286D70C8F53}"/>
                  </a:ext>
                </a:extLst>
              </p:cNvPr>
              <p:cNvSpPr>
                <a:spLocks noEditPoints="1"/>
              </p:cNvSpPr>
              <p:nvPr/>
            </p:nvSpPr>
            <p:spPr bwMode="auto">
              <a:xfrm>
                <a:off x="8517438" y="5321279"/>
                <a:ext cx="502737" cy="388305"/>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grpFill/>
              <a:ln w="3175" cap="flat">
                <a:solidFill>
                  <a:schemeClr val="bg1"/>
                </a:solidFill>
                <a:prstDash val="solid"/>
                <a:miter lim="800000"/>
                <a:headEnd/>
                <a:tailEnd/>
              </a:ln>
            </p:spPr>
            <p:txBody>
              <a:bodyPr vert="horz" wrap="square" lIns="91461" tIns="45731" rIns="91461" bIns="45731" numCol="1" anchor="t" anchorCtr="0" compatLnSpc="1">
                <a:prstTxWarp prst="textNoShape">
                  <a:avLst/>
                </a:prstTxWarp>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1">
                  <a:ln>
                    <a:noFill/>
                  </a:ln>
                  <a:solidFill>
                    <a:prstClr val="black"/>
                  </a:solidFill>
                  <a:effectLst/>
                  <a:uLnTx/>
                  <a:uFillTx/>
                  <a:latin typeface="Arial"/>
                  <a:ea typeface="+mn-ea"/>
                  <a:cs typeface="+mn-cs"/>
                </a:endParaRPr>
              </a:p>
            </p:txBody>
          </p:sp>
          <p:sp>
            <p:nvSpPr>
              <p:cNvPr id="40" name="Australia">
                <a:extLst>
                  <a:ext uri="{FF2B5EF4-FFF2-40B4-BE49-F238E27FC236}">
                    <a16:creationId xmlns:a16="http://schemas.microsoft.com/office/drawing/2014/main" id="{425072D7-97C1-4F0B-839E-589E73796028}"/>
                  </a:ext>
                </a:extLst>
              </p:cNvPr>
              <p:cNvSpPr>
                <a:spLocks noEditPoints="1"/>
              </p:cNvSpPr>
              <p:nvPr/>
            </p:nvSpPr>
            <p:spPr bwMode="auto">
              <a:xfrm>
                <a:off x="7380480" y="4566328"/>
                <a:ext cx="1123036" cy="1053529"/>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grpFill/>
              <a:ln w="3175" cap="flat">
                <a:solidFill>
                  <a:schemeClr val="bg1"/>
                </a:solidFill>
                <a:prstDash val="solid"/>
                <a:miter lim="800000"/>
                <a:headEnd/>
                <a:tailEnd/>
              </a:ln>
            </p:spPr>
            <p:txBody>
              <a:bodyPr vert="horz" wrap="square" lIns="91461" tIns="45731" rIns="91461" bIns="45731" numCol="1" anchor="t" anchorCtr="0" compatLnSpc="1">
                <a:prstTxWarp prst="textNoShape">
                  <a:avLst/>
                </a:prstTxWarp>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1">
                  <a:ln>
                    <a:noFill/>
                  </a:ln>
                  <a:solidFill>
                    <a:prstClr val="black"/>
                  </a:solidFill>
                  <a:effectLst/>
                  <a:uLnTx/>
                  <a:uFillTx/>
                  <a:latin typeface="Arial"/>
                  <a:ea typeface="+mn-ea"/>
                  <a:cs typeface="+mn-cs"/>
                </a:endParaRPr>
              </a:p>
            </p:txBody>
          </p:sp>
        </p:grpSp>
      </p:grpSp>
    </p:spTree>
    <p:extLst>
      <p:ext uri="{BB962C8B-B14F-4D97-AF65-F5344CB8AC3E}">
        <p14:creationId xmlns:p14="http://schemas.microsoft.com/office/powerpoint/2010/main" val="1325495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tertitel 5"/>
          <p:cNvSpPr>
            <a:spLocks noGrp="1"/>
          </p:cNvSpPr>
          <p:nvPr>
            <p:ph type="subTitle" idx="1"/>
          </p:nvPr>
        </p:nvSpPr>
        <p:spPr/>
        <p:txBody>
          <a:bodyPr/>
          <a:lstStyle/>
          <a:p>
            <a:r>
              <a:rPr lang="en-US"/>
              <a:t>Leading the way &amp; setting the pace in retail</a:t>
            </a:r>
          </a:p>
        </p:txBody>
      </p:sp>
      <p:sp>
        <p:nvSpPr>
          <p:cNvPr id="2" name="Titel 1"/>
          <p:cNvSpPr>
            <a:spLocks noGrp="1"/>
          </p:cNvSpPr>
          <p:nvPr>
            <p:ph type="title"/>
          </p:nvPr>
        </p:nvSpPr>
        <p:spPr/>
        <p:txBody>
          <a:bodyPr/>
          <a:lstStyle/>
          <a:p>
            <a:r>
              <a:rPr lang="en-US"/>
              <a:t>Schwarz Group</a:t>
            </a:r>
          </a:p>
        </p:txBody>
      </p:sp>
      <p:sp>
        <p:nvSpPr>
          <p:cNvPr id="58" name="Textfeld 57">
            <a:extLst>
              <a:ext uri="{FF2B5EF4-FFF2-40B4-BE49-F238E27FC236}">
                <a16:creationId xmlns:a16="http://schemas.microsoft.com/office/drawing/2014/main" id="{A6A18030-DC0D-42F1-A8BB-985972504BCC}"/>
              </a:ext>
            </a:extLst>
          </p:cNvPr>
          <p:cNvSpPr txBox="1"/>
          <p:nvPr/>
        </p:nvSpPr>
        <p:spPr bwMode="gray">
          <a:xfrm>
            <a:off x="14402834" y="4133993"/>
            <a:ext cx="2041742" cy="844074"/>
          </a:xfrm>
          <a:prstGeom prst="rect">
            <a:avLst/>
          </a:prstGeom>
          <a:noFill/>
        </p:spPr>
        <p:txBody>
          <a:bodyPr wrap="square" lIns="0" tIns="0" rIns="0" bIns="0" rtlCol="0">
            <a:noAutofit/>
          </a:bodyP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en-US" sz="5500" b="0" i="0" u="none" strike="noStrike" kern="1200" cap="none" spc="0" normalizeH="0" baseline="0" noProof="0">
              <a:ln>
                <a:noFill/>
              </a:ln>
              <a:solidFill>
                <a:srgbClr val="791F82"/>
              </a:solidFill>
              <a:effectLst/>
              <a:uLnTx/>
              <a:uFillTx/>
              <a:latin typeface="Arial"/>
              <a:ea typeface="+mn-ea"/>
              <a:cs typeface="+mn-cs"/>
            </a:endParaRPr>
          </a:p>
        </p:txBody>
      </p:sp>
      <p:grpSp>
        <p:nvGrpSpPr>
          <p:cNvPr id="67" name="Gruppieren 66">
            <a:extLst>
              <a:ext uri="{FF2B5EF4-FFF2-40B4-BE49-F238E27FC236}">
                <a16:creationId xmlns:a16="http://schemas.microsoft.com/office/drawing/2014/main" id="{EC44D393-5933-4C95-97C9-9A5DAEE7356B}"/>
              </a:ext>
            </a:extLst>
          </p:cNvPr>
          <p:cNvGrpSpPr/>
          <p:nvPr/>
        </p:nvGrpSpPr>
        <p:grpSpPr>
          <a:xfrm>
            <a:off x="4763165" y="3128963"/>
            <a:ext cx="2522571" cy="1178038"/>
            <a:chOff x="546821" y="1274092"/>
            <a:chExt cx="2522571" cy="1178038"/>
          </a:xfrm>
        </p:grpSpPr>
        <p:sp>
          <p:nvSpPr>
            <p:cNvPr id="49" name="Textfeld 48">
              <a:extLst>
                <a:ext uri="{FF2B5EF4-FFF2-40B4-BE49-F238E27FC236}">
                  <a16:creationId xmlns:a16="http://schemas.microsoft.com/office/drawing/2014/main" id="{8B3FEC4E-4DAE-43D8-9A00-A79B4600D3B7}"/>
                </a:ext>
              </a:extLst>
            </p:cNvPr>
            <p:cNvSpPr txBox="1"/>
            <p:nvPr/>
          </p:nvSpPr>
          <p:spPr bwMode="gray">
            <a:xfrm>
              <a:off x="1191411" y="1344134"/>
              <a:ext cx="1254481" cy="1107996"/>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00000"/>
                </a:lnSpc>
                <a:spcBef>
                  <a:spcPts val="0"/>
                </a:spcBef>
                <a:spcAft>
                  <a:spcPts val="0"/>
                </a:spcAft>
                <a:buClrTx/>
                <a:buSzTx/>
                <a:buFontTx/>
                <a:buNone/>
                <a:tabLst/>
                <a:defRPr/>
              </a:pPr>
              <a:r>
                <a:rPr kumimoji="0" lang="en-US" sz="7200" b="1" i="0" u="none" strike="noStrike" cap="none" normalizeH="0" baseline="0" noProof="0">
                  <a:ln>
                    <a:noFill/>
                  </a:ln>
                  <a:solidFill>
                    <a:srgbClr val="791F82"/>
                  </a:solidFill>
                  <a:uLnTx/>
                  <a:uFillTx/>
                  <a:latin typeface="Arial"/>
                  <a:ea typeface="+mn-ea"/>
                  <a:cs typeface="+mn-cs"/>
                </a:rPr>
                <a:t>33</a:t>
              </a:r>
            </a:p>
          </p:txBody>
        </p:sp>
        <p:pic>
          <p:nvPicPr>
            <p:cNvPr id="28" name="Grafik 27" descr="Welt">
              <a:extLst>
                <a:ext uri="{FF2B5EF4-FFF2-40B4-BE49-F238E27FC236}">
                  <a16:creationId xmlns:a16="http://schemas.microsoft.com/office/drawing/2014/main" id="{4DD4E7CF-A1FC-4221-AE93-902E68AF86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98876" y="1274092"/>
              <a:ext cx="665565" cy="665565"/>
            </a:xfrm>
            <a:prstGeom prst="rect">
              <a:avLst/>
            </a:prstGeom>
          </p:spPr>
        </p:pic>
        <p:sp>
          <p:nvSpPr>
            <p:cNvPr id="65" name="Textfeld 64">
              <a:extLst>
                <a:ext uri="{FF2B5EF4-FFF2-40B4-BE49-F238E27FC236}">
                  <a16:creationId xmlns:a16="http://schemas.microsoft.com/office/drawing/2014/main" id="{F14DBC20-7AB2-4AE0-983D-2EEC3A381A45}"/>
                </a:ext>
              </a:extLst>
            </p:cNvPr>
            <p:cNvSpPr txBox="1"/>
            <p:nvPr/>
          </p:nvSpPr>
          <p:spPr bwMode="gray">
            <a:xfrm>
              <a:off x="546821" y="1825139"/>
              <a:ext cx="599006" cy="184666"/>
            </a:xfrm>
            <a:prstGeom prst="rect">
              <a:avLst/>
            </a:prstGeom>
            <a:noFill/>
          </p:spPr>
          <p:txBody>
            <a:bodyPr wrap="square" lIns="0" tIns="0" rIns="0" bIns="0" rtlCol="0" anchor="b" anchorCtr="0">
              <a:spAutoFit/>
            </a:bodyPr>
            <a:lstStyle/>
            <a:p>
              <a:pPr marL="0" marR="0" lvl="0" indent="0" algn="r" defTabSz="1088502" rtl="0" eaLnBrk="1" fontAlgn="auto" latinLnBrk="0" hangingPunct="1">
                <a:lnSpc>
                  <a:spcPct val="100000"/>
                </a:lnSpc>
                <a:spcBef>
                  <a:spcPts val="0"/>
                </a:spcBef>
                <a:spcAft>
                  <a:spcPts val="0"/>
                </a:spcAft>
                <a:buClrTx/>
                <a:buSzTx/>
                <a:buFontTx/>
                <a:buNone/>
                <a:tabLst/>
                <a:defRPr/>
              </a:pPr>
              <a:r>
                <a:rPr lang="en-US" sz="1200">
                  <a:solidFill>
                    <a:srgbClr val="791F82"/>
                  </a:solidFill>
                  <a:latin typeface="Arial"/>
                  <a:ea typeface="+mn-ea"/>
                  <a:cs typeface="+mn-cs"/>
                </a:rPr>
                <a:t>active </a:t>
              </a:r>
              <a:r>
                <a:rPr lang="en-US" sz="1200" err="1">
                  <a:solidFill>
                    <a:srgbClr val="791F82"/>
                  </a:solidFill>
                  <a:latin typeface="Arial"/>
                  <a:ea typeface="+mn-ea"/>
                  <a:cs typeface="+mn-cs"/>
                </a:rPr>
                <a:t>i</a:t>
              </a:r>
              <a:r>
                <a:rPr kumimoji="0" lang="en-US" sz="1200" b="0" i="0" u="none" strike="noStrike" cap="none" normalizeH="0" baseline="0" noProof="0">
                  <a:ln>
                    <a:noFill/>
                  </a:ln>
                  <a:solidFill>
                    <a:srgbClr val="791F82"/>
                  </a:solidFill>
                  <a:uLnTx/>
                  <a:uFillTx/>
                  <a:latin typeface="Arial"/>
                  <a:ea typeface="+mn-ea"/>
                  <a:cs typeface="+mn-cs"/>
                </a:rPr>
                <a:t>n </a:t>
              </a:r>
            </a:p>
          </p:txBody>
        </p:sp>
        <p:sp>
          <p:nvSpPr>
            <p:cNvPr id="66" name="Textfeld 65">
              <a:extLst>
                <a:ext uri="{FF2B5EF4-FFF2-40B4-BE49-F238E27FC236}">
                  <a16:creationId xmlns:a16="http://schemas.microsoft.com/office/drawing/2014/main" id="{DBB5D9B5-4DD4-41A1-96CF-BA587B762BA3}"/>
                </a:ext>
              </a:extLst>
            </p:cNvPr>
            <p:cNvSpPr txBox="1"/>
            <p:nvPr/>
          </p:nvSpPr>
          <p:spPr bwMode="gray">
            <a:xfrm>
              <a:off x="2258832" y="1926618"/>
              <a:ext cx="810560" cy="369332"/>
            </a:xfrm>
            <a:prstGeom prst="rect">
              <a:avLst/>
            </a:prstGeom>
            <a:noFill/>
          </p:spPr>
          <p:txBody>
            <a:bodyPr wrap="square" lIns="0" tIns="0" rIns="0" bIns="0" rtlCol="0" anchor="b" anchorCtr="0">
              <a:spAutoFit/>
            </a:bodyPr>
            <a:lstStyle/>
            <a:p>
              <a:pPr marL="0" marR="0" lvl="0" indent="0" defTabSz="1088502" rtl="0" eaLnBrk="1" fontAlgn="auto" latinLnBrk="0" hangingPunct="1">
                <a:lnSpc>
                  <a:spcPct val="100000"/>
                </a:lnSpc>
                <a:spcBef>
                  <a:spcPts val="0"/>
                </a:spcBef>
                <a:spcAft>
                  <a:spcPts val="0"/>
                </a:spcAft>
                <a:buClrTx/>
                <a:buSzTx/>
                <a:buFontTx/>
                <a:buNone/>
                <a:tabLst/>
                <a:defRPr/>
              </a:pPr>
              <a:r>
                <a:rPr lang="en-US" sz="1200">
                  <a:solidFill>
                    <a:srgbClr val="791F82"/>
                  </a:solidFill>
                  <a:latin typeface="Arial"/>
                </a:rPr>
                <a:t>countries</a:t>
              </a:r>
            </a:p>
          </p:txBody>
        </p:sp>
      </p:grpSp>
      <p:grpSp>
        <p:nvGrpSpPr>
          <p:cNvPr id="73" name="Gruppieren 72">
            <a:extLst>
              <a:ext uri="{FF2B5EF4-FFF2-40B4-BE49-F238E27FC236}">
                <a16:creationId xmlns:a16="http://schemas.microsoft.com/office/drawing/2014/main" id="{2C0F9140-563A-4338-ABBA-74E3EDDDA311}"/>
              </a:ext>
            </a:extLst>
          </p:cNvPr>
          <p:cNvGrpSpPr/>
          <p:nvPr/>
        </p:nvGrpSpPr>
        <p:grpSpPr>
          <a:xfrm>
            <a:off x="6236366" y="1345771"/>
            <a:ext cx="3745774" cy="1210786"/>
            <a:chOff x="1619003" y="986564"/>
            <a:chExt cx="3362190" cy="1210786"/>
          </a:xfrm>
        </p:grpSpPr>
        <p:pic>
          <p:nvPicPr>
            <p:cNvPr id="40" name="Grafik 39" descr="Warenkorb">
              <a:extLst>
                <a:ext uri="{FF2B5EF4-FFF2-40B4-BE49-F238E27FC236}">
                  <a16:creationId xmlns:a16="http://schemas.microsoft.com/office/drawing/2014/main" id="{9A05726C-2E45-4010-A9F9-0A7F4686F14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30201" y="1275112"/>
              <a:ext cx="575990" cy="575990"/>
            </a:xfrm>
            <a:prstGeom prst="rect">
              <a:avLst/>
            </a:prstGeom>
          </p:spPr>
        </p:pic>
        <p:sp>
          <p:nvSpPr>
            <p:cNvPr id="69" name="Textfeld 68">
              <a:extLst>
                <a:ext uri="{FF2B5EF4-FFF2-40B4-BE49-F238E27FC236}">
                  <a16:creationId xmlns:a16="http://schemas.microsoft.com/office/drawing/2014/main" id="{EA2C6480-C83E-4C86-BF11-C9F827374BF2}"/>
                </a:ext>
              </a:extLst>
            </p:cNvPr>
            <p:cNvSpPr txBox="1"/>
            <p:nvPr/>
          </p:nvSpPr>
          <p:spPr bwMode="gray">
            <a:xfrm>
              <a:off x="1619003" y="986564"/>
              <a:ext cx="3362190" cy="1077218"/>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00000"/>
                </a:lnSpc>
                <a:spcBef>
                  <a:spcPts val="0"/>
                </a:spcBef>
                <a:spcAft>
                  <a:spcPts val="0"/>
                </a:spcAft>
                <a:buClrTx/>
                <a:buSzTx/>
                <a:buFontTx/>
                <a:buNone/>
                <a:tabLst/>
                <a:defRPr/>
              </a:pPr>
              <a:r>
                <a:rPr kumimoji="0" lang="en-US" sz="7000" b="1" i="0" u="none" strike="noStrike" cap="none" normalizeH="0" baseline="0" noProof="0">
                  <a:ln>
                    <a:noFill/>
                  </a:ln>
                  <a:solidFill>
                    <a:srgbClr val="791F82"/>
                  </a:solidFill>
                  <a:uLnTx/>
                  <a:uFillTx/>
                  <a:latin typeface="Arial"/>
                  <a:ea typeface="+mn-ea"/>
                  <a:cs typeface="+mn-cs"/>
                </a:rPr>
                <a:t>12,500</a:t>
              </a:r>
            </a:p>
          </p:txBody>
        </p:sp>
        <p:sp>
          <p:nvSpPr>
            <p:cNvPr id="72" name="Textfeld 71">
              <a:extLst>
                <a:ext uri="{FF2B5EF4-FFF2-40B4-BE49-F238E27FC236}">
                  <a16:creationId xmlns:a16="http://schemas.microsoft.com/office/drawing/2014/main" id="{363E69A1-9054-483F-87F1-37DA63AE6727}"/>
                </a:ext>
              </a:extLst>
            </p:cNvPr>
            <p:cNvSpPr txBox="1"/>
            <p:nvPr/>
          </p:nvSpPr>
          <p:spPr bwMode="gray">
            <a:xfrm>
              <a:off x="4129137" y="1828018"/>
              <a:ext cx="810560" cy="369332"/>
            </a:xfrm>
            <a:prstGeom prst="rect">
              <a:avLst/>
            </a:prstGeom>
            <a:noFill/>
          </p:spPr>
          <p:txBody>
            <a:bodyPr wrap="square" lIns="0" tIns="0" rIns="0" bIns="0" rtlCol="0" anchor="b" anchorCtr="0">
              <a:spAutoFit/>
            </a:bodyPr>
            <a:lstStyle/>
            <a:p>
              <a:pPr marL="0" marR="0" lvl="0" indent="0" defTabSz="1088502" rtl="0" eaLnBrk="1" fontAlgn="auto" latinLnBrk="0" hangingPunct="1">
                <a:lnSpc>
                  <a:spcPct val="100000"/>
                </a:lnSpc>
                <a:spcBef>
                  <a:spcPts val="0"/>
                </a:spcBef>
                <a:spcAft>
                  <a:spcPts val="0"/>
                </a:spcAft>
                <a:buClrTx/>
                <a:buSzTx/>
                <a:buFontTx/>
                <a:buNone/>
                <a:tabLst/>
                <a:defRPr/>
              </a:pPr>
              <a:r>
                <a:rPr lang="en-US" sz="1200">
                  <a:solidFill>
                    <a:srgbClr val="791F82"/>
                  </a:solidFill>
                  <a:latin typeface="Arial"/>
                </a:rPr>
                <a:t>Stores worldwide</a:t>
              </a:r>
            </a:p>
          </p:txBody>
        </p:sp>
      </p:grpSp>
      <p:grpSp>
        <p:nvGrpSpPr>
          <p:cNvPr id="95" name="Gruppieren 94">
            <a:extLst>
              <a:ext uri="{FF2B5EF4-FFF2-40B4-BE49-F238E27FC236}">
                <a16:creationId xmlns:a16="http://schemas.microsoft.com/office/drawing/2014/main" id="{ECEEF0EA-A82D-4009-A823-475E2A69E423}"/>
              </a:ext>
            </a:extLst>
          </p:cNvPr>
          <p:cNvGrpSpPr/>
          <p:nvPr/>
        </p:nvGrpSpPr>
        <p:grpSpPr>
          <a:xfrm>
            <a:off x="7962328" y="3472621"/>
            <a:ext cx="3952388" cy="1417159"/>
            <a:chOff x="5238402" y="3667422"/>
            <a:chExt cx="3952388" cy="1417159"/>
          </a:xfrm>
        </p:grpSpPr>
        <p:pic>
          <p:nvPicPr>
            <p:cNvPr id="44" name="Grafik 43" descr="Gruppe von Personen">
              <a:extLst>
                <a:ext uri="{FF2B5EF4-FFF2-40B4-BE49-F238E27FC236}">
                  <a16:creationId xmlns:a16="http://schemas.microsoft.com/office/drawing/2014/main" id="{AB9DA694-D3CB-4F5B-8340-5DC8DE7CD9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50547" y="3764561"/>
              <a:ext cx="988716" cy="988716"/>
            </a:xfrm>
            <a:prstGeom prst="rect">
              <a:avLst/>
            </a:prstGeom>
          </p:spPr>
        </p:pic>
        <p:grpSp>
          <p:nvGrpSpPr>
            <p:cNvPr id="91" name="Gruppieren 90">
              <a:extLst>
                <a:ext uri="{FF2B5EF4-FFF2-40B4-BE49-F238E27FC236}">
                  <a16:creationId xmlns:a16="http://schemas.microsoft.com/office/drawing/2014/main" id="{027BC512-6410-480B-817C-6BF01AED31A2}"/>
                </a:ext>
              </a:extLst>
            </p:cNvPr>
            <p:cNvGrpSpPr/>
            <p:nvPr/>
          </p:nvGrpSpPr>
          <p:grpSpPr>
            <a:xfrm>
              <a:off x="5238402" y="3667422"/>
              <a:ext cx="3952388" cy="1417159"/>
              <a:chOff x="1236704" y="1528800"/>
              <a:chExt cx="3952388" cy="1417159"/>
            </a:xfrm>
          </p:grpSpPr>
          <p:sp>
            <p:nvSpPr>
              <p:cNvPr id="93" name="Textfeld 92">
                <a:extLst>
                  <a:ext uri="{FF2B5EF4-FFF2-40B4-BE49-F238E27FC236}">
                    <a16:creationId xmlns:a16="http://schemas.microsoft.com/office/drawing/2014/main" id="{933E018D-0D78-40EA-84E9-BFFA2DE6D9A8}"/>
                  </a:ext>
                </a:extLst>
              </p:cNvPr>
              <p:cNvSpPr txBox="1"/>
              <p:nvPr/>
            </p:nvSpPr>
            <p:spPr bwMode="gray">
              <a:xfrm>
                <a:off x="1236704" y="1528800"/>
                <a:ext cx="3952388" cy="923330"/>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00000"/>
                  </a:lnSpc>
                  <a:spcBef>
                    <a:spcPts val="0"/>
                  </a:spcBef>
                  <a:spcAft>
                    <a:spcPts val="0"/>
                  </a:spcAft>
                  <a:buClrTx/>
                  <a:buSzTx/>
                  <a:buFontTx/>
                  <a:buNone/>
                  <a:tabLst/>
                  <a:defRPr/>
                </a:pPr>
                <a:r>
                  <a:rPr kumimoji="0" lang="en-US" sz="6000" b="1" i="0" u="none" strike="noStrike" cap="none" normalizeH="0" baseline="0" noProof="0">
                    <a:ln>
                      <a:noFill/>
                    </a:ln>
                    <a:solidFill>
                      <a:srgbClr val="791F82"/>
                    </a:solidFill>
                    <a:uLnTx/>
                    <a:uFillTx/>
                    <a:latin typeface="Arial"/>
                    <a:ea typeface="+mn-ea"/>
                    <a:cs typeface="+mn-cs"/>
                  </a:rPr>
                  <a:t>7.5</a:t>
                </a:r>
                <a:r>
                  <a:rPr kumimoji="0" lang="en-US" sz="2400" b="1" i="0" u="none" strike="noStrike" cap="none" normalizeH="0" baseline="0" noProof="0">
                    <a:ln>
                      <a:noFill/>
                    </a:ln>
                    <a:solidFill>
                      <a:srgbClr val="791F82"/>
                    </a:solidFill>
                    <a:uLnTx/>
                    <a:uFillTx/>
                    <a:latin typeface="Arial"/>
                    <a:ea typeface="+mn-ea"/>
                    <a:cs typeface="+mn-cs"/>
                  </a:rPr>
                  <a:t> </a:t>
                </a:r>
                <a:r>
                  <a:rPr kumimoji="0" lang="en-US" sz="6000" b="1" i="0" u="none" strike="noStrike" cap="none" normalizeH="0" baseline="0" noProof="0">
                    <a:ln>
                      <a:noFill/>
                    </a:ln>
                    <a:solidFill>
                      <a:srgbClr val="791F82"/>
                    </a:solidFill>
                    <a:uLnTx/>
                    <a:uFillTx/>
                    <a:latin typeface="Arial"/>
                    <a:ea typeface="+mn-ea"/>
                    <a:cs typeface="+mn-cs"/>
                  </a:rPr>
                  <a:t>bn</a:t>
                </a:r>
              </a:p>
            </p:txBody>
          </p:sp>
          <p:sp>
            <p:nvSpPr>
              <p:cNvPr id="94" name="Textfeld 93">
                <a:extLst>
                  <a:ext uri="{FF2B5EF4-FFF2-40B4-BE49-F238E27FC236}">
                    <a16:creationId xmlns:a16="http://schemas.microsoft.com/office/drawing/2014/main" id="{6DA6BD53-8B19-4770-AD19-9D3463D52FBC}"/>
                  </a:ext>
                </a:extLst>
              </p:cNvPr>
              <p:cNvSpPr txBox="1"/>
              <p:nvPr/>
            </p:nvSpPr>
            <p:spPr bwMode="gray">
              <a:xfrm>
                <a:off x="4066774" y="2761293"/>
                <a:ext cx="988716" cy="184666"/>
              </a:xfrm>
              <a:prstGeom prst="rect">
                <a:avLst/>
              </a:prstGeom>
              <a:noFill/>
            </p:spPr>
            <p:txBody>
              <a:bodyPr wrap="square" lIns="0" tIns="0" rIns="0" bIns="0" rtlCol="0" anchor="b" anchorCtr="0">
                <a:spAutoFit/>
              </a:bodyPr>
              <a:lstStyle/>
              <a:p>
                <a:pPr marL="0" marR="0" lvl="0" indent="0" defTabSz="1088502" rtl="0" eaLnBrk="1" fontAlgn="auto" latinLnBrk="0" hangingPunct="1">
                  <a:lnSpc>
                    <a:spcPct val="100000"/>
                  </a:lnSpc>
                  <a:spcBef>
                    <a:spcPts val="0"/>
                  </a:spcBef>
                  <a:spcAft>
                    <a:spcPts val="0"/>
                  </a:spcAft>
                  <a:buClrTx/>
                  <a:buSzTx/>
                  <a:buFontTx/>
                  <a:buNone/>
                  <a:tabLst/>
                  <a:defRPr/>
                </a:pPr>
                <a:r>
                  <a:rPr lang="en-US" sz="1200">
                    <a:solidFill>
                      <a:srgbClr val="791F82"/>
                    </a:solidFill>
                    <a:latin typeface="Arial"/>
                  </a:rPr>
                  <a:t>customers every year</a:t>
                </a:r>
              </a:p>
            </p:txBody>
          </p:sp>
        </p:grpSp>
      </p:grpSp>
      <p:grpSp>
        <p:nvGrpSpPr>
          <p:cNvPr id="101" name="Gruppieren 100">
            <a:extLst>
              <a:ext uri="{FF2B5EF4-FFF2-40B4-BE49-F238E27FC236}">
                <a16:creationId xmlns:a16="http://schemas.microsoft.com/office/drawing/2014/main" id="{3FAC87CB-A046-437A-A195-63C41BFB8171}"/>
              </a:ext>
            </a:extLst>
          </p:cNvPr>
          <p:cNvGrpSpPr/>
          <p:nvPr/>
        </p:nvGrpSpPr>
        <p:grpSpPr>
          <a:xfrm>
            <a:off x="692680" y="3472621"/>
            <a:ext cx="4296525" cy="1406149"/>
            <a:chOff x="7580569" y="3291228"/>
            <a:chExt cx="4296525" cy="1406149"/>
          </a:xfrm>
        </p:grpSpPr>
        <p:pic>
          <p:nvPicPr>
            <p:cNvPr id="22" name="Grafik 21" descr="Münzen">
              <a:extLst>
                <a:ext uri="{FF2B5EF4-FFF2-40B4-BE49-F238E27FC236}">
                  <a16:creationId xmlns:a16="http://schemas.microsoft.com/office/drawing/2014/main" id="{D641DB33-F6C2-45BD-BD96-E2AF2BB701C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537209" y="4073734"/>
              <a:ext cx="623643" cy="623643"/>
            </a:xfrm>
            <a:prstGeom prst="rect">
              <a:avLst/>
            </a:prstGeom>
          </p:spPr>
        </p:pic>
        <p:grpSp>
          <p:nvGrpSpPr>
            <p:cNvPr id="98" name="Gruppieren 97">
              <a:extLst>
                <a:ext uri="{FF2B5EF4-FFF2-40B4-BE49-F238E27FC236}">
                  <a16:creationId xmlns:a16="http://schemas.microsoft.com/office/drawing/2014/main" id="{4B2205AF-96BA-440A-A5F2-2DF3E8DE0951}"/>
                </a:ext>
              </a:extLst>
            </p:cNvPr>
            <p:cNvGrpSpPr/>
            <p:nvPr/>
          </p:nvGrpSpPr>
          <p:grpSpPr>
            <a:xfrm>
              <a:off x="7580569" y="3291228"/>
              <a:ext cx="4296525" cy="1094327"/>
              <a:chOff x="308387" y="1528800"/>
              <a:chExt cx="4296525" cy="1094327"/>
            </a:xfrm>
          </p:grpSpPr>
          <p:sp>
            <p:nvSpPr>
              <p:cNvPr id="99" name="Textfeld 98">
                <a:extLst>
                  <a:ext uri="{FF2B5EF4-FFF2-40B4-BE49-F238E27FC236}">
                    <a16:creationId xmlns:a16="http://schemas.microsoft.com/office/drawing/2014/main" id="{2FD2CE90-3136-4A77-82E7-DC2AD30A9C4F}"/>
                  </a:ext>
                </a:extLst>
              </p:cNvPr>
              <p:cNvSpPr txBox="1"/>
              <p:nvPr/>
            </p:nvSpPr>
            <p:spPr bwMode="gray">
              <a:xfrm>
                <a:off x="308387" y="1528800"/>
                <a:ext cx="4296525" cy="923330"/>
              </a:xfrm>
              <a:prstGeom prst="rect">
                <a:avLst/>
              </a:prstGeom>
              <a:noFill/>
            </p:spPr>
            <p:txBody>
              <a:bodyPr wrap="square" lIns="0" tIns="0" rIns="0" bIns="0" rtlCol="0" anchor="b">
                <a:spAutoFit/>
              </a:bodyPr>
              <a:lstStyle/>
              <a:p>
                <a:pPr>
                  <a:defRPr/>
                </a:pPr>
                <a:r>
                  <a:rPr kumimoji="0" lang="en-US" sz="6000" b="1" i="0" u="none" strike="noStrike" cap="none" normalizeH="0" baseline="0" noProof="0" dirty="0">
                    <a:ln>
                      <a:noFill/>
                    </a:ln>
                    <a:solidFill>
                      <a:srgbClr val="791F82"/>
                    </a:solidFill>
                    <a:uLnTx/>
                    <a:uFillTx/>
                    <a:latin typeface="Arial"/>
                    <a:ea typeface="+mn-ea"/>
                    <a:cs typeface="+mn-cs"/>
                  </a:rPr>
                  <a:t>113.3</a:t>
                </a:r>
                <a:r>
                  <a:rPr kumimoji="0" lang="en-US" sz="3200" b="1" i="0" u="none" strike="noStrike" cap="none" normalizeH="0" baseline="0" noProof="0" dirty="0">
                    <a:ln>
                      <a:noFill/>
                    </a:ln>
                    <a:solidFill>
                      <a:srgbClr val="791F82"/>
                    </a:solidFill>
                    <a:uLnTx/>
                    <a:uFillTx/>
                    <a:latin typeface="Arial"/>
                    <a:ea typeface="+mn-ea"/>
                    <a:cs typeface="+mn-cs"/>
                  </a:rPr>
                  <a:t> </a:t>
                </a:r>
                <a:r>
                  <a:rPr lang="en-US" sz="6000" b="1" dirty="0">
                    <a:solidFill>
                      <a:srgbClr val="791F82"/>
                    </a:solidFill>
                  </a:rPr>
                  <a:t>bn</a:t>
                </a:r>
                <a:r>
                  <a:rPr lang="en-US" sz="3200" b="1" dirty="0">
                    <a:solidFill>
                      <a:srgbClr val="791F82"/>
                    </a:solidFill>
                  </a:rPr>
                  <a:t> </a:t>
                </a:r>
                <a:r>
                  <a:rPr lang="en-US" sz="6000" b="1" dirty="0">
                    <a:solidFill>
                      <a:srgbClr val="791F82"/>
                    </a:solidFill>
                  </a:rPr>
                  <a:t>€</a:t>
                </a:r>
              </a:p>
            </p:txBody>
          </p:sp>
          <p:sp>
            <p:nvSpPr>
              <p:cNvPr id="100" name="Textfeld 99">
                <a:extLst>
                  <a:ext uri="{FF2B5EF4-FFF2-40B4-BE49-F238E27FC236}">
                    <a16:creationId xmlns:a16="http://schemas.microsoft.com/office/drawing/2014/main" id="{C2E04FCB-1272-45F0-96FD-53AFB1F7E48C}"/>
                  </a:ext>
                </a:extLst>
              </p:cNvPr>
              <p:cNvSpPr txBox="1"/>
              <p:nvPr/>
            </p:nvSpPr>
            <p:spPr bwMode="gray">
              <a:xfrm>
                <a:off x="1626311" y="2438461"/>
                <a:ext cx="1041581" cy="184666"/>
              </a:xfrm>
              <a:prstGeom prst="rect">
                <a:avLst/>
              </a:prstGeom>
              <a:noFill/>
            </p:spPr>
            <p:txBody>
              <a:bodyPr wrap="square" lIns="0" tIns="0" rIns="0" bIns="0" rtlCol="0" anchor="b" anchorCtr="0">
                <a:spAutoFit/>
              </a:bodyPr>
              <a:lstStyle/>
              <a:p>
                <a:pPr marL="0" marR="0" lvl="0" indent="0" defTabSz="1088502" rtl="0" eaLnBrk="1" fontAlgn="auto" latinLnBrk="0" hangingPunct="1">
                  <a:lnSpc>
                    <a:spcPct val="100000"/>
                  </a:lnSpc>
                  <a:spcBef>
                    <a:spcPts val="0"/>
                  </a:spcBef>
                  <a:spcAft>
                    <a:spcPts val="0"/>
                  </a:spcAft>
                  <a:buClrTx/>
                  <a:buSzTx/>
                  <a:buFontTx/>
                  <a:buNone/>
                  <a:tabLst/>
                  <a:defRPr/>
                </a:pPr>
                <a:r>
                  <a:rPr lang="en-US" sz="1200">
                    <a:solidFill>
                      <a:srgbClr val="791F82"/>
                    </a:solidFill>
                    <a:latin typeface="Arial"/>
                  </a:rPr>
                  <a:t>Sales</a:t>
                </a:r>
              </a:p>
            </p:txBody>
          </p:sp>
        </p:grpSp>
      </p:grpSp>
      <p:grpSp>
        <p:nvGrpSpPr>
          <p:cNvPr id="7" name="Gruppieren 6">
            <a:extLst>
              <a:ext uri="{FF2B5EF4-FFF2-40B4-BE49-F238E27FC236}">
                <a16:creationId xmlns:a16="http://schemas.microsoft.com/office/drawing/2014/main" id="{7DE3C595-584E-4FCA-8A6E-A11FDAB2DE20}"/>
              </a:ext>
            </a:extLst>
          </p:cNvPr>
          <p:cNvGrpSpPr/>
          <p:nvPr/>
        </p:nvGrpSpPr>
        <p:grpSpPr>
          <a:xfrm>
            <a:off x="4277521" y="5312015"/>
            <a:ext cx="3638548" cy="802938"/>
            <a:chOff x="4277521" y="6746287"/>
            <a:chExt cx="3638548" cy="802938"/>
          </a:xfrm>
        </p:grpSpPr>
        <p:sp>
          <p:nvSpPr>
            <p:cNvPr id="42" name="Rechteck 41">
              <a:extLst>
                <a:ext uri="{FF2B5EF4-FFF2-40B4-BE49-F238E27FC236}">
                  <a16:creationId xmlns:a16="http://schemas.microsoft.com/office/drawing/2014/main" id="{B7B51717-F89D-46E1-A22A-47FEAD79340C}"/>
                </a:ext>
              </a:extLst>
            </p:cNvPr>
            <p:cNvSpPr/>
            <p:nvPr/>
          </p:nvSpPr>
          <p:spPr bwMode="gray">
            <a:xfrm>
              <a:off x="4277521" y="6746287"/>
              <a:ext cx="3638548" cy="802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pic>
          <p:nvPicPr>
            <p:cNvPr id="11" name="Grafik 10" descr="Kranz">
              <a:extLst>
                <a:ext uri="{FF2B5EF4-FFF2-40B4-BE49-F238E27FC236}">
                  <a16:creationId xmlns:a16="http://schemas.microsoft.com/office/drawing/2014/main" id="{DE375C60-4224-4BE3-B0C1-D792A2E5F16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35218" y="6819809"/>
              <a:ext cx="655895" cy="655895"/>
            </a:xfrm>
            <a:prstGeom prst="rect">
              <a:avLst/>
            </a:prstGeom>
          </p:spPr>
        </p:pic>
        <p:sp>
          <p:nvSpPr>
            <p:cNvPr id="80" name="Textfeld 79">
              <a:extLst>
                <a:ext uri="{FF2B5EF4-FFF2-40B4-BE49-F238E27FC236}">
                  <a16:creationId xmlns:a16="http://schemas.microsoft.com/office/drawing/2014/main" id="{0098C9A4-72E7-4D57-B7E0-87F2E93AC345}"/>
                </a:ext>
              </a:extLst>
            </p:cNvPr>
            <p:cNvSpPr txBox="1"/>
            <p:nvPr/>
          </p:nvSpPr>
          <p:spPr bwMode="gray">
            <a:xfrm>
              <a:off x="5288069" y="6787755"/>
              <a:ext cx="2628000" cy="720000"/>
            </a:xfrm>
            <a:prstGeom prst="rect">
              <a:avLst/>
            </a:prstGeom>
            <a:noFill/>
          </p:spPr>
          <p:txBody>
            <a:bodyPr wrap="square" lIns="0" tIns="0" rIns="0" bIns="0" rtlCol="0" anchor="ctr" anchorCtr="0">
              <a:noAutofit/>
            </a:bodyPr>
            <a:lstStyle/>
            <a:p>
              <a:pPr marL="0" marR="0" lvl="0" indent="0" defTabSz="1088502" rtl="0" eaLnBrk="1" fontAlgn="auto" latinLnBrk="0" hangingPunct="1">
                <a:lnSpc>
                  <a:spcPct val="100000"/>
                </a:lnSpc>
                <a:spcBef>
                  <a:spcPts val="0"/>
                </a:spcBef>
                <a:spcAft>
                  <a:spcPts val="0"/>
                </a:spcAft>
                <a:buClrTx/>
                <a:buSzTx/>
                <a:buFontTx/>
                <a:buNone/>
                <a:tabLst/>
                <a:defRPr/>
              </a:pPr>
              <a:r>
                <a:rPr lang="en-US" sz="1800" b="1">
                  <a:solidFill>
                    <a:schemeClr val="bg1"/>
                  </a:solidFill>
                  <a:latin typeface="Arial"/>
                </a:rPr>
                <a:t>Europe's largest </a:t>
              </a:r>
              <a:br>
                <a:rPr lang="en-US" sz="1800" b="1">
                  <a:solidFill>
                    <a:schemeClr val="bg1"/>
                  </a:solidFill>
                  <a:latin typeface="Arial"/>
                </a:rPr>
              </a:br>
              <a:r>
                <a:rPr lang="en-US" sz="1800" b="1">
                  <a:solidFill>
                    <a:schemeClr val="bg1"/>
                  </a:solidFill>
                  <a:latin typeface="Arial"/>
                </a:rPr>
                <a:t>retailer</a:t>
              </a:r>
            </a:p>
          </p:txBody>
        </p:sp>
      </p:grpSp>
      <p:grpSp>
        <p:nvGrpSpPr>
          <p:cNvPr id="8" name="Gruppieren 7">
            <a:extLst>
              <a:ext uri="{FF2B5EF4-FFF2-40B4-BE49-F238E27FC236}">
                <a16:creationId xmlns:a16="http://schemas.microsoft.com/office/drawing/2014/main" id="{DF389EBC-EC4F-4B6B-BB11-AC5E381371BD}"/>
              </a:ext>
            </a:extLst>
          </p:cNvPr>
          <p:cNvGrpSpPr/>
          <p:nvPr/>
        </p:nvGrpSpPr>
        <p:grpSpPr>
          <a:xfrm>
            <a:off x="8145465" y="5312015"/>
            <a:ext cx="3643310" cy="802938"/>
            <a:chOff x="8145465" y="6746287"/>
            <a:chExt cx="3643310" cy="802938"/>
          </a:xfrm>
        </p:grpSpPr>
        <p:sp>
          <p:nvSpPr>
            <p:cNvPr id="45" name="Rechteck 44">
              <a:extLst>
                <a:ext uri="{FF2B5EF4-FFF2-40B4-BE49-F238E27FC236}">
                  <a16:creationId xmlns:a16="http://schemas.microsoft.com/office/drawing/2014/main" id="{7F9C5CDA-DB03-4650-B516-736C3C0A8356}"/>
                </a:ext>
              </a:extLst>
            </p:cNvPr>
            <p:cNvSpPr/>
            <p:nvPr/>
          </p:nvSpPr>
          <p:spPr bwMode="gray">
            <a:xfrm>
              <a:off x="8145465" y="6746287"/>
              <a:ext cx="3638548" cy="802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pic>
          <p:nvPicPr>
            <p:cNvPr id="85" name="Grafik 84">
              <a:extLst>
                <a:ext uri="{FF2B5EF4-FFF2-40B4-BE49-F238E27FC236}">
                  <a16:creationId xmlns:a16="http://schemas.microsoft.com/office/drawing/2014/main" id="{B59FB3DA-D58B-472D-BFBC-3AA6F17C14A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327062" y="6847978"/>
              <a:ext cx="599555" cy="599555"/>
            </a:xfrm>
            <a:prstGeom prst="rect">
              <a:avLst/>
            </a:prstGeom>
          </p:spPr>
        </p:pic>
        <p:sp>
          <p:nvSpPr>
            <p:cNvPr id="84" name="Textfeld 83">
              <a:extLst>
                <a:ext uri="{FF2B5EF4-FFF2-40B4-BE49-F238E27FC236}">
                  <a16:creationId xmlns:a16="http://schemas.microsoft.com/office/drawing/2014/main" id="{96D8C7BB-E8E6-4890-8786-1651F9B922E7}"/>
                </a:ext>
              </a:extLst>
            </p:cNvPr>
            <p:cNvSpPr txBox="1"/>
            <p:nvPr/>
          </p:nvSpPr>
          <p:spPr bwMode="gray">
            <a:xfrm>
              <a:off x="9160775" y="6788854"/>
              <a:ext cx="2628000" cy="720000"/>
            </a:xfrm>
            <a:prstGeom prst="rect">
              <a:avLst/>
            </a:prstGeom>
            <a:noFill/>
          </p:spPr>
          <p:txBody>
            <a:bodyPr wrap="square" lIns="0" tIns="0" rIns="0" bIns="0" rtlCol="0" anchor="ctr" anchorCtr="0">
              <a:noAutofit/>
            </a:bodyPr>
            <a:lstStyle/>
            <a:p>
              <a:pPr marL="0" marR="0" lvl="0" indent="0" defTabSz="1088502" rtl="0" eaLnBrk="1" fontAlgn="auto" latinLnBrk="0" hangingPunct="1">
                <a:lnSpc>
                  <a:spcPct val="100000"/>
                </a:lnSpc>
                <a:spcBef>
                  <a:spcPts val="0"/>
                </a:spcBef>
                <a:spcAft>
                  <a:spcPts val="0"/>
                </a:spcAft>
                <a:buClrTx/>
                <a:buSzTx/>
                <a:buFontTx/>
                <a:buNone/>
                <a:tabLst/>
                <a:defRPr/>
              </a:pPr>
              <a:r>
                <a:rPr lang="en-US" sz="1800" b="1">
                  <a:solidFill>
                    <a:schemeClr val="bg1"/>
                  </a:solidFill>
                  <a:latin typeface="Arial"/>
                </a:rPr>
                <a:t>Less plastic – close loops</a:t>
              </a:r>
            </a:p>
          </p:txBody>
        </p:sp>
      </p:grpSp>
      <p:grpSp>
        <p:nvGrpSpPr>
          <p:cNvPr id="5" name="Gruppieren 4">
            <a:extLst>
              <a:ext uri="{FF2B5EF4-FFF2-40B4-BE49-F238E27FC236}">
                <a16:creationId xmlns:a16="http://schemas.microsoft.com/office/drawing/2014/main" id="{2F0EF572-9D15-4393-8A18-6F3AA566806C}"/>
              </a:ext>
            </a:extLst>
          </p:cNvPr>
          <p:cNvGrpSpPr/>
          <p:nvPr/>
        </p:nvGrpSpPr>
        <p:grpSpPr>
          <a:xfrm>
            <a:off x="409577" y="5312015"/>
            <a:ext cx="3638548" cy="802938"/>
            <a:chOff x="409577" y="6746287"/>
            <a:chExt cx="3638548" cy="802938"/>
          </a:xfrm>
        </p:grpSpPr>
        <p:sp>
          <p:nvSpPr>
            <p:cNvPr id="4" name="Rechteck 3">
              <a:extLst>
                <a:ext uri="{FF2B5EF4-FFF2-40B4-BE49-F238E27FC236}">
                  <a16:creationId xmlns:a16="http://schemas.microsoft.com/office/drawing/2014/main" id="{9718715F-01E7-4DB8-AFA7-0353F6176548}"/>
                </a:ext>
              </a:extLst>
            </p:cNvPr>
            <p:cNvSpPr/>
            <p:nvPr/>
          </p:nvSpPr>
          <p:spPr bwMode="gray">
            <a:xfrm>
              <a:off x="409577" y="6746287"/>
              <a:ext cx="3638548" cy="802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pic>
          <p:nvPicPr>
            <p:cNvPr id="36" name="Grafik 35" descr="Kreise mit Pfeilen">
              <a:extLst>
                <a:ext uri="{FF2B5EF4-FFF2-40B4-BE49-F238E27FC236}">
                  <a16:creationId xmlns:a16="http://schemas.microsoft.com/office/drawing/2014/main" id="{387463FE-77DC-45A8-B09F-D2D24006949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11177" y="6766756"/>
              <a:ext cx="762001" cy="762001"/>
            </a:xfrm>
            <a:prstGeom prst="rect">
              <a:avLst/>
            </a:prstGeom>
          </p:spPr>
        </p:pic>
        <p:sp>
          <p:nvSpPr>
            <p:cNvPr id="88" name="Textfeld 87">
              <a:extLst>
                <a:ext uri="{FF2B5EF4-FFF2-40B4-BE49-F238E27FC236}">
                  <a16:creationId xmlns:a16="http://schemas.microsoft.com/office/drawing/2014/main" id="{1E2256FB-2230-4288-BC99-BC34F7075DE6}"/>
                </a:ext>
              </a:extLst>
            </p:cNvPr>
            <p:cNvSpPr txBox="1"/>
            <p:nvPr/>
          </p:nvSpPr>
          <p:spPr bwMode="gray">
            <a:xfrm>
              <a:off x="1409268" y="6788854"/>
              <a:ext cx="2628000" cy="720000"/>
            </a:xfrm>
            <a:prstGeom prst="rect">
              <a:avLst/>
            </a:prstGeom>
            <a:noFill/>
          </p:spPr>
          <p:txBody>
            <a:bodyPr wrap="square" lIns="0" tIns="0" rIns="0" bIns="0" rtlCol="0" anchor="ctr" anchorCtr="0">
              <a:noAutofit/>
            </a:bodyPr>
            <a:lstStyle/>
            <a:p>
              <a:pPr lvl="0">
                <a:defRPr/>
              </a:pPr>
              <a:r>
                <a:rPr lang="en-US" sz="1800" b="1">
                  <a:solidFill>
                    <a:schemeClr val="bg1"/>
                  </a:solidFill>
                </a:rPr>
                <a:t>Make the Group sustainable</a:t>
              </a:r>
            </a:p>
          </p:txBody>
        </p:sp>
      </p:grpSp>
      <p:grpSp>
        <p:nvGrpSpPr>
          <p:cNvPr id="46" name="Gruppieren 45">
            <a:extLst>
              <a:ext uri="{FF2B5EF4-FFF2-40B4-BE49-F238E27FC236}">
                <a16:creationId xmlns:a16="http://schemas.microsoft.com/office/drawing/2014/main" id="{8DEF9B98-DEEE-4FD1-A6F3-80D630E3D819}"/>
              </a:ext>
            </a:extLst>
          </p:cNvPr>
          <p:cNvGrpSpPr/>
          <p:nvPr/>
        </p:nvGrpSpPr>
        <p:grpSpPr>
          <a:xfrm>
            <a:off x="1233636" y="1721594"/>
            <a:ext cx="5665371" cy="1293698"/>
            <a:chOff x="887619" y="3370712"/>
            <a:chExt cx="5665371" cy="1293698"/>
          </a:xfrm>
        </p:grpSpPr>
        <p:sp>
          <p:nvSpPr>
            <p:cNvPr id="47" name="Textfeld 46">
              <a:extLst>
                <a:ext uri="{FF2B5EF4-FFF2-40B4-BE49-F238E27FC236}">
                  <a16:creationId xmlns:a16="http://schemas.microsoft.com/office/drawing/2014/main" id="{CBA74B8F-293D-42D4-AEC1-3ABF860E73C8}"/>
                </a:ext>
              </a:extLst>
            </p:cNvPr>
            <p:cNvSpPr txBox="1"/>
            <p:nvPr/>
          </p:nvSpPr>
          <p:spPr bwMode="gray">
            <a:xfrm>
              <a:off x="1070814" y="3370712"/>
              <a:ext cx="5482176" cy="1154162"/>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00000"/>
                </a:lnSpc>
                <a:spcBef>
                  <a:spcPts val="0"/>
                </a:spcBef>
                <a:spcAft>
                  <a:spcPts val="0"/>
                </a:spcAft>
                <a:buClrTx/>
                <a:buSzTx/>
                <a:buFontTx/>
                <a:buNone/>
                <a:tabLst/>
                <a:defRPr/>
              </a:pPr>
              <a:r>
                <a:rPr kumimoji="0" lang="en-US" sz="7500" b="1" i="0" u="none" strike="noStrike" cap="none" normalizeH="0" baseline="0" noProof="0">
                  <a:ln>
                    <a:noFill/>
                  </a:ln>
                  <a:solidFill>
                    <a:srgbClr val="791F82"/>
                  </a:solidFill>
                  <a:uLnTx/>
                  <a:uFillTx/>
                  <a:latin typeface="Arial"/>
                  <a:ea typeface="+mn-ea"/>
                  <a:cs typeface="+mn-cs"/>
                </a:rPr>
                <a:t>458,000</a:t>
              </a:r>
            </a:p>
          </p:txBody>
        </p:sp>
        <p:pic>
          <p:nvPicPr>
            <p:cNvPr id="48" name="Grafik 47" descr="Gruppe von Männern">
              <a:extLst>
                <a:ext uri="{FF2B5EF4-FFF2-40B4-BE49-F238E27FC236}">
                  <a16:creationId xmlns:a16="http://schemas.microsoft.com/office/drawing/2014/main" id="{3867F6FA-C92D-4F7C-B7D8-E097C2682AD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7619" y="4193195"/>
              <a:ext cx="471215" cy="471215"/>
            </a:xfrm>
            <a:prstGeom prst="rect">
              <a:avLst/>
            </a:prstGeom>
          </p:spPr>
        </p:pic>
        <p:sp>
          <p:nvSpPr>
            <p:cNvPr id="50" name="Textfeld 49">
              <a:extLst>
                <a:ext uri="{FF2B5EF4-FFF2-40B4-BE49-F238E27FC236}">
                  <a16:creationId xmlns:a16="http://schemas.microsoft.com/office/drawing/2014/main" id="{378A78C1-D4AD-4DC8-B748-D20DDFB3A0ED}"/>
                </a:ext>
              </a:extLst>
            </p:cNvPr>
            <p:cNvSpPr txBox="1"/>
            <p:nvPr/>
          </p:nvSpPr>
          <p:spPr bwMode="gray">
            <a:xfrm>
              <a:off x="1377774" y="4458525"/>
              <a:ext cx="1472911" cy="184666"/>
            </a:xfrm>
            <a:prstGeom prst="rect">
              <a:avLst/>
            </a:prstGeom>
            <a:noFill/>
          </p:spPr>
          <p:txBody>
            <a:bodyPr wrap="square" lIns="0" tIns="0" rIns="0" bIns="0" rtlCol="0" anchor="b" anchorCtr="0">
              <a:spAutoFit/>
            </a:bodyPr>
            <a:lstStyle/>
            <a:p>
              <a:pPr marL="0" marR="0" lvl="0" indent="0" defTabSz="1088502" rtl="0" eaLnBrk="1" fontAlgn="auto" latinLnBrk="0" hangingPunct="1">
                <a:lnSpc>
                  <a:spcPct val="100000"/>
                </a:lnSpc>
                <a:spcBef>
                  <a:spcPts val="0"/>
                </a:spcBef>
                <a:spcAft>
                  <a:spcPts val="0"/>
                </a:spcAft>
                <a:buClrTx/>
                <a:buSzTx/>
                <a:buFontTx/>
                <a:buNone/>
                <a:tabLst/>
                <a:defRPr/>
              </a:pPr>
              <a:r>
                <a:rPr lang="en-US" sz="1200">
                  <a:solidFill>
                    <a:srgbClr val="791F82"/>
                  </a:solidFill>
                  <a:latin typeface="Arial"/>
                </a:rPr>
                <a:t>Employees worldwide</a:t>
              </a:r>
            </a:p>
          </p:txBody>
        </p:sp>
      </p:grpSp>
      <p:sp>
        <p:nvSpPr>
          <p:cNvPr id="3" name="Textfeld 2">
            <a:extLst>
              <a:ext uri="{FF2B5EF4-FFF2-40B4-BE49-F238E27FC236}">
                <a16:creationId xmlns:a16="http://schemas.microsoft.com/office/drawing/2014/main" id="{EFFFD7E2-2F59-46BD-A4AB-4A4A4BE64052}"/>
              </a:ext>
            </a:extLst>
          </p:cNvPr>
          <p:cNvSpPr txBox="1"/>
          <p:nvPr/>
        </p:nvSpPr>
        <p:spPr bwMode="gray">
          <a:xfrm>
            <a:off x="4259409" y="3610649"/>
            <a:ext cx="332200" cy="177944"/>
          </a:xfrm>
          <a:prstGeom prst="rect">
            <a:avLst/>
          </a:prstGeom>
          <a:noFill/>
        </p:spPr>
        <p:txBody>
          <a:bodyPr wrap="square" lIns="0" tIns="0" rIns="0" bIns="0" rtlCol="0">
            <a:noAutofit/>
          </a:bodyPr>
          <a:lstStyle/>
          <a:p>
            <a:r>
              <a:rPr lang="en-US" sz="2500" b="1">
                <a:solidFill>
                  <a:srgbClr val="791F82"/>
                </a:solidFill>
              </a:rPr>
              <a:t>*</a:t>
            </a:r>
          </a:p>
        </p:txBody>
      </p:sp>
      <p:sp>
        <p:nvSpPr>
          <p:cNvPr id="12" name="Textfeld 11">
            <a:extLst>
              <a:ext uri="{FF2B5EF4-FFF2-40B4-BE49-F238E27FC236}">
                <a16:creationId xmlns:a16="http://schemas.microsoft.com/office/drawing/2014/main" id="{C0B78F19-86CB-41DF-AD3D-6B890A426F40}"/>
              </a:ext>
            </a:extLst>
          </p:cNvPr>
          <p:cNvSpPr txBox="1"/>
          <p:nvPr/>
        </p:nvSpPr>
        <p:spPr bwMode="gray">
          <a:xfrm>
            <a:off x="10474775" y="428625"/>
            <a:ext cx="1188414" cy="716511"/>
          </a:xfrm>
          <a:prstGeom prst="rect">
            <a:avLst/>
          </a:prstGeom>
          <a:noFill/>
        </p:spPr>
        <p:txBody>
          <a:bodyPr wrap="square" lIns="0" tIns="0" rIns="0" bIns="0" rtlCol="0">
            <a:noAutofit/>
          </a:bodyPr>
          <a:lstStyle/>
          <a:p>
            <a:endParaRPr lang="de-DE" sz="1800" err="1"/>
          </a:p>
        </p:txBody>
      </p:sp>
      <p:sp>
        <p:nvSpPr>
          <p:cNvPr id="13" name="Textfeld 12">
            <a:extLst>
              <a:ext uri="{FF2B5EF4-FFF2-40B4-BE49-F238E27FC236}">
                <a16:creationId xmlns:a16="http://schemas.microsoft.com/office/drawing/2014/main" id="{FA063506-6D48-48B8-B354-68251F508C87}"/>
              </a:ext>
            </a:extLst>
          </p:cNvPr>
          <p:cNvSpPr txBox="1"/>
          <p:nvPr/>
        </p:nvSpPr>
        <p:spPr bwMode="gray">
          <a:xfrm rot="16200000">
            <a:off x="11779013" y="-91584"/>
            <a:ext cx="2033321" cy="1918606"/>
          </a:xfrm>
          <a:prstGeom prst="rect">
            <a:avLst/>
          </a:prstGeom>
          <a:noFill/>
        </p:spPr>
        <p:txBody>
          <a:bodyPr wrap="square" lIns="0" tIns="0" rIns="0" bIns="0" rtlCol="0">
            <a:noAutofit/>
          </a:bodyPr>
          <a:lstStyle/>
          <a:p>
            <a:r>
              <a:rPr lang="en-US" sz="1000">
                <a:solidFill>
                  <a:srgbClr val="791F82"/>
                </a:solidFill>
              </a:rPr>
              <a:t>*Net sales in FY 2018</a:t>
            </a:r>
          </a:p>
        </p:txBody>
      </p:sp>
      <p:sp>
        <p:nvSpPr>
          <p:cNvPr id="15" name="Foliennummernplatzhalter 14">
            <a:extLst>
              <a:ext uri="{FF2B5EF4-FFF2-40B4-BE49-F238E27FC236}">
                <a16:creationId xmlns:a16="http://schemas.microsoft.com/office/drawing/2014/main" id="{D12F8A42-91F4-4928-BFEB-FAA5D75B653A}"/>
              </a:ext>
            </a:extLst>
          </p:cNvPr>
          <p:cNvSpPr>
            <a:spLocks noGrp="1"/>
          </p:cNvSpPr>
          <p:nvPr>
            <p:ph type="sldNum" sz="quarter" idx="12"/>
          </p:nvPr>
        </p:nvSpPr>
        <p:spPr/>
        <p:txBody>
          <a:bodyPr/>
          <a:lstStyle/>
          <a:p>
            <a:fld id="{0C7C1E0B-BD27-42F8-BC6B-2F0636970842}" type="slidenum">
              <a:rPr lang="de-DE" smtClean="0"/>
              <a:pPr/>
              <a:t>3</a:t>
            </a:fld>
            <a:endParaRPr lang="de-DE"/>
          </a:p>
        </p:txBody>
      </p:sp>
    </p:spTree>
    <p:extLst>
      <p:ext uri="{BB962C8B-B14F-4D97-AF65-F5344CB8AC3E}">
        <p14:creationId xmlns:p14="http://schemas.microsoft.com/office/powerpoint/2010/main" val="79288926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Bildergebnis fÃ¼r schwarz restaurantbetriebe">
            <a:extLst>
              <a:ext uri="{FF2B5EF4-FFF2-40B4-BE49-F238E27FC236}">
                <a16:creationId xmlns:a16="http://schemas.microsoft.com/office/drawing/2014/main" id="{8FF487B6-5EED-41DE-AD50-87C249A90C96}"/>
              </a:ext>
            </a:extLst>
          </p:cNvPr>
          <p:cNvPicPr>
            <a:picLocks noChangeArrowheads="1"/>
          </p:cNvPicPr>
          <p:nvPr/>
        </p:nvPicPr>
        <p:blipFill rotWithShape="1">
          <a:blip r:embed="rId3">
            <a:alphaModFix amt="40000"/>
            <a:extLst>
              <a:ext uri="{28A0092B-C50C-407E-A947-70E740481C1C}">
                <a14:useLocalDpi xmlns:a14="http://schemas.microsoft.com/office/drawing/2010/main"/>
              </a:ext>
            </a:extLst>
          </a:blip>
          <a:srcRect l="48042" t="-86" r="26750" b="86"/>
          <a:stretch/>
        </p:blipFill>
        <p:spPr bwMode="auto">
          <a:xfrm>
            <a:off x="4252912" y="1412875"/>
            <a:ext cx="1770063" cy="5018400"/>
          </a:xfrm>
          <a:prstGeom prst="rect">
            <a:avLst/>
          </a:prstGeom>
          <a:noFill/>
          <a:extLst>
            <a:ext uri="{909E8E84-426E-40DD-AFC4-6F175D3DCCD1}">
              <a14:hiddenFill xmlns:a14="http://schemas.microsoft.com/office/drawing/2010/main">
                <a:solidFill>
                  <a:srgbClr val="FFFFFF"/>
                </a:solidFill>
              </a14:hiddenFill>
            </a:ext>
          </a:extLst>
        </p:spPr>
      </p:pic>
      <p:sp>
        <p:nvSpPr>
          <p:cNvPr id="3" name="Titel 2"/>
          <p:cNvSpPr>
            <a:spLocks noGrp="1"/>
          </p:cNvSpPr>
          <p:nvPr>
            <p:ph type="title"/>
          </p:nvPr>
        </p:nvSpPr>
        <p:spPr/>
        <p:txBody>
          <a:bodyPr/>
          <a:lstStyle/>
          <a:p>
            <a:r>
              <a:rPr lang="en-US" dirty="0"/>
              <a:t>Schwarz central service</a:t>
            </a:r>
          </a:p>
        </p:txBody>
      </p:sp>
      <p:pic>
        <p:nvPicPr>
          <p:cNvPr id="10" name="Picture 4" descr="Bildergebnis fÃ¼r internationaler einkauf">
            <a:extLst>
              <a:ext uri="{FF2B5EF4-FFF2-40B4-BE49-F238E27FC236}">
                <a16:creationId xmlns:a16="http://schemas.microsoft.com/office/drawing/2014/main" id="{81465F88-3CAE-4540-8ABA-612D92F5F713}"/>
              </a:ext>
            </a:extLst>
          </p:cNvPr>
          <p:cNvPicPr>
            <a:picLocks noChangeArrowheads="1"/>
          </p:cNvPicPr>
          <p:nvPr/>
        </p:nvPicPr>
        <p:blipFill rotWithShape="1">
          <a:blip r:embed="rId4">
            <a:alphaModFix/>
            <a:extLst>
              <a:ext uri="{28A0092B-C50C-407E-A947-70E740481C1C}">
                <a14:useLocalDpi xmlns:a14="http://schemas.microsoft.com/office/drawing/2010/main"/>
              </a:ext>
            </a:extLst>
          </a:blip>
          <a:srcRect l="60371" t="156" r="23531" b="1457"/>
          <a:stretch/>
        </p:blipFill>
        <p:spPr bwMode="auto">
          <a:xfrm>
            <a:off x="2346327" y="1412875"/>
            <a:ext cx="1766887" cy="5018400"/>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a:extLst>
              <a:ext uri="{FF2B5EF4-FFF2-40B4-BE49-F238E27FC236}">
                <a16:creationId xmlns:a16="http://schemas.microsoft.com/office/drawing/2014/main" id="{A0869694-98CA-451B-8FAF-682BB8086053}"/>
              </a:ext>
            </a:extLst>
          </p:cNvPr>
          <p:cNvPicPr>
            <a:picLocks/>
          </p:cNvPicPr>
          <p:nvPr/>
        </p:nvPicPr>
        <p:blipFill rotWithShape="1">
          <a:blip r:embed="rId5">
            <a:extLst>
              <a:ext uri="{28A0092B-C50C-407E-A947-70E740481C1C}">
                <a14:useLocalDpi xmlns:a14="http://schemas.microsoft.com/office/drawing/2010/main"/>
              </a:ext>
            </a:extLst>
          </a:blip>
          <a:srcRect l="43524" r="12400"/>
          <a:stretch/>
        </p:blipFill>
        <p:spPr>
          <a:xfrm>
            <a:off x="6167439" y="1412875"/>
            <a:ext cx="5587998" cy="5018400"/>
          </a:xfrm>
          <a:prstGeom prst="rect">
            <a:avLst/>
          </a:prstGeom>
        </p:spPr>
      </p:pic>
      <p:pic>
        <p:nvPicPr>
          <p:cNvPr id="7" name="Picture 6" descr="Bildergebnis fÃ¼r bmw 3er gt">
            <a:extLst>
              <a:ext uri="{FF2B5EF4-FFF2-40B4-BE49-F238E27FC236}">
                <a16:creationId xmlns:a16="http://schemas.microsoft.com/office/drawing/2014/main" id="{0C16480A-DF1F-440F-A710-C45B1E93295D}"/>
              </a:ext>
            </a:extLst>
          </p:cNvPr>
          <p:cNvPicPr>
            <a:picLocks noChangeArrowheads="1"/>
          </p:cNvPicPr>
          <p:nvPr/>
        </p:nvPicPr>
        <p:blipFill rotWithShape="1">
          <a:blip r:embed="rId6">
            <a:alphaModFix amt="40000"/>
            <a:extLst>
              <a:ext uri="{28A0092B-C50C-407E-A947-70E740481C1C}">
                <a14:useLocalDpi xmlns:a14="http://schemas.microsoft.com/office/drawing/2010/main"/>
              </a:ext>
            </a:extLst>
          </a:blip>
          <a:srcRect l="75432" r="7821"/>
          <a:stretch/>
        </p:blipFill>
        <p:spPr bwMode="auto">
          <a:xfrm>
            <a:off x="431800" y="1412875"/>
            <a:ext cx="1768475" cy="5018400"/>
          </a:xfrm>
          <a:prstGeom prst="rect">
            <a:avLst/>
          </a:prstGeom>
          <a:noFill/>
          <a:extLst>
            <a:ext uri="{909E8E84-426E-40DD-AFC4-6F175D3DCCD1}">
              <a14:hiddenFill xmlns:a14="http://schemas.microsoft.com/office/drawing/2010/main">
                <a:solidFill>
                  <a:srgbClr val="FFFFFF"/>
                </a:solidFill>
              </a14:hiddenFill>
            </a:ext>
          </a:extLst>
        </p:spPr>
      </p:pic>
      <p:sp>
        <p:nvSpPr>
          <p:cNvPr id="11" name="Untertitel 2">
            <a:extLst>
              <a:ext uri="{FF2B5EF4-FFF2-40B4-BE49-F238E27FC236}">
                <a16:creationId xmlns:a16="http://schemas.microsoft.com/office/drawing/2014/main" id="{315D87CE-7D91-4E7C-A31F-B51D424B5075}"/>
              </a:ext>
            </a:extLst>
          </p:cNvPr>
          <p:cNvSpPr>
            <a:spLocks noGrp="1"/>
          </p:cNvSpPr>
          <p:nvPr>
            <p:ph type="subTitle" idx="1"/>
          </p:nvPr>
        </p:nvSpPr>
        <p:spPr>
          <a:xfrm>
            <a:off x="409577" y="739137"/>
            <a:ext cx="11348418" cy="426662"/>
          </a:xfrm>
        </p:spPr>
        <p:txBody>
          <a:bodyPr/>
          <a:lstStyle/>
          <a:p>
            <a:r>
              <a:rPr lang="en-US"/>
              <a:t>Schwarz Immobilien Service (SIS)</a:t>
            </a:r>
          </a:p>
        </p:txBody>
      </p:sp>
      <p:sp>
        <p:nvSpPr>
          <p:cNvPr id="4" name="Foliennummernplatzhalter 3">
            <a:extLst>
              <a:ext uri="{FF2B5EF4-FFF2-40B4-BE49-F238E27FC236}">
                <a16:creationId xmlns:a16="http://schemas.microsoft.com/office/drawing/2014/main" id="{BF17BF22-DE04-4544-B662-BD09BE0D4093}"/>
              </a:ext>
            </a:extLst>
          </p:cNvPr>
          <p:cNvSpPr>
            <a:spLocks noGrp="1"/>
          </p:cNvSpPr>
          <p:nvPr>
            <p:ph type="sldNum" sz="quarter" idx="12"/>
          </p:nvPr>
        </p:nvSpPr>
        <p:spPr/>
        <p:txBody>
          <a:bodyPr/>
          <a:lstStyle/>
          <a:p>
            <a:fld id="{0C7C1E0B-BD27-42F8-BC6B-2F0636970842}" type="slidenum">
              <a:rPr lang="de-DE" smtClean="0"/>
              <a:pPr/>
              <a:t>30</a:t>
            </a:fld>
            <a:endParaRPr lang="de-DE"/>
          </a:p>
        </p:txBody>
      </p:sp>
      <p:sp>
        <p:nvSpPr>
          <p:cNvPr id="27" name="Rechteck 26">
            <a:extLst>
              <a:ext uri="{FF2B5EF4-FFF2-40B4-BE49-F238E27FC236}">
                <a16:creationId xmlns:a16="http://schemas.microsoft.com/office/drawing/2014/main" id="{B9B212EF-26EB-4DC3-935B-BBC3F145F836}"/>
              </a:ext>
            </a:extLst>
          </p:cNvPr>
          <p:cNvSpPr/>
          <p:nvPr/>
        </p:nvSpPr>
        <p:spPr bwMode="gray">
          <a:xfrm>
            <a:off x="4252912" y="1412875"/>
            <a:ext cx="1766888" cy="5018399"/>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sp>
        <p:nvSpPr>
          <p:cNvPr id="19" name="Rechteck 18">
            <a:extLst>
              <a:ext uri="{FF2B5EF4-FFF2-40B4-BE49-F238E27FC236}">
                <a16:creationId xmlns:a16="http://schemas.microsoft.com/office/drawing/2014/main" id="{E3B62C8A-4277-4D20-AFEB-6B14B7A102B6}"/>
              </a:ext>
            </a:extLst>
          </p:cNvPr>
          <p:cNvSpPr/>
          <p:nvPr/>
        </p:nvSpPr>
        <p:spPr>
          <a:xfrm>
            <a:off x="4251028" y="2295231"/>
            <a:ext cx="1773830" cy="7478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algn="ctr"/>
            <a:r>
              <a:rPr lang="en-US" sz="1800">
                <a:solidFill>
                  <a:schemeClr val="bg1"/>
                </a:solidFill>
                <a:latin typeface="Arial Black" panose="020B0A04020102020204" pitchFamily="34" charset="0"/>
                <a:cs typeface="Arial" panose="020B0604020202020204" pitchFamily="34" charset="0"/>
              </a:rPr>
              <a:t>160</a:t>
            </a:r>
            <a:r>
              <a:rPr lang="en-US" sz="1200">
                <a:solidFill>
                  <a:schemeClr val="bg1"/>
                </a:solidFill>
                <a:latin typeface="Arial" panose="020B0604020202020204" pitchFamily="34" charset="0"/>
                <a:cs typeface="Arial" panose="020B0604020202020204" pitchFamily="34" charset="0"/>
              </a:rPr>
              <a:t> </a:t>
            </a:r>
          </a:p>
          <a:p>
            <a:pPr algn="ctr"/>
            <a:r>
              <a:rPr lang="en-US" sz="1600">
                <a:solidFill>
                  <a:schemeClr val="bg1"/>
                </a:solidFill>
                <a:latin typeface="Arial" panose="020B0604020202020204" pitchFamily="34" charset="0"/>
                <a:cs typeface="Arial" panose="020B0604020202020204" pitchFamily="34" charset="0"/>
              </a:rPr>
              <a:t>Employees</a:t>
            </a:r>
          </a:p>
        </p:txBody>
      </p:sp>
      <p:sp>
        <p:nvSpPr>
          <p:cNvPr id="16" name="Rechteck 15">
            <a:extLst>
              <a:ext uri="{FF2B5EF4-FFF2-40B4-BE49-F238E27FC236}">
                <a16:creationId xmlns:a16="http://schemas.microsoft.com/office/drawing/2014/main" id="{305368C0-5303-4E5A-8126-9158F1433193}"/>
              </a:ext>
            </a:extLst>
          </p:cNvPr>
          <p:cNvSpPr/>
          <p:nvPr/>
        </p:nvSpPr>
        <p:spPr>
          <a:xfrm>
            <a:off x="4415420" y="5317170"/>
            <a:ext cx="1679787" cy="647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endParaRPr lang="de-DE" sz="1800">
              <a:solidFill>
                <a:schemeClr val="tx1"/>
              </a:solidFill>
            </a:endParaRPr>
          </a:p>
        </p:txBody>
      </p:sp>
      <p:sp>
        <p:nvSpPr>
          <p:cNvPr id="18" name="Rechteck 17">
            <a:extLst>
              <a:ext uri="{FF2B5EF4-FFF2-40B4-BE49-F238E27FC236}">
                <a16:creationId xmlns:a16="http://schemas.microsoft.com/office/drawing/2014/main" id="{0016D069-02E6-42C9-BE25-6FA259B8888D}"/>
              </a:ext>
            </a:extLst>
          </p:cNvPr>
          <p:cNvSpPr/>
          <p:nvPr/>
        </p:nvSpPr>
        <p:spPr>
          <a:xfrm>
            <a:off x="4296610" y="3875720"/>
            <a:ext cx="1798596" cy="647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de-DE" sz="1800">
              <a:solidFill>
                <a:schemeClr val="tx1"/>
              </a:solidFill>
            </a:endParaRPr>
          </a:p>
        </p:txBody>
      </p:sp>
      <p:sp>
        <p:nvSpPr>
          <p:cNvPr id="20" name="Rechteck 19">
            <a:extLst>
              <a:ext uri="{FF2B5EF4-FFF2-40B4-BE49-F238E27FC236}">
                <a16:creationId xmlns:a16="http://schemas.microsoft.com/office/drawing/2014/main" id="{B780EDE1-72DA-492D-9851-57201153B2EA}"/>
              </a:ext>
            </a:extLst>
          </p:cNvPr>
          <p:cNvSpPr/>
          <p:nvPr/>
        </p:nvSpPr>
        <p:spPr>
          <a:xfrm>
            <a:off x="4253412" y="3989479"/>
            <a:ext cx="1769063" cy="7478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algn="ctr"/>
            <a:r>
              <a:rPr lang="en-US" sz="1800">
                <a:solidFill>
                  <a:schemeClr val="bg1"/>
                </a:solidFill>
                <a:latin typeface="Arial Black" panose="020B0A04020102020204" pitchFamily="34" charset="0"/>
              </a:rPr>
              <a:t>540,000 m²</a:t>
            </a:r>
            <a:r>
              <a:rPr lang="en-US" sz="1100">
                <a:solidFill>
                  <a:schemeClr val="bg1"/>
                </a:solidFill>
              </a:rPr>
              <a:t> </a:t>
            </a:r>
            <a:r>
              <a:rPr lang="en-US" sz="1600">
                <a:solidFill>
                  <a:schemeClr val="bg1"/>
                </a:solidFill>
              </a:rPr>
              <a:t>floor area</a:t>
            </a:r>
          </a:p>
        </p:txBody>
      </p:sp>
      <p:sp>
        <p:nvSpPr>
          <p:cNvPr id="21" name="Rechteck 20">
            <a:extLst>
              <a:ext uri="{FF2B5EF4-FFF2-40B4-BE49-F238E27FC236}">
                <a16:creationId xmlns:a16="http://schemas.microsoft.com/office/drawing/2014/main" id="{A01F1D24-5C2B-4DC5-B207-E524469BDA29}"/>
              </a:ext>
            </a:extLst>
          </p:cNvPr>
          <p:cNvSpPr/>
          <p:nvPr/>
        </p:nvSpPr>
        <p:spPr>
          <a:xfrm>
            <a:off x="4253615" y="5683726"/>
            <a:ext cx="1768656" cy="7478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algn="ctr"/>
            <a:r>
              <a:rPr lang="en-US" sz="2000">
                <a:solidFill>
                  <a:schemeClr val="bg1"/>
                </a:solidFill>
                <a:latin typeface="Arial Black" panose="020B0A04020102020204" pitchFamily="34" charset="0"/>
              </a:rPr>
              <a:t>140</a:t>
            </a:r>
            <a:r>
              <a:rPr lang="en-US" sz="1800">
                <a:solidFill>
                  <a:schemeClr val="bg1"/>
                </a:solidFill>
              </a:rPr>
              <a:t> </a:t>
            </a:r>
          </a:p>
          <a:p>
            <a:pPr algn="ctr"/>
            <a:r>
              <a:rPr lang="en-US" sz="1800">
                <a:solidFill>
                  <a:schemeClr val="bg1"/>
                </a:solidFill>
              </a:rPr>
              <a:t>Building</a:t>
            </a:r>
          </a:p>
        </p:txBody>
      </p:sp>
      <p:pic>
        <p:nvPicPr>
          <p:cNvPr id="22" name="Grafik 21">
            <a:extLst>
              <a:ext uri="{FF2B5EF4-FFF2-40B4-BE49-F238E27FC236}">
                <a16:creationId xmlns:a16="http://schemas.microsoft.com/office/drawing/2014/main" id="{F0197C65-0279-4848-8A78-1F7F51F1A390}"/>
              </a:ext>
            </a:extLst>
          </p:cNvPr>
          <p:cNvPicPr>
            <a:picLocks noChangeAspect="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saturation sat="400000"/>
                    </a14:imgEffect>
                  </a14:imgLayer>
                </a14:imgProps>
              </a:ext>
              <a:ext uri="{28A0092B-C50C-407E-A947-70E740481C1C}">
                <a14:useLocalDpi xmlns:a14="http://schemas.microsoft.com/office/drawing/2010/main" val="0"/>
              </a:ext>
            </a:extLst>
          </a:blip>
          <a:stretch>
            <a:fillRect/>
          </a:stretch>
        </p:blipFill>
        <p:spPr>
          <a:xfrm>
            <a:off x="4785929" y="1534324"/>
            <a:ext cx="704028" cy="704028"/>
          </a:xfrm>
          <a:prstGeom prst="rect">
            <a:avLst/>
          </a:prstGeom>
        </p:spPr>
      </p:pic>
      <p:pic>
        <p:nvPicPr>
          <p:cNvPr id="23" name="Grafik 22">
            <a:extLst>
              <a:ext uri="{FF2B5EF4-FFF2-40B4-BE49-F238E27FC236}">
                <a16:creationId xmlns:a16="http://schemas.microsoft.com/office/drawing/2014/main" id="{1DFED84C-FB71-412B-AA05-74C78A646CF0}"/>
              </a:ext>
            </a:extLst>
          </p:cNvPr>
          <p:cNvPicPr>
            <a:picLocks noChangeAspect="1"/>
          </p:cNvPicPr>
          <p:nvPr/>
        </p:nvPicPr>
        <p:blipFill>
          <a:blip r:embed="rId9" cstate="print">
            <a:duotone>
              <a:schemeClr val="accent1">
                <a:shade val="45000"/>
                <a:satMod val="135000"/>
              </a:schemeClr>
              <a:prstClr val="white"/>
            </a:duotone>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4785929" y="4940950"/>
            <a:ext cx="704028" cy="704028"/>
          </a:xfrm>
          <a:prstGeom prst="rect">
            <a:avLst/>
          </a:prstGeom>
        </p:spPr>
      </p:pic>
      <p:pic>
        <p:nvPicPr>
          <p:cNvPr id="24" name="Grafik 23">
            <a:extLst>
              <a:ext uri="{FF2B5EF4-FFF2-40B4-BE49-F238E27FC236}">
                <a16:creationId xmlns:a16="http://schemas.microsoft.com/office/drawing/2014/main" id="{0D7BE18F-F327-4D04-9A71-EB721C95B33E}"/>
              </a:ext>
            </a:extLst>
          </p:cNvPr>
          <p:cNvPicPr>
            <a:picLocks noChangeAspect="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85929" y="3202588"/>
            <a:ext cx="704028" cy="704028"/>
          </a:xfrm>
          <a:prstGeom prst="rect">
            <a:avLst/>
          </a:prstGeom>
        </p:spPr>
      </p:pic>
      <p:sp>
        <p:nvSpPr>
          <p:cNvPr id="25" name="Rechteck 24">
            <a:extLst>
              <a:ext uri="{FF2B5EF4-FFF2-40B4-BE49-F238E27FC236}">
                <a16:creationId xmlns:a16="http://schemas.microsoft.com/office/drawing/2014/main" id="{792E285E-101C-486C-B0E2-E06CEA4C1620}"/>
              </a:ext>
            </a:extLst>
          </p:cNvPr>
          <p:cNvSpPr/>
          <p:nvPr/>
        </p:nvSpPr>
        <p:spPr bwMode="gray">
          <a:xfrm>
            <a:off x="428625" y="1412876"/>
            <a:ext cx="1771650" cy="5018399"/>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lvl="0" algn="ctr" defTabSz="1600200">
              <a:lnSpc>
                <a:spcPct val="80000"/>
              </a:lnSpc>
              <a:spcBef>
                <a:spcPct val="0"/>
              </a:spcBef>
              <a:spcAft>
                <a:spcPct val="35000"/>
              </a:spcAft>
              <a:defRPr/>
            </a:pPr>
            <a:endParaRPr lang="de-DE" sz="1800">
              <a:solidFill>
                <a:prstClr val="black"/>
              </a:solidFill>
            </a:endParaRPr>
          </a:p>
          <a:p>
            <a:pPr algn="ctr"/>
            <a:endParaRPr lang="de-DE" sz="1800"/>
          </a:p>
        </p:txBody>
      </p:sp>
      <p:sp>
        <p:nvSpPr>
          <p:cNvPr id="28" name="Rechteck 27">
            <a:extLst>
              <a:ext uri="{FF2B5EF4-FFF2-40B4-BE49-F238E27FC236}">
                <a16:creationId xmlns:a16="http://schemas.microsoft.com/office/drawing/2014/main" id="{A73078C5-403C-428D-B6FA-F139A5553796}"/>
              </a:ext>
            </a:extLst>
          </p:cNvPr>
          <p:cNvSpPr/>
          <p:nvPr/>
        </p:nvSpPr>
        <p:spPr bwMode="gray">
          <a:xfrm>
            <a:off x="2346567" y="1409773"/>
            <a:ext cx="1771650" cy="5018399"/>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lvl="0" algn="ctr" defTabSz="1600200">
              <a:lnSpc>
                <a:spcPct val="80000"/>
              </a:lnSpc>
              <a:spcBef>
                <a:spcPct val="0"/>
              </a:spcBef>
              <a:spcAft>
                <a:spcPct val="35000"/>
              </a:spcAft>
              <a:defRPr/>
            </a:pPr>
            <a:endParaRPr lang="de-DE" sz="1800">
              <a:solidFill>
                <a:prstClr val="black"/>
              </a:solidFill>
            </a:endParaRPr>
          </a:p>
          <a:p>
            <a:pPr algn="ctr"/>
            <a:endParaRPr lang="de-DE" sz="1800"/>
          </a:p>
        </p:txBody>
      </p:sp>
    </p:spTree>
    <p:extLst>
      <p:ext uri="{BB962C8B-B14F-4D97-AF65-F5344CB8AC3E}">
        <p14:creationId xmlns:p14="http://schemas.microsoft.com/office/powerpoint/2010/main" val="40029840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 name="Picture 4" descr="Bildergebnis fÃ¼r internationaler einkauf">
            <a:extLst>
              <a:ext uri="{FF2B5EF4-FFF2-40B4-BE49-F238E27FC236}">
                <a16:creationId xmlns:a16="http://schemas.microsoft.com/office/drawing/2014/main" id="{85EAC0E9-3807-4952-B931-F774897FD806}"/>
              </a:ext>
            </a:extLst>
          </p:cNvPr>
          <p:cNvPicPr>
            <a:picLocks noChangeArrowheads="1"/>
          </p:cNvPicPr>
          <p:nvPr/>
        </p:nvPicPr>
        <p:blipFill rotWithShape="1">
          <a:blip r:embed="rId3">
            <a:alphaModFix amt="40000"/>
            <a:extLst>
              <a:ext uri="{28A0092B-C50C-407E-A947-70E740481C1C}">
                <a14:useLocalDpi xmlns:a14="http://schemas.microsoft.com/office/drawing/2010/main"/>
              </a:ext>
            </a:extLst>
          </a:blip>
          <a:srcRect l="60371" t="156" r="23531" b="1457"/>
          <a:stretch/>
        </p:blipFill>
        <p:spPr bwMode="auto">
          <a:xfrm>
            <a:off x="2346327" y="1412875"/>
            <a:ext cx="1766887" cy="5018400"/>
          </a:xfrm>
          <a:prstGeom prst="rect">
            <a:avLst/>
          </a:prstGeom>
          <a:noFill/>
          <a:extLst>
            <a:ext uri="{909E8E84-426E-40DD-AFC4-6F175D3DCCD1}">
              <a14:hiddenFill xmlns:a14="http://schemas.microsoft.com/office/drawing/2010/main">
                <a:solidFill>
                  <a:srgbClr val="FFFFFF"/>
                </a:solidFill>
              </a14:hiddenFill>
            </a:ext>
          </a:extLst>
        </p:spPr>
      </p:pic>
      <p:sp>
        <p:nvSpPr>
          <p:cNvPr id="123" name="Rechteck 122">
            <a:extLst>
              <a:ext uri="{FF2B5EF4-FFF2-40B4-BE49-F238E27FC236}">
                <a16:creationId xmlns:a16="http://schemas.microsoft.com/office/drawing/2014/main" id="{3A9601BD-36D1-4AEB-9C33-377723263A74}"/>
              </a:ext>
            </a:extLst>
          </p:cNvPr>
          <p:cNvSpPr/>
          <p:nvPr/>
        </p:nvSpPr>
        <p:spPr bwMode="gray">
          <a:xfrm>
            <a:off x="2339972" y="1412875"/>
            <a:ext cx="1769923" cy="5018399"/>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pic>
        <p:nvPicPr>
          <p:cNvPr id="7" name="Picture 6" descr="Bildergebnis fÃ¼r bmw 3er gt">
            <a:extLst>
              <a:ext uri="{FF2B5EF4-FFF2-40B4-BE49-F238E27FC236}">
                <a16:creationId xmlns:a16="http://schemas.microsoft.com/office/drawing/2014/main" id="{0C16480A-DF1F-440F-A710-C45B1E93295D}"/>
              </a:ext>
            </a:extLst>
          </p:cNvPr>
          <p:cNvPicPr>
            <a:picLocks noChangeArrowheads="1"/>
          </p:cNvPicPr>
          <p:nvPr/>
        </p:nvPicPr>
        <p:blipFill rotWithShape="1">
          <a:blip r:embed="rId4">
            <a:alphaModFix amt="40000"/>
            <a:extLst>
              <a:ext uri="{28A0092B-C50C-407E-A947-70E740481C1C}">
                <a14:useLocalDpi xmlns:a14="http://schemas.microsoft.com/office/drawing/2010/main"/>
              </a:ext>
            </a:extLst>
          </a:blip>
          <a:srcRect l="75432" r="7821"/>
          <a:stretch/>
        </p:blipFill>
        <p:spPr bwMode="auto">
          <a:xfrm>
            <a:off x="431800" y="1412875"/>
            <a:ext cx="1768475" cy="5018400"/>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a:extLst>
              <a:ext uri="{FF2B5EF4-FFF2-40B4-BE49-F238E27FC236}">
                <a16:creationId xmlns:a16="http://schemas.microsoft.com/office/drawing/2014/main" id="{A0869694-98CA-451B-8FAF-682BB8086053}"/>
              </a:ext>
            </a:extLst>
          </p:cNvPr>
          <p:cNvPicPr>
            <a:picLocks/>
          </p:cNvPicPr>
          <p:nvPr/>
        </p:nvPicPr>
        <p:blipFill rotWithShape="1">
          <a:blip r:embed="rId5">
            <a:alphaModFix amt="40000"/>
            <a:extLst>
              <a:ext uri="{28A0092B-C50C-407E-A947-70E740481C1C}">
                <a14:useLocalDpi xmlns:a14="http://schemas.microsoft.com/office/drawing/2010/main"/>
              </a:ext>
            </a:extLst>
          </a:blip>
          <a:srcRect l="43524" r="12400"/>
          <a:stretch/>
        </p:blipFill>
        <p:spPr>
          <a:xfrm>
            <a:off x="6167439" y="1412875"/>
            <a:ext cx="5587998" cy="5018400"/>
          </a:xfrm>
          <a:prstGeom prst="rect">
            <a:avLst/>
          </a:prstGeom>
        </p:spPr>
      </p:pic>
      <p:sp>
        <p:nvSpPr>
          <p:cNvPr id="13" name="Rechteck 12">
            <a:extLst>
              <a:ext uri="{FF2B5EF4-FFF2-40B4-BE49-F238E27FC236}">
                <a16:creationId xmlns:a16="http://schemas.microsoft.com/office/drawing/2014/main" id="{D60F3B6B-A0A4-44CC-BD92-2729F929D7C9}"/>
              </a:ext>
            </a:extLst>
          </p:cNvPr>
          <p:cNvSpPr/>
          <p:nvPr/>
        </p:nvSpPr>
        <p:spPr bwMode="gray">
          <a:xfrm>
            <a:off x="6167439" y="1412875"/>
            <a:ext cx="5587998" cy="5018399"/>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pic>
        <p:nvPicPr>
          <p:cNvPr id="8" name="Picture 2" descr="Bildergebnis fÃ¼r schwarz restaurantbetriebe">
            <a:extLst>
              <a:ext uri="{FF2B5EF4-FFF2-40B4-BE49-F238E27FC236}">
                <a16:creationId xmlns:a16="http://schemas.microsoft.com/office/drawing/2014/main" id="{8FF487B6-5EED-41DE-AD50-87C249A90C96}"/>
              </a:ext>
            </a:extLst>
          </p:cNvPr>
          <p:cNvPicPr>
            <a:picLocks noChangeArrowheads="1"/>
          </p:cNvPicPr>
          <p:nvPr/>
        </p:nvPicPr>
        <p:blipFill rotWithShape="1">
          <a:blip r:embed="rId6">
            <a:extLst>
              <a:ext uri="{28A0092B-C50C-407E-A947-70E740481C1C}">
                <a14:useLocalDpi xmlns:a14="http://schemas.microsoft.com/office/drawing/2010/main"/>
              </a:ext>
            </a:extLst>
          </a:blip>
          <a:srcRect l="48042" t="-86" r="26750" b="86"/>
          <a:stretch/>
        </p:blipFill>
        <p:spPr bwMode="auto">
          <a:xfrm>
            <a:off x="4252912" y="1412875"/>
            <a:ext cx="1770063" cy="5018400"/>
          </a:xfrm>
          <a:prstGeom prst="rect">
            <a:avLst/>
          </a:prstGeom>
          <a:noFill/>
          <a:extLst>
            <a:ext uri="{909E8E84-426E-40DD-AFC4-6F175D3DCCD1}">
              <a14:hiddenFill xmlns:a14="http://schemas.microsoft.com/office/drawing/2010/main">
                <a:solidFill>
                  <a:srgbClr val="FFFFFF"/>
                </a:solidFill>
              </a14:hiddenFill>
            </a:ext>
          </a:extLst>
        </p:spPr>
      </p:pic>
      <p:sp>
        <p:nvSpPr>
          <p:cNvPr id="11" name="Untertitel 2">
            <a:extLst>
              <a:ext uri="{FF2B5EF4-FFF2-40B4-BE49-F238E27FC236}">
                <a16:creationId xmlns:a16="http://schemas.microsoft.com/office/drawing/2014/main" id="{315D87CE-7D91-4E7C-A31F-B51D424B5075}"/>
              </a:ext>
            </a:extLst>
          </p:cNvPr>
          <p:cNvSpPr>
            <a:spLocks noGrp="1"/>
          </p:cNvSpPr>
          <p:nvPr>
            <p:ph type="subTitle" idx="1"/>
          </p:nvPr>
        </p:nvSpPr>
        <p:spPr>
          <a:xfrm>
            <a:off x="409577" y="739137"/>
            <a:ext cx="11348418" cy="426662"/>
          </a:xfrm>
        </p:spPr>
        <p:txBody>
          <a:bodyPr/>
          <a:lstStyle/>
          <a:p>
            <a:r>
              <a:rPr lang="en-US"/>
              <a:t>Schwarz Restaurant Betriebe (SRB)</a:t>
            </a:r>
          </a:p>
        </p:txBody>
      </p:sp>
      <p:sp>
        <p:nvSpPr>
          <p:cNvPr id="4" name="Foliennummernplatzhalter 3">
            <a:extLst>
              <a:ext uri="{FF2B5EF4-FFF2-40B4-BE49-F238E27FC236}">
                <a16:creationId xmlns:a16="http://schemas.microsoft.com/office/drawing/2014/main" id="{BF17BF22-DE04-4544-B662-BD09BE0D4093}"/>
              </a:ext>
            </a:extLst>
          </p:cNvPr>
          <p:cNvSpPr>
            <a:spLocks noGrp="1"/>
          </p:cNvSpPr>
          <p:nvPr>
            <p:ph type="sldNum" sz="quarter" idx="12"/>
          </p:nvPr>
        </p:nvSpPr>
        <p:spPr/>
        <p:txBody>
          <a:bodyPr/>
          <a:lstStyle/>
          <a:p>
            <a:fld id="{0C7C1E0B-BD27-42F8-BC6B-2F0636970842}" type="slidenum">
              <a:rPr lang="de-DE" smtClean="0"/>
              <a:pPr/>
              <a:t>31</a:t>
            </a:fld>
            <a:endParaRPr lang="de-DE"/>
          </a:p>
        </p:txBody>
      </p:sp>
      <p:pic>
        <p:nvPicPr>
          <p:cNvPr id="84" name="Grafik 83">
            <a:extLst>
              <a:ext uri="{FF2B5EF4-FFF2-40B4-BE49-F238E27FC236}">
                <a16:creationId xmlns:a16="http://schemas.microsoft.com/office/drawing/2014/main" id="{72075D13-7269-4602-846C-2DE0FA8F9E6C}"/>
              </a:ext>
            </a:extLst>
          </p:cNvPr>
          <p:cNvPicPr>
            <a:picLocks/>
          </p:cNvPicPr>
          <p:nvPr/>
        </p:nvPicPr>
        <p:blipFill rotWithShape="1">
          <a:blip r:embed="rId7" cstate="print">
            <a:extLst>
              <a:ext uri="{28A0092B-C50C-407E-A947-70E740481C1C}">
                <a14:useLocalDpi xmlns:a14="http://schemas.microsoft.com/office/drawing/2010/main"/>
              </a:ext>
            </a:extLst>
          </a:blip>
          <a:srcRect l="32159" t="2183" r="8171" b="6993"/>
          <a:stretch/>
        </p:blipFill>
        <p:spPr>
          <a:xfrm>
            <a:off x="8129774" y="3149044"/>
            <a:ext cx="1770064" cy="1566177"/>
          </a:xfrm>
          <a:prstGeom prst="rect">
            <a:avLst/>
          </a:prstGeom>
        </p:spPr>
      </p:pic>
      <p:pic>
        <p:nvPicPr>
          <p:cNvPr id="85" name="Grafik 84">
            <a:extLst>
              <a:ext uri="{FF2B5EF4-FFF2-40B4-BE49-F238E27FC236}">
                <a16:creationId xmlns:a16="http://schemas.microsoft.com/office/drawing/2014/main" id="{72BE6C23-0F8A-4185-81F6-33B2AB8DEB41}"/>
              </a:ext>
            </a:extLst>
          </p:cNvPr>
          <p:cNvPicPr>
            <a:picLocks/>
          </p:cNvPicPr>
          <p:nvPr/>
        </p:nvPicPr>
        <p:blipFill rotWithShape="1">
          <a:blip r:embed="rId8" cstate="print">
            <a:extLst>
              <a:ext uri="{28A0092B-C50C-407E-A947-70E740481C1C}">
                <a14:useLocalDpi xmlns:a14="http://schemas.microsoft.com/office/drawing/2010/main"/>
              </a:ext>
            </a:extLst>
          </a:blip>
          <a:srcRect t="8268" r="40330" b="794"/>
          <a:stretch/>
        </p:blipFill>
        <p:spPr>
          <a:xfrm>
            <a:off x="8129774" y="1424644"/>
            <a:ext cx="1770064" cy="1568140"/>
          </a:xfrm>
          <a:prstGeom prst="rect">
            <a:avLst/>
          </a:prstGeom>
        </p:spPr>
      </p:pic>
      <p:pic>
        <p:nvPicPr>
          <p:cNvPr id="86" name="Grafik 85">
            <a:extLst>
              <a:ext uri="{FF2B5EF4-FFF2-40B4-BE49-F238E27FC236}">
                <a16:creationId xmlns:a16="http://schemas.microsoft.com/office/drawing/2014/main" id="{EAF1E974-BD30-4DF5-AA6F-7673440308FB}"/>
              </a:ext>
            </a:extLst>
          </p:cNvPr>
          <p:cNvPicPr>
            <a:picLocks/>
          </p:cNvPicPr>
          <p:nvPr/>
        </p:nvPicPr>
        <p:blipFill rotWithShape="1">
          <a:blip r:embed="rId9" cstate="print">
            <a:extLst>
              <a:ext uri="{28A0092B-C50C-407E-A947-70E740481C1C}">
                <a14:useLocalDpi xmlns:a14="http://schemas.microsoft.com/office/drawing/2010/main"/>
              </a:ext>
            </a:extLst>
          </a:blip>
          <a:srcRect l="10629" t="8747" r="30093"/>
          <a:stretch/>
        </p:blipFill>
        <p:spPr>
          <a:xfrm>
            <a:off x="8129774" y="4866057"/>
            <a:ext cx="1758431" cy="1573564"/>
          </a:xfrm>
          <a:prstGeom prst="rect">
            <a:avLst/>
          </a:prstGeom>
        </p:spPr>
      </p:pic>
      <p:pic>
        <p:nvPicPr>
          <p:cNvPr id="87" name="Grafik 86">
            <a:extLst>
              <a:ext uri="{FF2B5EF4-FFF2-40B4-BE49-F238E27FC236}">
                <a16:creationId xmlns:a16="http://schemas.microsoft.com/office/drawing/2014/main" id="{454E378E-8E03-4D47-8292-63397F5A4187}"/>
              </a:ext>
            </a:extLst>
          </p:cNvPr>
          <p:cNvPicPr>
            <a:picLocks/>
          </p:cNvPicPr>
          <p:nvPr/>
        </p:nvPicPr>
        <p:blipFill rotWithShape="1">
          <a:blip r:embed="rId10" cstate="print">
            <a:extLst>
              <a:ext uri="{28A0092B-C50C-407E-A947-70E740481C1C}">
                <a14:useLocalDpi xmlns:a14="http://schemas.microsoft.com/office/drawing/2010/main"/>
              </a:ext>
            </a:extLst>
          </a:blip>
          <a:srcRect l="31049" t="4783" r="9280" b="4392"/>
          <a:stretch/>
        </p:blipFill>
        <p:spPr>
          <a:xfrm>
            <a:off x="10012399" y="3142348"/>
            <a:ext cx="1770063" cy="1566177"/>
          </a:xfrm>
          <a:prstGeom prst="rect">
            <a:avLst/>
          </a:prstGeom>
        </p:spPr>
      </p:pic>
      <p:pic>
        <p:nvPicPr>
          <p:cNvPr id="88" name="Grafik 87">
            <a:extLst>
              <a:ext uri="{FF2B5EF4-FFF2-40B4-BE49-F238E27FC236}">
                <a16:creationId xmlns:a16="http://schemas.microsoft.com/office/drawing/2014/main" id="{91A0C654-3FED-47D1-AEE5-276FD0CA138B}"/>
              </a:ext>
            </a:extLst>
          </p:cNvPr>
          <p:cNvPicPr>
            <a:picLocks/>
          </p:cNvPicPr>
          <p:nvPr/>
        </p:nvPicPr>
        <p:blipFill rotWithShape="1">
          <a:blip r:embed="rId11" cstate="print">
            <a:extLst>
              <a:ext uri="{28A0092B-C50C-407E-A947-70E740481C1C}">
                <a14:useLocalDpi xmlns:a14="http://schemas.microsoft.com/office/drawing/2010/main"/>
              </a:ext>
            </a:extLst>
          </a:blip>
          <a:srcRect l="11909" t="8101" r="28420"/>
          <a:stretch/>
        </p:blipFill>
        <p:spPr>
          <a:xfrm>
            <a:off x="10012399" y="4854915"/>
            <a:ext cx="1770064" cy="1584706"/>
          </a:xfrm>
          <a:prstGeom prst="rect">
            <a:avLst/>
          </a:prstGeom>
        </p:spPr>
      </p:pic>
      <p:pic>
        <p:nvPicPr>
          <p:cNvPr id="89" name="Grafik 88">
            <a:extLst>
              <a:ext uri="{FF2B5EF4-FFF2-40B4-BE49-F238E27FC236}">
                <a16:creationId xmlns:a16="http://schemas.microsoft.com/office/drawing/2014/main" id="{AB34E39B-548A-4BB5-A0F1-076CD91193EF}"/>
              </a:ext>
            </a:extLst>
          </p:cNvPr>
          <p:cNvPicPr>
            <a:picLocks/>
          </p:cNvPicPr>
          <p:nvPr/>
        </p:nvPicPr>
        <p:blipFill rotWithShape="1">
          <a:blip r:embed="rId12" cstate="print">
            <a:extLst>
              <a:ext uri="{28A0092B-C50C-407E-A947-70E740481C1C}">
                <a14:useLocalDpi xmlns:a14="http://schemas.microsoft.com/office/drawing/2010/main"/>
              </a:ext>
            </a:extLst>
          </a:blip>
          <a:srcRect l="11249" t="-295" r="29080" b="9062"/>
          <a:stretch/>
        </p:blipFill>
        <p:spPr>
          <a:xfrm>
            <a:off x="10012399" y="1412875"/>
            <a:ext cx="1770064" cy="1573213"/>
          </a:xfrm>
          <a:prstGeom prst="rect">
            <a:avLst/>
          </a:prstGeom>
        </p:spPr>
      </p:pic>
      <p:sp>
        <p:nvSpPr>
          <p:cNvPr id="90" name="Rechteck 89">
            <a:extLst>
              <a:ext uri="{FF2B5EF4-FFF2-40B4-BE49-F238E27FC236}">
                <a16:creationId xmlns:a16="http://schemas.microsoft.com/office/drawing/2014/main" id="{487177A5-DBDA-44DC-99F7-C60D510ADCAF}"/>
              </a:ext>
            </a:extLst>
          </p:cNvPr>
          <p:cNvSpPr/>
          <p:nvPr/>
        </p:nvSpPr>
        <p:spPr>
          <a:xfrm>
            <a:off x="6187967" y="1424643"/>
            <a:ext cx="1797239" cy="7478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lvl="0" algn="ctr">
              <a:defRPr/>
            </a:pPr>
            <a:r>
              <a:rPr lang="en-US" sz="1600" b="1">
                <a:solidFill>
                  <a:prstClr val="white"/>
                </a:solidFill>
              </a:rPr>
              <a:t>7 restaurants operated in-house</a:t>
            </a:r>
          </a:p>
        </p:txBody>
      </p:sp>
      <p:sp>
        <p:nvSpPr>
          <p:cNvPr id="91" name="Rechteck 90">
            <a:extLst>
              <a:ext uri="{FF2B5EF4-FFF2-40B4-BE49-F238E27FC236}">
                <a16:creationId xmlns:a16="http://schemas.microsoft.com/office/drawing/2014/main" id="{EAD3AE86-DBE9-4B89-97CD-6FCC27B0EE1D}"/>
              </a:ext>
            </a:extLst>
          </p:cNvPr>
          <p:cNvSpPr/>
          <p:nvPr/>
        </p:nvSpPr>
        <p:spPr>
          <a:xfrm>
            <a:off x="6169305" y="2238273"/>
            <a:ext cx="1815901" cy="7478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algn="ctr">
              <a:defRPr/>
            </a:pPr>
            <a:r>
              <a:rPr lang="en-US" sz="1600" b="1">
                <a:solidFill>
                  <a:prstClr val="white"/>
                </a:solidFill>
              </a:rPr>
              <a:t>7,500 customers per day</a:t>
            </a:r>
          </a:p>
        </p:txBody>
      </p:sp>
      <p:sp>
        <p:nvSpPr>
          <p:cNvPr id="95" name="Rechteck 94">
            <a:extLst>
              <a:ext uri="{FF2B5EF4-FFF2-40B4-BE49-F238E27FC236}">
                <a16:creationId xmlns:a16="http://schemas.microsoft.com/office/drawing/2014/main" id="{267E67D0-485C-4A0D-B7FE-E2AC6BDC4761}"/>
              </a:ext>
            </a:extLst>
          </p:cNvPr>
          <p:cNvSpPr/>
          <p:nvPr/>
        </p:nvSpPr>
        <p:spPr>
          <a:xfrm>
            <a:off x="6187967" y="3152090"/>
            <a:ext cx="1797239" cy="7478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lvl="0" algn="ctr">
              <a:defRPr/>
            </a:pPr>
            <a:r>
              <a:rPr lang="en-US" sz="1600" b="1">
                <a:solidFill>
                  <a:prstClr val="white"/>
                </a:solidFill>
              </a:rPr>
              <a:t>200 employees</a:t>
            </a:r>
          </a:p>
        </p:txBody>
      </p:sp>
      <p:sp>
        <p:nvSpPr>
          <p:cNvPr id="96" name="Rechteck 95">
            <a:extLst>
              <a:ext uri="{FF2B5EF4-FFF2-40B4-BE49-F238E27FC236}">
                <a16:creationId xmlns:a16="http://schemas.microsoft.com/office/drawing/2014/main" id="{92B4741F-9D1D-4F1A-AD23-5F79C527A40F}"/>
              </a:ext>
            </a:extLst>
          </p:cNvPr>
          <p:cNvSpPr/>
          <p:nvPr/>
        </p:nvSpPr>
        <p:spPr>
          <a:xfrm>
            <a:off x="6169305" y="3965720"/>
            <a:ext cx="1815901" cy="7478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algn="ctr">
              <a:defRPr/>
            </a:pPr>
            <a:r>
              <a:rPr lang="en-US" sz="1600" b="1">
                <a:solidFill>
                  <a:prstClr val="white"/>
                </a:solidFill>
              </a:rPr>
              <a:t>2,000 seats</a:t>
            </a:r>
          </a:p>
        </p:txBody>
      </p:sp>
      <p:sp>
        <p:nvSpPr>
          <p:cNvPr id="97" name="Rechteck 96">
            <a:extLst>
              <a:ext uri="{FF2B5EF4-FFF2-40B4-BE49-F238E27FC236}">
                <a16:creationId xmlns:a16="http://schemas.microsoft.com/office/drawing/2014/main" id="{D7A33D53-5AFB-4F8F-90B6-3E2089D8FFE2}"/>
              </a:ext>
            </a:extLst>
          </p:cNvPr>
          <p:cNvSpPr/>
          <p:nvPr/>
        </p:nvSpPr>
        <p:spPr>
          <a:xfrm>
            <a:off x="6167527" y="4836922"/>
            <a:ext cx="1817679" cy="906937"/>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lvl="0" algn="ctr">
              <a:defRPr/>
            </a:pPr>
            <a:r>
              <a:rPr lang="en-US" sz="1600" b="1">
                <a:solidFill>
                  <a:prstClr val="white"/>
                </a:solidFill>
              </a:rPr>
              <a:t>5,000 entrees per day</a:t>
            </a:r>
          </a:p>
        </p:txBody>
      </p:sp>
      <p:sp>
        <p:nvSpPr>
          <p:cNvPr id="98" name="Rechteck 97">
            <a:extLst>
              <a:ext uri="{FF2B5EF4-FFF2-40B4-BE49-F238E27FC236}">
                <a16:creationId xmlns:a16="http://schemas.microsoft.com/office/drawing/2014/main" id="{E13DC114-301A-4D10-9B46-AFBA6B6CEDE0}"/>
              </a:ext>
            </a:extLst>
          </p:cNvPr>
          <p:cNvSpPr/>
          <p:nvPr/>
        </p:nvSpPr>
        <p:spPr>
          <a:xfrm>
            <a:off x="6167526" y="5831812"/>
            <a:ext cx="1817680" cy="60098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0000" tIns="36000" rIns="36000" bIns="36000" rtlCol="0" anchor="ctr" anchorCtr="0"/>
          <a:lstStyle/>
          <a:p>
            <a:pPr algn="ctr">
              <a:defRPr/>
            </a:pPr>
            <a:r>
              <a:rPr lang="en-US" sz="1600" b="1">
                <a:solidFill>
                  <a:prstClr val="white"/>
                </a:solidFill>
              </a:rPr>
              <a:t>7 million in revenue</a:t>
            </a:r>
          </a:p>
        </p:txBody>
      </p:sp>
      <p:pic>
        <p:nvPicPr>
          <p:cNvPr id="112" name="Picture 6" descr="Bildergebnis fÃ¼r bmw 3er gt">
            <a:extLst>
              <a:ext uri="{FF2B5EF4-FFF2-40B4-BE49-F238E27FC236}">
                <a16:creationId xmlns:a16="http://schemas.microsoft.com/office/drawing/2014/main" id="{6E0A69D2-A624-429E-9CD3-1C35A65A5CCD}"/>
              </a:ext>
            </a:extLst>
          </p:cNvPr>
          <p:cNvPicPr>
            <a:picLocks noChangeArrowheads="1"/>
          </p:cNvPicPr>
          <p:nvPr/>
        </p:nvPicPr>
        <p:blipFill rotWithShape="1">
          <a:blip r:embed="rId4">
            <a:extLst>
              <a:ext uri="{28A0092B-C50C-407E-A947-70E740481C1C}">
                <a14:useLocalDpi xmlns:a14="http://schemas.microsoft.com/office/drawing/2010/main"/>
              </a:ext>
            </a:extLst>
          </a:blip>
          <a:srcRect l="75432" r="7821"/>
          <a:stretch/>
        </p:blipFill>
        <p:spPr bwMode="auto">
          <a:xfrm>
            <a:off x="431800" y="1412875"/>
            <a:ext cx="1768475" cy="5018400"/>
          </a:xfrm>
          <a:prstGeom prst="rect">
            <a:avLst/>
          </a:prstGeom>
          <a:noFill/>
          <a:extLst>
            <a:ext uri="{909E8E84-426E-40DD-AFC4-6F175D3DCCD1}">
              <a14:hiddenFill xmlns:a14="http://schemas.microsoft.com/office/drawing/2010/main">
                <a:solidFill>
                  <a:srgbClr val="FFFFFF"/>
                </a:solidFill>
              </a14:hiddenFill>
            </a:ext>
          </a:extLst>
        </p:spPr>
      </p:pic>
      <p:sp>
        <p:nvSpPr>
          <p:cNvPr id="128" name="Titel 2">
            <a:extLst>
              <a:ext uri="{FF2B5EF4-FFF2-40B4-BE49-F238E27FC236}">
                <a16:creationId xmlns:a16="http://schemas.microsoft.com/office/drawing/2014/main" id="{73C53731-C9E9-4BD1-A791-54A5C944E465}"/>
              </a:ext>
            </a:extLst>
          </p:cNvPr>
          <p:cNvSpPr>
            <a:spLocks noGrp="1"/>
          </p:cNvSpPr>
          <p:nvPr>
            <p:ph type="title"/>
          </p:nvPr>
        </p:nvSpPr>
        <p:spPr>
          <a:xfrm>
            <a:off x="431800" y="428625"/>
            <a:ext cx="11325225" cy="335046"/>
          </a:xfrm>
        </p:spPr>
        <p:txBody>
          <a:bodyPr/>
          <a:lstStyle/>
          <a:p>
            <a:r>
              <a:rPr lang="en-US" dirty="0"/>
              <a:t>Schwarz central service</a:t>
            </a:r>
          </a:p>
        </p:txBody>
      </p:sp>
      <p:sp>
        <p:nvSpPr>
          <p:cNvPr id="38" name="Rechteck 37">
            <a:extLst>
              <a:ext uri="{FF2B5EF4-FFF2-40B4-BE49-F238E27FC236}">
                <a16:creationId xmlns:a16="http://schemas.microsoft.com/office/drawing/2014/main" id="{4649DDF4-08D2-434E-A92A-83B55E627E84}"/>
              </a:ext>
            </a:extLst>
          </p:cNvPr>
          <p:cNvSpPr/>
          <p:nvPr/>
        </p:nvSpPr>
        <p:spPr bwMode="gray">
          <a:xfrm>
            <a:off x="430352" y="1412287"/>
            <a:ext cx="1769923" cy="5018399"/>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spTree>
    <p:extLst>
      <p:ext uri="{BB962C8B-B14F-4D97-AF65-F5344CB8AC3E}">
        <p14:creationId xmlns:p14="http://schemas.microsoft.com/office/powerpoint/2010/main" val="1422297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ntertitel 9">
            <a:extLst>
              <a:ext uri="{FF2B5EF4-FFF2-40B4-BE49-F238E27FC236}">
                <a16:creationId xmlns:a16="http://schemas.microsoft.com/office/drawing/2014/main" id="{4976D37A-1A34-495A-A5AD-9C729B6B0A8C}"/>
              </a:ext>
            </a:extLst>
          </p:cNvPr>
          <p:cNvSpPr>
            <a:spLocks noGrp="1"/>
          </p:cNvSpPr>
          <p:nvPr>
            <p:ph type="subTitle" idx="1"/>
          </p:nvPr>
        </p:nvSpPr>
        <p:spPr/>
        <p:txBody>
          <a:bodyPr/>
          <a:lstStyle/>
          <a:p>
            <a:r>
              <a:rPr lang="en-US"/>
              <a:t>SCHWARZ IT KG</a:t>
            </a:r>
          </a:p>
        </p:txBody>
      </p:sp>
    </p:spTree>
    <p:extLst>
      <p:ext uri="{BB962C8B-B14F-4D97-AF65-F5344CB8AC3E}">
        <p14:creationId xmlns:p14="http://schemas.microsoft.com/office/powerpoint/2010/main" val="305249995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a:blip r:embed="rId3"/>
          <a:stretch>
            <a:fillRect/>
          </a:stretch>
        </p:blipFill>
        <p:spPr>
          <a:xfrm rot="21259389">
            <a:off x="1885568" y="1571572"/>
            <a:ext cx="1543556" cy="1150057"/>
          </a:xfrm>
          <a:prstGeom prst="rect">
            <a:avLst/>
          </a:prstGeom>
        </p:spPr>
      </p:pic>
      <p:sp>
        <p:nvSpPr>
          <p:cNvPr id="11" name="Gleichschenkliges Dreieck 10"/>
          <p:cNvSpPr/>
          <p:nvPr/>
        </p:nvSpPr>
        <p:spPr>
          <a:xfrm rot="19666714">
            <a:off x="3317333" y="79972"/>
            <a:ext cx="590926" cy="689642"/>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de-DE" sz="1800">
              <a:solidFill>
                <a:prstClr val="white"/>
              </a:solidFill>
            </a:endParaRPr>
          </a:p>
        </p:txBody>
      </p:sp>
      <p:pic>
        <p:nvPicPr>
          <p:cNvPr id="18" name="Grafik 17"/>
          <p:cNvPicPr>
            <a:picLocks noChangeAspect="1"/>
          </p:cNvPicPr>
          <p:nvPr/>
        </p:nvPicPr>
        <p:blipFill>
          <a:blip r:embed="rId4"/>
          <a:stretch>
            <a:fillRect/>
          </a:stretch>
        </p:blipFill>
        <p:spPr>
          <a:xfrm rot="494314">
            <a:off x="282627" y="4883675"/>
            <a:ext cx="906520" cy="816261"/>
          </a:xfrm>
          <a:prstGeom prst="rect">
            <a:avLst/>
          </a:prstGeom>
        </p:spPr>
      </p:pic>
      <p:pic>
        <p:nvPicPr>
          <p:cNvPr id="19" name="Grafik 18"/>
          <p:cNvPicPr>
            <a:picLocks noChangeAspect="1"/>
          </p:cNvPicPr>
          <p:nvPr/>
        </p:nvPicPr>
        <p:blipFill>
          <a:blip r:embed="rId5"/>
          <a:stretch>
            <a:fillRect/>
          </a:stretch>
        </p:blipFill>
        <p:spPr>
          <a:xfrm rot="297630">
            <a:off x="861913" y="5901442"/>
            <a:ext cx="717212" cy="435856"/>
          </a:xfrm>
          <a:prstGeom prst="rect">
            <a:avLst/>
          </a:prstGeom>
        </p:spPr>
      </p:pic>
      <p:pic>
        <p:nvPicPr>
          <p:cNvPr id="84" name="Grafik 83"/>
          <p:cNvPicPr>
            <a:picLocks noChangeAspect="1"/>
          </p:cNvPicPr>
          <p:nvPr/>
        </p:nvPicPr>
        <p:blipFill>
          <a:blip r:embed="rId6"/>
          <a:stretch>
            <a:fillRect/>
          </a:stretch>
        </p:blipFill>
        <p:spPr>
          <a:xfrm>
            <a:off x="4050133" y="1592554"/>
            <a:ext cx="1368861" cy="522191"/>
          </a:xfrm>
          <a:prstGeom prst="rect">
            <a:avLst/>
          </a:prstGeom>
          <a:ln w="9525" cap="sq">
            <a:noFill/>
            <a:prstDash val="solid"/>
            <a:miter lim="800000"/>
          </a:ln>
          <a:effectLst/>
        </p:spPr>
      </p:pic>
      <p:sp>
        <p:nvSpPr>
          <p:cNvPr id="38" name="Ellipse 37"/>
          <p:cNvSpPr/>
          <p:nvPr/>
        </p:nvSpPr>
        <p:spPr>
          <a:xfrm>
            <a:off x="4308664" y="3638503"/>
            <a:ext cx="619257" cy="241468"/>
          </a:xfrm>
          <a:prstGeom prst="ellipse">
            <a:avLst/>
          </a:prstGeom>
          <a:noFill/>
          <a:ln w="28575" cap="flat" cmpd="sng" algn="ctr">
            <a:solidFill>
              <a:srgbClr val="791F82"/>
            </a:solidFill>
            <a:prstDash val="solid"/>
          </a:ln>
          <a:effectLst/>
        </p:spPr>
        <p:txBody>
          <a:bodyPr rtlCol="0" anchor="ctr"/>
          <a:lstStyle/>
          <a:p>
            <a:pPr algn="ctr" defTabSz="914309">
              <a:defRPr/>
            </a:pPr>
            <a:endParaRPr lang="de-DE" sz="1800" kern="0">
              <a:solidFill>
                <a:prstClr val="white"/>
              </a:solidFill>
            </a:endParaRPr>
          </a:p>
        </p:txBody>
      </p:sp>
      <p:sp>
        <p:nvSpPr>
          <p:cNvPr id="39" name="Träne 38"/>
          <p:cNvSpPr/>
          <p:nvPr/>
        </p:nvSpPr>
        <p:spPr>
          <a:xfrm rot="8154939">
            <a:off x="3967872" y="2208334"/>
            <a:ext cx="1423889" cy="1298728"/>
          </a:xfrm>
          <a:prstGeom prst="teardrop">
            <a:avLst>
              <a:gd name="adj" fmla="val 91149"/>
            </a:avLst>
          </a:prstGeom>
          <a:solidFill>
            <a:srgbClr val="791F82"/>
          </a:solidFill>
          <a:ln w="25400" cap="flat" cmpd="sng" algn="ctr">
            <a:noFill/>
            <a:prstDash val="solid"/>
          </a:ln>
          <a:effectLst>
            <a:outerShdw blurRad="50800" dist="38100" algn="l" rotWithShape="0">
              <a:prstClr val="black">
                <a:alpha val="40000"/>
              </a:prstClr>
            </a:outerShdw>
          </a:effectLst>
        </p:spPr>
        <p:txBody>
          <a:bodyPr rtlCol="0" anchor="ctr"/>
          <a:lstStyle/>
          <a:p>
            <a:pPr algn="ctr" defTabSz="914309"/>
            <a:endParaRPr lang="de-DE" sz="1800" kern="0">
              <a:solidFill>
                <a:prstClr val="white"/>
              </a:solidFill>
            </a:endParaRPr>
          </a:p>
        </p:txBody>
      </p:sp>
      <p:sp>
        <p:nvSpPr>
          <p:cNvPr id="52" name="Textfeld 51"/>
          <p:cNvSpPr txBox="1"/>
          <p:nvPr/>
        </p:nvSpPr>
        <p:spPr bwMode="gray">
          <a:xfrm>
            <a:off x="4143800" y="2405125"/>
            <a:ext cx="1063655" cy="334187"/>
          </a:xfrm>
          <a:prstGeom prst="rect">
            <a:avLst/>
          </a:prstGeom>
          <a:noFill/>
        </p:spPr>
        <p:txBody>
          <a:bodyPr wrap="square" lIns="0" tIns="0" rIns="0" bIns="0" rtlCol="0">
            <a:noAutofit/>
          </a:bodyPr>
          <a:lstStyle/>
          <a:p>
            <a:pPr algn="ctr" defTabSz="914309">
              <a:defRPr/>
            </a:pPr>
            <a:r>
              <a:rPr lang="de-DE" sz="2000" b="1" kern="0">
                <a:solidFill>
                  <a:prstClr val="white"/>
                </a:solidFill>
              </a:rPr>
              <a:t>SIT GmbH &amp; Co.KG</a:t>
            </a:r>
          </a:p>
        </p:txBody>
      </p:sp>
      <p:pic>
        <p:nvPicPr>
          <p:cNvPr id="14" name="Grafik 13"/>
          <p:cNvPicPr>
            <a:picLocks noChangeAspect="1"/>
          </p:cNvPicPr>
          <p:nvPr/>
        </p:nvPicPr>
        <p:blipFill>
          <a:blip r:embed="rId7"/>
          <a:stretch>
            <a:fillRect/>
          </a:stretch>
        </p:blipFill>
        <p:spPr>
          <a:xfrm rot="272562">
            <a:off x="8423636" y="4833606"/>
            <a:ext cx="1964218" cy="1290569"/>
          </a:xfrm>
          <a:prstGeom prst="rect">
            <a:avLst/>
          </a:prstGeom>
        </p:spPr>
      </p:pic>
      <p:sp>
        <p:nvSpPr>
          <p:cNvPr id="33" name="Ellipse 32"/>
          <p:cNvSpPr/>
          <p:nvPr/>
        </p:nvSpPr>
        <p:spPr>
          <a:xfrm>
            <a:off x="921624" y="2562507"/>
            <a:ext cx="470345" cy="207540"/>
          </a:xfrm>
          <a:prstGeom prst="ellipse">
            <a:avLst/>
          </a:prstGeom>
          <a:noFill/>
          <a:ln w="28575" cap="flat" cmpd="sng" algn="ctr">
            <a:solidFill>
              <a:srgbClr val="791F82"/>
            </a:solidFill>
            <a:prstDash val="solid"/>
          </a:ln>
          <a:effectLst>
            <a:innerShdw blurRad="63500" dist="50800" dir="2700000">
              <a:prstClr val="black">
                <a:alpha val="50000"/>
              </a:prstClr>
            </a:innerShdw>
          </a:effectLst>
        </p:spPr>
        <p:txBody>
          <a:bodyPr rtlCol="0" anchor="ctr"/>
          <a:lstStyle/>
          <a:p>
            <a:pPr algn="ctr" defTabSz="914309"/>
            <a:endParaRPr lang="de-DE" sz="1800" kern="0">
              <a:solidFill>
                <a:prstClr val="white"/>
              </a:solidFill>
            </a:endParaRPr>
          </a:p>
        </p:txBody>
      </p:sp>
      <p:sp>
        <p:nvSpPr>
          <p:cNvPr id="34" name="Freihandform 33"/>
          <p:cNvSpPr/>
          <p:nvPr/>
        </p:nvSpPr>
        <p:spPr>
          <a:xfrm rot="21054605">
            <a:off x="2187224" y="3905566"/>
            <a:ext cx="1674218" cy="451696"/>
          </a:xfrm>
          <a:custGeom>
            <a:avLst/>
            <a:gdLst>
              <a:gd name="connsiteX0" fmla="*/ 0 w 1866900"/>
              <a:gd name="connsiteY0" fmla="*/ 662940 h 969636"/>
              <a:gd name="connsiteX1" fmla="*/ 784860 w 1866900"/>
              <a:gd name="connsiteY1" fmla="*/ 937260 h 969636"/>
              <a:gd name="connsiteX2" fmla="*/ 1866900 w 1866900"/>
              <a:gd name="connsiteY2" fmla="*/ 0 h 969636"/>
            </a:gdLst>
            <a:ahLst/>
            <a:cxnLst>
              <a:cxn ang="0">
                <a:pos x="connsiteX0" y="connsiteY0"/>
              </a:cxn>
              <a:cxn ang="0">
                <a:pos x="connsiteX1" y="connsiteY1"/>
              </a:cxn>
              <a:cxn ang="0">
                <a:pos x="connsiteX2" y="connsiteY2"/>
              </a:cxn>
            </a:cxnLst>
            <a:rect l="l" t="t" r="r" b="b"/>
            <a:pathLst>
              <a:path w="1866900" h="969636">
                <a:moveTo>
                  <a:pt x="0" y="662940"/>
                </a:moveTo>
                <a:cubicBezTo>
                  <a:pt x="236855" y="855345"/>
                  <a:pt x="473710" y="1047750"/>
                  <a:pt x="784860" y="937260"/>
                </a:cubicBezTo>
                <a:cubicBezTo>
                  <a:pt x="1096010" y="826770"/>
                  <a:pt x="1481455" y="413385"/>
                  <a:pt x="1866900" y="0"/>
                </a:cubicBezTo>
              </a:path>
            </a:pathLst>
          </a:custGeom>
          <a:noFill/>
          <a:ln w="28575" cap="flat" cmpd="sng" algn="ctr">
            <a:solidFill>
              <a:sysClr val="window" lastClr="FFFFFF">
                <a:lumMod val="65000"/>
              </a:sysClr>
            </a:solidFill>
            <a:prstDash val="solid"/>
            <a:headEnd type="none" w="med" len="med"/>
            <a:tailEnd type="arrow" w="med" len="med"/>
          </a:ln>
          <a:effectLst/>
        </p:spPr>
        <p:txBody>
          <a:bodyPr rtlCol="0" anchor="ctr"/>
          <a:lstStyle/>
          <a:p>
            <a:pPr algn="ctr" defTabSz="914309">
              <a:defRPr/>
            </a:pPr>
            <a:endParaRPr lang="de-DE" sz="1800" kern="0">
              <a:solidFill>
                <a:prstClr val="white"/>
              </a:solidFill>
            </a:endParaRPr>
          </a:p>
        </p:txBody>
      </p:sp>
      <p:grpSp>
        <p:nvGrpSpPr>
          <p:cNvPr id="7" name="Gruppieren 6"/>
          <p:cNvGrpSpPr/>
          <p:nvPr/>
        </p:nvGrpSpPr>
        <p:grpSpPr>
          <a:xfrm>
            <a:off x="6410892" y="651116"/>
            <a:ext cx="1821323" cy="1818236"/>
            <a:chOff x="12335871" y="319639"/>
            <a:chExt cx="5743637" cy="5743637"/>
          </a:xfrm>
          <a:solidFill>
            <a:srgbClr val="5C5C5C"/>
          </a:solidFill>
        </p:grpSpPr>
        <p:pic>
          <p:nvPicPr>
            <p:cNvPr id="5" name="Grafik 4"/>
            <p:cNvPicPr>
              <a:picLocks noChangeAspect="1"/>
            </p:cNvPicPr>
            <p:nvPr/>
          </p:nvPicPr>
          <p:blipFill>
            <a:blip r:embed="rId8" cstate="print">
              <a:grayscl/>
              <a:extLst>
                <a:ext uri="{28A0092B-C50C-407E-A947-70E740481C1C}">
                  <a14:useLocalDpi xmlns:a14="http://schemas.microsoft.com/office/drawing/2010/main" val="0"/>
                </a:ext>
              </a:extLst>
            </a:blip>
            <a:stretch>
              <a:fillRect/>
            </a:stretch>
          </p:blipFill>
          <p:spPr>
            <a:xfrm>
              <a:off x="12335871" y="319639"/>
              <a:ext cx="5743637" cy="5743637"/>
            </a:xfrm>
            <a:prstGeom prst="rect">
              <a:avLst/>
            </a:prstGeom>
            <a:grpFill/>
          </p:spPr>
        </p:pic>
        <p:sp>
          <p:nvSpPr>
            <p:cNvPr id="6" name="Rechteck 5"/>
            <p:cNvSpPr/>
            <p:nvPr/>
          </p:nvSpPr>
          <p:spPr bwMode="gray">
            <a:xfrm rot="21018913">
              <a:off x="13252169" y="2352844"/>
              <a:ext cx="4145248" cy="217977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dirty="0"/>
                <a:t>Governance &amp; </a:t>
              </a:r>
            </a:p>
            <a:p>
              <a:pPr algn="ctr"/>
              <a:r>
                <a:rPr lang="de-DE" sz="1400" dirty="0"/>
                <a:t>IT Architektur</a:t>
              </a:r>
            </a:p>
          </p:txBody>
        </p:sp>
      </p:grpSp>
      <p:sp>
        <p:nvSpPr>
          <p:cNvPr id="35" name="Ellipse 34"/>
          <p:cNvSpPr/>
          <p:nvPr/>
        </p:nvSpPr>
        <p:spPr>
          <a:xfrm>
            <a:off x="1441983" y="4925229"/>
            <a:ext cx="619257" cy="240293"/>
          </a:xfrm>
          <a:prstGeom prst="ellipse">
            <a:avLst/>
          </a:prstGeom>
          <a:noFill/>
          <a:ln w="28575" cap="flat" cmpd="sng" algn="ctr">
            <a:solidFill>
              <a:srgbClr val="791F82"/>
            </a:solidFill>
            <a:prstDash val="solid"/>
          </a:ln>
          <a:effectLst/>
        </p:spPr>
        <p:txBody>
          <a:bodyPr rtlCol="0" anchor="ctr"/>
          <a:lstStyle/>
          <a:p>
            <a:pPr algn="ctr" defTabSz="914309">
              <a:defRPr/>
            </a:pPr>
            <a:endParaRPr lang="de-DE" sz="1800" kern="0">
              <a:solidFill>
                <a:prstClr val="white"/>
              </a:solidFill>
            </a:endParaRPr>
          </a:p>
        </p:txBody>
      </p:sp>
      <p:sp>
        <p:nvSpPr>
          <p:cNvPr id="36" name="Träne 35"/>
          <p:cNvSpPr/>
          <p:nvPr/>
        </p:nvSpPr>
        <p:spPr>
          <a:xfrm rot="8028675">
            <a:off x="1291782" y="3925645"/>
            <a:ext cx="823637" cy="879230"/>
          </a:xfrm>
          <a:prstGeom prst="teardrop">
            <a:avLst>
              <a:gd name="adj" fmla="val 125315"/>
            </a:avLst>
          </a:prstGeom>
          <a:solidFill>
            <a:srgbClr val="791F82"/>
          </a:solidFill>
          <a:ln w="25400" cap="flat" cmpd="sng" algn="ctr">
            <a:noFill/>
            <a:prstDash val="solid"/>
          </a:ln>
          <a:effectLst>
            <a:outerShdw blurRad="50800" dist="38100" algn="l" rotWithShape="0">
              <a:prstClr val="black">
                <a:alpha val="40000"/>
              </a:prstClr>
            </a:outerShdw>
          </a:effectLst>
        </p:spPr>
        <p:txBody>
          <a:bodyPr rtlCol="0" anchor="ctr"/>
          <a:lstStyle/>
          <a:p>
            <a:pPr algn="ctr" defTabSz="914309">
              <a:defRPr/>
            </a:pPr>
            <a:endParaRPr lang="de-DE" sz="1800" kern="0">
              <a:solidFill>
                <a:prstClr val="white"/>
              </a:solidFill>
            </a:endParaRPr>
          </a:p>
        </p:txBody>
      </p:sp>
      <p:sp>
        <p:nvSpPr>
          <p:cNvPr id="40" name="Ellipse 39"/>
          <p:cNvSpPr/>
          <p:nvPr/>
        </p:nvSpPr>
        <p:spPr>
          <a:xfrm>
            <a:off x="6962592" y="4000937"/>
            <a:ext cx="526898" cy="245850"/>
          </a:xfrm>
          <a:prstGeom prst="ellipse">
            <a:avLst/>
          </a:prstGeom>
          <a:noFill/>
          <a:ln w="28575" cap="flat" cmpd="sng" algn="ctr">
            <a:solidFill>
              <a:srgbClr val="791F82"/>
            </a:solidFill>
            <a:prstDash val="solid"/>
          </a:ln>
          <a:effectLst/>
        </p:spPr>
        <p:txBody>
          <a:bodyPr rtlCol="0" anchor="ctr"/>
          <a:lstStyle/>
          <a:p>
            <a:pPr algn="ctr" defTabSz="914309">
              <a:defRPr/>
            </a:pPr>
            <a:endParaRPr lang="de-DE" sz="1800" kern="0">
              <a:solidFill>
                <a:prstClr val="white"/>
              </a:solidFill>
            </a:endParaRPr>
          </a:p>
        </p:txBody>
      </p:sp>
      <p:sp>
        <p:nvSpPr>
          <p:cNvPr id="41" name="Träne 40"/>
          <p:cNvSpPr/>
          <p:nvPr/>
        </p:nvSpPr>
        <p:spPr>
          <a:xfrm rot="8154939">
            <a:off x="6367948" y="2129616"/>
            <a:ext cx="1565562" cy="1781964"/>
          </a:xfrm>
          <a:prstGeom prst="teardrop">
            <a:avLst>
              <a:gd name="adj" fmla="val 91149"/>
            </a:avLst>
          </a:prstGeom>
          <a:solidFill>
            <a:srgbClr val="791F82"/>
          </a:solidFill>
          <a:ln w="25400" cap="flat" cmpd="sng" algn="ctr">
            <a:noFill/>
            <a:prstDash val="solid"/>
          </a:ln>
          <a:effectLst>
            <a:outerShdw blurRad="50800" dist="38100" algn="l" rotWithShape="0">
              <a:prstClr val="black">
                <a:alpha val="40000"/>
              </a:prstClr>
            </a:outerShdw>
          </a:effectLst>
        </p:spPr>
        <p:txBody>
          <a:bodyPr rtlCol="0" anchor="ctr"/>
          <a:lstStyle/>
          <a:p>
            <a:pPr algn="ctr" defTabSz="914309">
              <a:defRPr/>
            </a:pPr>
            <a:endParaRPr lang="de-DE" sz="1800" b="1" kern="0">
              <a:solidFill>
                <a:prstClr val="white"/>
              </a:solidFill>
            </a:endParaRPr>
          </a:p>
        </p:txBody>
      </p:sp>
      <p:sp>
        <p:nvSpPr>
          <p:cNvPr id="45" name="Untertitel 2"/>
          <p:cNvSpPr txBox="1">
            <a:spLocks/>
          </p:cNvSpPr>
          <p:nvPr/>
        </p:nvSpPr>
        <p:spPr>
          <a:xfrm>
            <a:off x="1302346" y="5289171"/>
            <a:ext cx="1541913" cy="3742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de-DE" b="1">
                <a:solidFill>
                  <a:srgbClr val="791F82"/>
                </a:solidFill>
              </a:rPr>
              <a:t>10/2016</a:t>
            </a:r>
          </a:p>
        </p:txBody>
      </p:sp>
      <p:sp>
        <p:nvSpPr>
          <p:cNvPr id="51" name="Textfeld 50"/>
          <p:cNvSpPr txBox="1"/>
          <p:nvPr/>
        </p:nvSpPr>
        <p:spPr bwMode="gray">
          <a:xfrm>
            <a:off x="1396850" y="4205198"/>
            <a:ext cx="825546" cy="334187"/>
          </a:xfrm>
          <a:prstGeom prst="rect">
            <a:avLst/>
          </a:prstGeom>
          <a:noFill/>
        </p:spPr>
        <p:txBody>
          <a:bodyPr wrap="square" lIns="0" tIns="0" rIns="0" bIns="0" rtlCol="0">
            <a:noAutofit/>
          </a:bodyPr>
          <a:lstStyle/>
          <a:p>
            <a:pPr defTabSz="914309">
              <a:defRPr/>
            </a:pPr>
            <a:r>
              <a:rPr lang="de-DE" sz="2000" b="1" kern="0">
                <a:solidFill>
                  <a:prstClr val="white"/>
                </a:solidFill>
              </a:rPr>
              <a:t>SBIT</a:t>
            </a:r>
          </a:p>
        </p:txBody>
      </p:sp>
      <p:sp>
        <p:nvSpPr>
          <p:cNvPr id="53" name="Textfeld 52"/>
          <p:cNvSpPr txBox="1"/>
          <p:nvPr/>
        </p:nvSpPr>
        <p:spPr bwMode="gray">
          <a:xfrm>
            <a:off x="6400323" y="2614761"/>
            <a:ext cx="1348144" cy="475715"/>
          </a:xfrm>
          <a:prstGeom prst="rect">
            <a:avLst/>
          </a:prstGeom>
          <a:noFill/>
        </p:spPr>
        <p:txBody>
          <a:bodyPr wrap="square" lIns="0" tIns="0" rIns="0" bIns="0" rtlCol="0">
            <a:noAutofit/>
          </a:bodyPr>
          <a:lstStyle/>
          <a:p>
            <a:pPr algn="ctr" defTabSz="914309">
              <a:defRPr/>
            </a:pPr>
            <a:r>
              <a:rPr lang="de-DE" sz="2000" b="1" kern="0">
                <a:solidFill>
                  <a:prstClr val="white"/>
                </a:solidFill>
              </a:rPr>
              <a:t>SIT </a:t>
            </a:r>
          </a:p>
          <a:p>
            <a:pPr algn="ctr" defTabSz="914309">
              <a:defRPr/>
            </a:pPr>
            <a:r>
              <a:rPr lang="de-DE" sz="2000" b="1" kern="0">
                <a:solidFill>
                  <a:prstClr val="white"/>
                </a:solidFill>
              </a:rPr>
              <a:t>1.5</a:t>
            </a:r>
          </a:p>
        </p:txBody>
      </p:sp>
      <p:sp>
        <p:nvSpPr>
          <p:cNvPr id="55" name="Freihandform 54"/>
          <p:cNvSpPr/>
          <p:nvPr/>
        </p:nvSpPr>
        <p:spPr>
          <a:xfrm rot="10627131" flipH="1">
            <a:off x="4977961" y="3874372"/>
            <a:ext cx="1914552" cy="282879"/>
          </a:xfrm>
          <a:custGeom>
            <a:avLst/>
            <a:gdLst>
              <a:gd name="connsiteX0" fmla="*/ 0 w 2035629"/>
              <a:gd name="connsiteY0" fmla="*/ 1395831 h 1395831"/>
              <a:gd name="connsiteX1" fmla="*/ 1360715 w 2035629"/>
              <a:gd name="connsiteY1" fmla="*/ 89545 h 1395831"/>
              <a:gd name="connsiteX2" fmla="*/ 2035629 w 2035629"/>
              <a:gd name="connsiteY2" fmla="*/ 220174 h 1395831"/>
            </a:gdLst>
            <a:ahLst/>
            <a:cxnLst>
              <a:cxn ang="0">
                <a:pos x="connsiteX0" y="connsiteY0"/>
              </a:cxn>
              <a:cxn ang="0">
                <a:pos x="connsiteX1" y="connsiteY1"/>
              </a:cxn>
              <a:cxn ang="0">
                <a:pos x="connsiteX2" y="connsiteY2"/>
              </a:cxn>
            </a:cxnLst>
            <a:rect l="l" t="t" r="r" b="b"/>
            <a:pathLst>
              <a:path w="2035629" h="1395831">
                <a:moveTo>
                  <a:pt x="0" y="1395831"/>
                </a:moveTo>
                <a:cubicBezTo>
                  <a:pt x="510722" y="840659"/>
                  <a:pt x="1021444" y="285488"/>
                  <a:pt x="1360715" y="89545"/>
                </a:cubicBezTo>
                <a:cubicBezTo>
                  <a:pt x="1699987" y="-106398"/>
                  <a:pt x="1867808" y="56888"/>
                  <a:pt x="2035629" y="220174"/>
                </a:cubicBezTo>
              </a:path>
            </a:pathLst>
          </a:custGeom>
          <a:noFill/>
          <a:ln w="28575" cap="flat" cmpd="sng" algn="ctr">
            <a:solidFill>
              <a:sysClr val="window" lastClr="FFFFFF">
                <a:lumMod val="65000"/>
              </a:sysClr>
            </a:solidFill>
            <a:prstDash val="solid"/>
            <a:headEnd type="none" w="med" len="med"/>
            <a:tailEnd type="arrow" w="med" len="med"/>
          </a:ln>
          <a:effectLst/>
        </p:spPr>
        <p:txBody>
          <a:bodyPr rtlCol="0" anchor="ctr"/>
          <a:lstStyle/>
          <a:p>
            <a:pPr algn="ctr" defTabSz="914309">
              <a:defRPr/>
            </a:pPr>
            <a:endParaRPr lang="de-DE" sz="1800" kern="0">
              <a:solidFill>
                <a:prstClr val="white"/>
              </a:solidFill>
            </a:endParaRPr>
          </a:p>
        </p:txBody>
      </p:sp>
      <p:sp>
        <p:nvSpPr>
          <p:cNvPr id="56" name="Träne 55"/>
          <p:cNvSpPr/>
          <p:nvPr/>
        </p:nvSpPr>
        <p:spPr>
          <a:xfrm rot="8600579">
            <a:off x="735788" y="1429096"/>
            <a:ext cx="878586" cy="1027013"/>
          </a:xfrm>
          <a:prstGeom prst="teardrop">
            <a:avLst>
              <a:gd name="adj" fmla="val 109452"/>
            </a:avLst>
          </a:prstGeom>
          <a:solidFill>
            <a:srgbClr val="791F82"/>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de-DE" sz="1800">
              <a:solidFill>
                <a:prstClr val="white"/>
              </a:solidFill>
            </a:endParaRPr>
          </a:p>
        </p:txBody>
      </p:sp>
      <p:sp>
        <p:nvSpPr>
          <p:cNvPr id="101" name="Gleichschenkliges Dreieck 100"/>
          <p:cNvSpPr/>
          <p:nvPr/>
        </p:nvSpPr>
        <p:spPr>
          <a:xfrm rot="9756774">
            <a:off x="10794872" y="850124"/>
            <a:ext cx="1495230" cy="220679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de-DE" sz="1800">
              <a:solidFill>
                <a:prstClr val="white"/>
              </a:solidFill>
            </a:endParaRPr>
          </a:p>
        </p:txBody>
      </p:sp>
      <p:pic>
        <p:nvPicPr>
          <p:cNvPr id="3" name="Grafik 2"/>
          <p:cNvPicPr>
            <a:picLocks noChangeAspect="1"/>
          </p:cNvPicPr>
          <p:nvPr/>
        </p:nvPicPr>
        <p:blipFill>
          <a:blip r:embed="rId9"/>
          <a:stretch>
            <a:fillRect/>
          </a:stretch>
        </p:blipFill>
        <p:spPr>
          <a:xfrm rot="21028681">
            <a:off x="7479966" y="4909323"/>
            <a:ext cx="1215780" cy="1194026"/>
          </a:xfrm>
          <a:prstGeom prst="rect">
            <a:avLst/>
          </a:prstGeom>
        </p:spPr>
      </p:pic>
      <p:pic>
        <p:nvPicPr>
          <p:cNvPr id="4" name="Grafik 3"/>
          <p:cNvPicPr>
            <a:picLocks noChangeAspect="1"/>
          </p:cNvPicPr>
          <p:nvPr/>
        </p:nvPicPr>
        <p:blipFill>
          <a:blip r:embed="rId10"/>
          <a:stretch>
            <a:fillRect/>
          </a:stretch>
        </p:blipFill>
        <p:spPr>
          <a:xfrm rot="213675">
            <a:off x="10282044" y="4850048"/>
            <a:ext cx="1137657" cy="1113789"/>
          </a:xfrm>
          <a:prstGeom prst="rect">
            <a:avLst/>
          </a:prstGeom>
        </p:spPr>
      </p:pic>
      <p:sp>
        <p:nvSpPr>
          <p:cNvPr id="8" name="Nach unten gekrümmter Pfeil 7"/>
          <p:cNvSpPr/>
          <p:nvPr/>
        </p:nvSpPr>
        <p:spPr>
          <a:xfrm rot="1285572">
            <a:off x="722426" y="5549055"/>
            <a:ext cx="569240" cy="336338"/>
          </a:xfrm>
          <a:prstGeom prst="curvedDownArrow">
            <a:avLst/>
          </a:prstGeom>
          <a:solidFill>
            <a:srgbClr val="791F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de-DE" sz="1800">
              <a:solidFill>
                <a:prstClr val="black"/>
              </a:solidFill>
            </a:endParaRPr>
          </a:p>
        </p:txBody>
      </p:sp>
      <p:sp>
        <p:nvSpPr>
          <p:cNvPr id="2" name="Gleichschenkliges Dreieck 1"/>
          <p:cNvSpPr/>
          <p:nvPr/>
        </p:nvSpPr>
        <p:spPr>
          <a:xfrm rot="10398121">
            <a:off x="11385446" y="839885"/>
            <a:ext cx="620702" cy="18306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de-DE" sz="1800">
              <a:solidFill>
                <a:prstClr val="white"/>
              </a:solidFill>
            </a:endParaRPr>
          </a:p>
        </p:txBody>
      </p:sp>
      <p:sp>
        <p:nvSpPr>
          <p:cNvPr id="13" name="Gleichschenkliges Dreieck 12"/>
          <p:cNvSpPr/>
          <p:nvPr/>
        </p:nvSpPr>
        <p:spPr>
          <a:xfrm rot="10623657">
            <a:off x="11707923" y="1265222"/>
            <a:ext cx="389373" cy="1775110"/>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de-DE" sz="1800">
              <a:solidFill>
                <a:prstClr val="white"/>
              </a:solidFill>
            </a:endParaRPr>
          </a:p>
        </p:txBody>
      </p:sp>
      <p:sp>
        <p:nvSpPr>
          <p:cNvPr id="23" name="Gleichschenkliges Dreieck 22"/>
          <p:cNvSpPr/>
          <p:nvPr/>
        </p:nvSpPr>
        <p:spPr bwMode="gray">
          <a:xfrm rot="21428461" flipV="1">
            <a:off x="11762646" y="1194165"/>
            <a:ext cx="295143" cy="126294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09"/>
            <a:endParaRPr lang="de-DE" sz="1800">
              <a:solidFill>
                <a:prstClr val="white"/>
              </a:solidFill>
            </a:endParaRPr>
          </a:p>
        </p:txBody>
      </p:sp>
      <p:sp>
        <p:nvSpPr>
          <p:cNvPr id="25" name="Gleichschenkliges Dreieck 24"/>
          <p:cNvSpPr/>
          <p:nvPr/>
        </p:nvSpPr>
        <p:spPr bwMode="gray">
          <a:xfrm rot="10642216">
            <a:off x="11687301" y="1112996"/>
            <a:ext cx="384354" cy="181447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09"/>
            <a:endParaRPr lang="de-DE" sz="1800">
              <a:solidFill>
                <a:prstClr val="white"/>
              </a:solidFill>
            </a:endParaRPr>
          </a:p>
        </p:txBody>
      </p:sp>
      <p:sp>
        <p:nvSpPr>
          <p:cNvPr id="59" name="Titel 2"/>
          <p:cNvSpPr txBox="1">
            <a:spLocks/>
          </p:cNvSpPr>
          <p:nvPr/>
        </p:nvSpPr>
        <p:spPr>
          <a:xfrm>
            <a:off x="403225" y="262470"/>
            <a:ext cx="11354771" cy="503050"/>
          </a:xfrm>
          <a:prstGeom prst="rect">
            <a:avLst/>
          </a:prstGeom>
        </p:spPr>
        <p:txBody>
          <a:bodyPr/>
          <a:lstStyle>
            <a:lvl1pPr algn="l" defTabSz="1088175" rtl="0" eaLnBrk="1" latinLnBrk="0" hangingPunct="1">
              <a:spcBef>
                <a:spcPct val="0"/>
              </a:spcBef>
              <a:buNone/>
              <a:defRPr sz="2799" b="1" kern="1200" cap="all" baseline="0">
                <a:solidFill>
                  <a:schemeClr val="accent1"/>
                </a:solidFill>
                <a:latin typeface="+mj-lt"/>
                <a:ea typeface="+mj-ea"/>
                <a:cs typeface="+mj-cs"/>
              </a:defRPr>
            </a:lvl1pPr>
          </a:lstStyle>
          <a:p>
            <a:r>
              <a:rPr lang="de-DE" dirty="0"/>
              <a:t>SIT </a:t>
            </a:r>
            <a:r>
              <a:rPr lang="de-DE" dirty="0" err="1"/>
              <a:t>TimeLine</a:t>
            </a:r>
            <a:endParaRPr lang="de-DE" dirty="0"/>
          </a:p>
        </p:txBody>
      </p:sp>
      <p:sp>
        <p:nvSpPr>
          <p:cNvPr id="63" name="Untertitel 2"/>
          <p:cNvSpPr txBox="1">
            <a:spLocks/>
          </p:cNvSpPr>
          <p:nvPr/>
        </p:nvSpPr>
        <p:spPr>
          <a:xfrm>
            <a:off x="3865385" y="3944314"/>
            <a:ext cx="1582862" cy="3742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de-DE" b="1">
                <a:solidFill>
                  <a:srgbClr val="791F82"/>
                </a:solidFill>
              </a:rPr>
              <a:t>10/2017</a:t>
            </a:r>
          </a:p>
        </p:txBody>
      </p:sp>
      <p:sp>
        <p:nvSpPr>
          <p:cNvPr id="9" name="Rechteck 8"/>
          <p:cNvSpPr/>
          <p:nvPr/>
        </p:nvSpPr>
        <p:spPr bwMode="gray">
          <a:xfrm rot="21160319">
            <a:off x="1654572" y="1048292"/>
            <a:ext cx="1748629" cy="3117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a:solidFill>
                  <a:schemeClr val="tx1"/>
                </a:solidFill>
                <a:cs typeface="Arabic Typesetting" panose="03020402040406030203" pitchFamily="66" charset="-78"/>
              </a:rPr>
              <a:t>S</a:t>
            </a:r>
            <a:r>
              <a:rPr lang="de-DE" sz="1400">
                <a:solidFill>
                  <a:schemeClr val="tx1"/>
                </a:solidFill>
                <a:cs typeface="Arabic Typesetting" panose="03020402040406030203" pitchFamily="66" charset="-78"/>
              </a:rPr>
              <a:t>chwarz</a:t>
            </a:r>
            <a:r>
              <a:rPr lang="de-DE" sz="1400" b="1">
                <a:solidFill>
                  <a:schemeClr val="tx1"/>
                </a:solidFill>
                <a:cs typeface="Arabic Typesetting" panose="03020402040406030203" pitchFamily="66" charset="-78"/>
              </a:rPr>
              <a:t> IT I</a:t>
            </a:r>
            <a:r>
              <a:rPr lang="de-DE" sz="1400">
                <a:solidFill>
                  <a:schemeClr val="tx1"/>
                </a:solidFill>
                <a:cs typeface="Arabic Typesetting" panose="03020402040406030203" pitchFamily="66" charset="-78"/>
              </a:rPr>
              <a:t>nfrastructure &amp; </a:t>
            </a:r>
            <a:r>
              <a:rPr lang="de-DE" sz="1400" b="1" err="1">
                <a:solidFill>
                  <a:schemeClr val="tx1"/>
                </a:solidFill>
                <a:cs typeface="Arabic Typesetting" panose="03020402040406030203" pitchFamily="66" charset="-78"/>
              </a:rPr>
              <a:t>O</a:t>
            </a:r>
            <a:r>
              <a:rPr lang="de-DE" sz="1400" err="1">
                <a:solidFill>
                  <a:schemeClr val="tx1"/>
                </a:solidFill>
                <a:cs typeface="Arabic Typesetting" panose="03020402040406030203" pitchFamily="66" charset="-78"/>
              </a:rPr>
              <a:t>perations</a:t>
            </a:r>
            <a:r>
              <a:rPr lang="de-DE" sz="1400" b="1">
                <a:solidFill>
                  <a:schemeClr val="tx1"/>
                </a:solidFill>
                <a:cs typeface="Arabic Typesetting" panose="03020402040406030203" pitchFamily="66" charset="-78"/>
              </a:rPr>
              <a:t> S</a:t>
            </a:r>
            <a:r>
              <a:rPr lang="de-DE" sz="1400">
                <a:solidFill>
                  <a:schemeClr val="tx1"/>
                </a:solidFill>
                <a:cs typeface="Arabic Typesetting" panose="03020402040406030203" pitchFamily="66" charset="-78"/>
              </a:rPr>
              <a:t>ervices</a:t>
            </a:r>
          </a:p>
        </p:txBody>
      </p:sp>
      <p:sp>
        <p:nvSpPr>
          <p:cNvPr id="69" name="Rechteck 68"/>
          <p:cNvSpPr/>
          <p:nvPr/>
        </p:nvSpPr>
        <p:spPr bwMode="gray">
          <a:xfrm rot="21127655">
            <a:off x="1365370" y="5677006"/>
            <a:ext cx="2004024" cy="306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a:solidFill>
                  <a:schemeClr val="tx1"/>
                </a:solidFill>
                <a:cs typeface="Arabic Typesetting" panose="03020402040406030203" pitchFamily="66" charset="-78"/>
              </a:rPr>
              <a:t>S</a:t>
            </a:r>
            <a:r>
              <a:rPr lang="de-DE" sz="1400">
                <a:solidFill>
                  <a:schemeClr val="tx1"/>
                </a:solidFill>
                <a:cs typeface="Arabic Typesetting" panose="03020402040406030203" pitchFamily="66" charset="-78"/>
              </a:rPr>
              <a:t>chwarz </a:t>
            </a:r>
            <a:r>
              <a:rPr lang="de-DE" sz="1400" b="1">
                <a:solidFill>
                  <a:schemeClr val="tx1"/>
                </a:solidFill>
                <a:cs typeface="Arabic Typesetting" panose="03020402040406030203" pitchFamily="66" charset="-78"/>
              </a:rPr>
              <a:t>B</a:t>
            </a:r>
            <a:r>
              <a:rPr lang="de-DE" sz="1400">
                <a:solidFill>
                  <a:schemeClr val="tx1"/>
                </a:solidFill>
                <a:cs typeface="Arabic Typesetting" panose="03020402040406030203" pitchFamily="66" charset="-78"/>
              </a:rPr>
              <a:t>usiness </a:t>
            </a:r>
            <a:r>
              <a:rPr lang="de-DE" sz="1400" b="1">
                <a:solidFill>
                  <a:schemeClr val="tx1"/>
                </a:solidFill>
                <a:cs typeface="Arabic Typesetting" panose="03020402040406030203" pitchFamily="66" charset="-78"/>
              </a:rPr>
              <a:t>IT</a:t>
            </a:r>
          </a:p>
        </p:txBody>
      </p:sp>
      <p:sp>
        <p:nvSpPr>
          <p:cNvPr id="54" name="Untertitel 2"/>
          <p:cNvSpPr txBox="1">
            <a:spLocks/>
          </p:cNvSpPr>
          <p:nvPr/>
        </p:nvSpPr>
        <p:spPr>
          <a:xfrm>
            <a:off x="270103" y="2985481"/>
            <a:ext cx="1815939" cy="3742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de-DE" b="1">
                <a:solidFill>
                  <a:srgbClr val="791F82"/>
                </a:solidFill>
              </a:rPr>
              <a:t>07/2015</a:t>
            </a:r>
          </a:p>
        </p:txBody>
      </p:sp>
      <p:sp>
        <p:nvSpPr>
          <p:cNvPr id="60" name="Untertitel 2"/>
          <p:cNvSpPr txBox="1">
            <a:spLocks/>
          </p:cNvSpPr>
          <p:nvPr/>
        </p:nvSpPr>
        <p:spPr>
          <a:xfrm>
            <a:off x="6452351" y="4244263"/>
            <a:ext cx="1556071" cy="53267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de-DE" b="1">
                <a:solidFill>
                  <a:srgbClr val="791F82"/>
                </a:solidFill>
              </a:rPr>
              <a:t>09/2018</a:t>
            </a:r>
          </a:p>
        </p:txBody>
      </p:sp>
      <p:sp>
        <p:nvSpPr>
          <p:cNvPr id="61" name="Freihandform 60"/>
          <p:cNvSpPr/>
          <p:nvPr/>
        </p:nvSpPr>
        <p:spPr>
          <a:xfrm rot="383061" flipV="1">
            <a:off x="1826702" y="2938742"/>
            <a:ext cx="2068120" cy="414124"/>
          </a:xfrm>
          <a:custGeom>
            <a:avLst/>
            <a:gdLst>
              <a:gd name="connsiteX0" fmla="*/ 0 w 1866900"/>
              <a:gd name="connsiteY0" fmla="*/ 662940 h 969636"/>
              <a:gd name="connsiteX1" fmla="*/ 784860 w 1866900"/>
              <a:gd name="connsiteY1" fmla="*/ 937260 h 969636"/>
              <a:gd name="connsiteX2" fmla="*/ 1866900 w 1866900"/>
              <a:gd name="connsiteY2" fmla="*/ 0 h 969636"/>
            </a:gdLst>
            <a:ahLst/>
            <a:cxnLst>
              <a:cxn ang="0">
                <a:pos x="connsiteX0" y="connsiteY0"/>
              </a:cxn>
              <a:cxn ang="0">
                <a:pos x="connsiteX1" y="connsiteY1"/>
              </a:cxn>
              <a:cxn ang="0">
                <a:pos x="connsiteX2" y="connsiteY2"/>
              </a:cxn>
            </a:cxnLst>
            <a:rect l="l" t="t" r="r" b="b"/>
            <a:pathLst>
              <a:path w="1866900" h="969636">
                <a:moveTo>
                  <a:pt x="0" y="662940"/>
                </a:moveTo>
                <a:cubicBezTo>
                  <a:pt x="236855" y="855345"/>
                  <a:pt x="473710" y="1047750"/>
                  <a:pt x="784860" y="937260"/>
                </a:cubicBezTo>
                <a:cubicBezTo>
                  <a:pt x="1096010" y="826770"/>
                  <a:pt x="1481455" y="413385"/>
                  <a:pt x="1866900" y="0"/>
                </a:cubicBezTo>
              </a:path>
            </a:pathLst>
          </a:custGeom>
          <a:noFill/>
          <a:ln w="28575" cap="flat" cmpd="sng" algn="ctr">
            <a:solidFill>
              <a:sysClr val="window" lastClr="FFFFFF">
                <a:lumMod val="65000"/>
              </a:sysClr>
            </a:solidFill>
            <a:prstDash val="solid"/>
            <a:headEnd type="none" w="med" len="med"/>
            <a:tailEnd type="arrow" w="med" len="med"/>
          </a:ln>
          <a:effectLst/>
        </p:spPr>
        <p:txBody>
          <a:bodyPr rtlCol="0" anchor="ctr"/>
          <a:lstStyle/>
          <a:p>
            <a:pPr algn="ctr" defTabSz="914309">
              <a:defRPr/>
            </a:pPr>
            <a:endParaRPr lang="de-DE" sz="1800" kern="0">
              <a:solidFill>
                <a:prstClr val="white"/>
              </a:solidFill>
            </a:endParaRPr>
          </a:p>
        </p:txBody>
      </p:sp>
      <p:sp>
        <p:nvSpPr>
          <p:cNvPr id="62" name="Textfeld 61"/>
          <p:cNvSpPr txBox="1"/>
          <p:nvPr/>
        </p:nvSpPr>
        <p:spPr bwMode="gray">
          <a:xfrm>
            <a:off x="765668" y="1750717"/>
            <a:ext cx="919197" cy="334187"/>
          </a:xfrm>
          <a:prstGeom prst="rect">
            <a:avLst/>
          </a:prstGeom>
          <a:noFill/>
        </p:spPr>
        <p:txBody>
          <a:bodyPr wrap="square" lIns="0" tIns="0" rIns="0" bIns="0" rtlCol="0">
            <a:noAutofit/>
          </a:bodyPr>
          <a:lstStyle/>
          <a:p>
            <a:pPr defTabSz="914309">
              <a:defRPr/>
            </a:pPr>
            <a:r>
              <a:rPr lang="de-DE" sz="2000" b="1" kern="0">
                <a:solidFill>
                  <a:prstClr val="white"/>
                </a:solidFill>
              </a:rPr>
              <a:t>SITIOS</a:t>
            </a:r>
          </a:p>
        </p:txBody>
      </p:sp>
      <p:sp>
        <p:nvSpPr>
          <p:cNvPr id="44" name="Ellipse 43"/>
          <p:cNvSpPr/>
          <p:nvPr/>
        </p:nvSpPr>
        <p:spPr>
          <a:xfrm>
            <a:off x="9687401" y="3834756"/>
            <a:ext cx="619257" cy="241468"/>
          </a:xfrm>
          <a:prstGeom prst="ellipse">
            <a:avLst/>
          </a:prstGeom>
          <a:noFill/>
          <a:ln w="28575" cap="flat" cmpd="sng" algn="ctr">
            <a:solidFill>
              <a:srgbClr val="791F82"/>
            </a:solidFill>
            <a:prstDash val="solid"/>
          </a:ln>
          <a:effectLst/>
        </p:spPr>
        <p:txBody>
          <a:bodyPr rtlCol="0" anchor="ctr"/>
          <a:lstStyle/>
          <a:p>
            <a:pPr algn="ctr" defTabSz="914309">
              <a:defRPr/>
            </a:pPr>
            <a:endParaRPr lang="de-DE" sz="1800" kern="0">
              <a:solidFill>
                <a:prstClr val="white"/>
              </a:solidFill>
            </a:endParaRPr>
          </a:p>
        </p:txBody>
      </p:sp>
      <p:sp>
        <p:nvSpPr>
          <p:cNvPr id="46" name="Träne 45"/>
          <p:cNvSpPr/>
          <p:nvPr/>
        </p:nvSpPr>
        <p:spPr>
          <a:xfrm rot="8154939">
            <a:off x="8916484" y="1469045"/>
            <a:ext cx="1941684" cy="2264123"/>
          </a:xfrm>
          <a:prstGeom prst="teardrop">
            <a:avLst>
              <a:gd name="adj" fmla="val 91149"/>
            </a:avLst>
          </a:prstGeom>
          <a:solidFill>
            <a:srgbClr val="791F82"/>
          </a:solidFill>
          <a:ln w="25400" cap="flat" cmpd="sng" algn="ctr">
            <a:noFill/>
            <a:prstDash val="solid"/>
          </a:ln>
          <a:effectLst>
            <a:outerShdw blurRad="50800" dist="38100" algn="l" rotWithShape="0">
              <a:prstClr val="black">
                <a:alpha val="40000"/>
              </a:prstClr>
            </a:outerShdw>
          </a:effectLst>
        </p:spPr>
        <p:txBody>
          <a:bodyPr rtlCol="0" anchor="ctr"/>
          <a:lstStyle/>
          <a:p>
            <a:pPr algn="ctr" defTabSz="914309">
              <a:defRPr/>
            </a:pPr>
            <a:endParaRPr lang="de-DE" sz="1800" b="1" kern="0">
              <a:solidFill>
                <a:prstClr val="white"/>
              </a:solidFill>
            </a:endParaRPr>
          </a:p>
        </p:txBody>
      </p:sp>
      <p:sp>
        <p:nvSpPr>
          <p:cNvPr id="47" name="Untertitel 2"/>
          <p:cNvSpPr txBox="1">
            <a:spLocks/>
          </p:cNvSpPr>
          <p:nvPr/>
        </p:nvSpPr>
        <p:spPr>
          <a:xfrm>
            <a:off x="9106693" y="4105873"/>
            <a:ext cx="1582862" cy="3742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de-DE" b="1">
                <a:solidFill>
                  <a:srgbClr val="791F82"/>
                </a:solidFill>
              </a:rPr>
              <a:t>05/2019</a:t>
            </a:r>
          </a:p>
        </p:txBody>
      </p:sp>
      <p:sp>
        <p:nvSpPr>
          <p:cNvPr id="48" name="Textfeld 47"/>
          <p:cNvSpPr txBox="1"/>
          <p:nvPr/>
        </p:nvSpPr>
        <p:spPr bwMode="gray">
          <a:xfrm>
            <a:off x="9077522" y="2083278"/>
            <a:ext cx="1584459" cy="334187"/>
          </a:xfrm>
          <a:prstGeom prst="rect">
            <a:avLst/>
          </a:prstGeom>
          <a:noFill/>
        </p:spPr>
        <p:txBody>
          <a:bodyPr wrap="square" lIns="0" tIns="0" rIns="0" bIns="0" rtlCol="0">
            <a:noAutofit/>
          </a:bodyPr>
          <a:lstStyle/>
          <a:p>
            <a:pPr algn="ctr" defTabSz="914309">
              <a:defRPr/>
            </a:pPr>
            <a:r>
              <a:rPr lang="de-DE" sz="2000" b="1" kern="0">
                <a:solidFill>
                  <a:prstClr val="white"/>
                </a:solidFill>
              </a:rPr>
              <a:t>SIT KG</a:t>
            </a:r>
          </a:p>
          <a:p>
            <a:pPr algn="ctr" defTabSz="914309">
              <a:defRPr/>
            </a:pPr>
            <a:endParaRPr lang="de-DE" sz="2000" b="1" kern="0">
              <a:solidFill>
                <a:prstClr val="white"/>
              </a:solidFill>
            </a:endParaRPr>
          </a:p>
          <a:p>
            <a:pPr algn="ctr" defTabSz="914309">
              <a:defRPr/>
            </a:pPr>
            <a:r>
              <a:rPr lang="de-DE" sz="2000" b="1" kern="0">
                <a:solidFill>
                  <a:prstClr val="white"/>
                </a:solidFill>
              </a:rPr>
              <a:t>- ONE IT -</a:t>
            </a:r>
          </a:p>
        </p:txBody>
      </p:sp>
      <p:sp>
        <p:nvSpPr>
          <p:cNvPr id="49" name="Freihandform 48"/>
          <p:cNvSpPr/>
          <p:nvPr/>
        </p:nvSpPr>
        <p:spPr>
          <a:xfrm>
            <a:off x="7739475" y="3924662"/>
            <a:ext cx="1634062" cy="144482"/>
          </a:xfrm>
          <a:custGeom>
            <a:avLst/>
            <a:gdLst>
              <a:gd name="connsiteX0" fmla="*/ 0 w 2035629"/>
              <a:gd name="connsiteY0" fmla="*/ 1395831 h 1395831"/>
              <a:gd name="connsiteX1" fmla="*/ 1360715 w 2035629"/>
              <a:gd name="connsiteY1" fmla="*/ 89545 h 1395831"/>
              <a:gd name="connsiteX2" fmla="*/ 2035629 w 2035629"/>
              <a:gd name="connsiteY2" fmla="*/ 220174 h 1395831"/>
            </a:gdLst>
            <a:ahLst/>
            <a:cxnLst>
              <a:cxn ang="0">
                <a:pos x="connsiteX0" y="connsiteY0"/>
              </a:cxn>
              <a:cxn ang="0">
                <a:pos x="connsiteX1" y="connsiteY1"/>
              </a:cxn>
              <a:cxn ang="0">
                <a:pos x="connsiteX2" y="connsiteY2"/>
              </a:cxn>
            </a:cxnLst>
            <a:rect l="l" t="t" r="r" b="b"/>
            <a:pathLst>
              <a:path w="2035629" h="1395831">
                <a:moveTo>
                  <a:pt x="0" y="1395831"/>
                </a:moveTo>
                <a:cubicBezTo>
                  <a:pt x="510722" y="840659"/>
                  <a:pt x="1021444" y="285488"/>
                  <a:pt x="1360715" y="89545"/>
                </a:cubicBezTo>
                <a:cubicBezTo>
                  <a:pt x="1699987" y="-106398"/>
                  <a:pt x="1867808" y="56888"/>
                  <a:pt x="2035629" y="220174"/>
                </a:cubicBezTo>
              </a:path>
            </a:pathLst>
          </a:custGeom>
          <a:noFill/>
          <a:ln w="28575" cap="flat" cmpd="sng" algn="ctr">
            <a:solidFill>
              <a:sysClr val="window" lastClr="FFFFFF">
                <a:lumMod val="65000"/>
              </a:sysClr>
            </a:solidFill>
            <a:prstDash val="solid"/>
            <a:headEnd type="none" w="med" len="med"/>
            <a:tailEnd type="arrow" w="med" len="med"/>
          </a:ln>
          <a:effectLst/>
        </p:spPr>
        <p:txBody>
          <a:bodyPr rtlCol="0" anchor="ctr"/>
          <a:lstStyle/>
          <a:p>
            <a:pPr algn="ctr" defTabSz="914309">
              <a:defRPr/>
            </a:pPr>
            <a:endParaRPr lang="de-DE" sz="1800" kern="0">
              <a:solidFill>
                <a:prstClr val="white"/>
              </a:solidFill>
            </a:endParaRPr>
          </a:p>
        </p:txBody>
      </p:sp>
      <p:sp>
        <p:nvSpPr>
          <p:cNvPr id="10" name="Foliennummernplatzhalter 9">
            <a:extLst>
              <a:ext uri="{FF2B5EF4-FFF2-40B4-BE49-F238E27FC236}">
                <a16:creationId xmlns:a16="http://schemas.microsoft.com/office/drawing/2014/main" id="{05FAE4B9-900B-41DA-9C4E-271834F74D17}"/>
              </a:ext>
            </a:extLst>
          </p:cNvPr>
          <p:cNvSpPr>
            <a:spLocks noGrp="1"/>
          </p:cNvSpPr>
          <p:nvPr>
            <p:ph type="sldNum" sz="quarter" idx="12"/>
          </p:nvPr>
        </p:nvSpPr>
        <p:spPr/>
        <p:txBody>
          <a:bodyPr/>
          <a:lstStyle/>
          <a:p>
            <a:fld id="{6DC28378-8F7A-4890-BEB7-2AB202136529}" type="slidenum">
              <a:rPr lang="de-DE" smtClean="0">
                <a:solidFill>
                  <a:srgbClr val="791F82"/>
                </a:solidFill>
              </a:rPr>
              <a:pPr/>
              <a:t>33</a:t>
            </a:fld>
            <a:endParaRPr lang="de-DE">
              <a:solidFill>
                <a:srgbClr val="791F82"/>
              </a:solidFill>
            </a:endParaRPr>
          </a:p>
        </p:txBody>
      </p:sp>
    </p:spTree>
    <p:extLst>
      <p:ext uri="{BB962C8B-B14F-4D97-AF65-F5344CB8AC3E}">
        <p14:creationId xmlns:p14="http://schemas.microsoft.com/office/powerpoint/2010/main" val="26196960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a:t>Creating</a:t>
            </a:r>
            <a:r>
              <a:rPr lang="de-DE" dirty="0"/>
              <a:t> </a:t>
            </a:r>
            <a:r>
              <a:rPr lang="de-DE" dirty="0" err="1"/>
              <a:t>one</a:t>
            </a:r>
            <a:r>
              <a:rPr lang="de-DE" dirty="0"/>
              <a:t> IT</a:t>
            </a:r>
          </a:p>
        </p:txBody>
      </p:sp>
      <p:sp>
        <p:nvSpPr>
          <p:cNvPr id="97" name="Untertitel 96"/>
          <p:cNvSpPr>
            <a:spLocks noGrp="1"/>
          </p:cNvSpPr>
          <p:nvPr>
            <p:ph type="subTitle" idx="1"/>
          </p:nvPr>
        </p:nvSpPr>
        <p:spPr/>
        <p:txBody>
          <a:bodyPr/>
          <a:lstStyle/>
          <a:p>
            <a:r>
              <a:rPr lang="de-DE" dirty="0" err="1"/>
              <a:t>Since</a:t>
            </a:r>
            <a:r>
              <a:rPr lang="de-DE" dirty="0"/>
              <a:t> May 2019</a:t>
            </a:r>
          </a:p>
        </p:txBody>
      </p:sp>
      <p:sp>
        <p:nvSpPr>
          <p:cNvPr id="57" name="Freihandform 56"/>
          <p:cNvSpPr/>
          <p:nvPr/>
        </p:nvSpPr>
        <p:spPr>
          <a:xfrm>
            <a:off x="408260" y="2361323"/>
            <a:ext cx="11373894" cy="3935892"/>
          </a:xfrm>
          <a:custGeom>
            <a:avLst/>
            <a:gdLst>
              <a:gd name="connsiteX0" fmla="*/ 3375 w 11378008"/>
              <a:gd name="connsiteY0" fmla="*/ 0 h 4747337"/>
              <a:gd name="connsiteX1" fmla="*/ 9381685 w 11378008"/>
              <a:gd name="connsiteY1" fmla="*/ 0 h 4747337"/>
              <a:gd name="connsiteX2" fmla="*/ 11046992 w 11378008"/>
              <a:gd name="connsiteY2" fmla="*/ 0 h 4747337"/>
              <a:gd name="connsiteX3" fmla="*/ 11378008 w 11378008"/>
              <a:gd name="connsiteY3" fmla="*/ 0 h 4747337"/>
              <a:gd name="connsiteX4" fmla="*/ 11378008 w 11378008"/>
              <a:gd name="connsiteY4" fmla="*/ 3851166 h 4747337"/>
              <a:gd name="connsiteX5" fmla="*/ 11378008 w 11378008"/>
              <a:gd name="connsiteY5" fmla="*/ 4747337 h 4747337"/>
              <a:gd name="connsiteX6" fmla="*/ 11046992 w 11378008"/>
              <a:gd name="connsiteY6" fmla="*/ 4747337 h 4747337"/>
              <a:gd name="connsiteX7" fmla="*/ 3375 w 11378008"/>
              <a:gd name="connsiteY7" fmla="*/ 4747337 h 4747337"/>
              <a:gd name="connsiteX8" fmla="*/ 0 w 11378008"/>
              <a:gd name="connsiteY8" fmla="*/ 4747337 h 4747337"/>
              <a:gd name="connsiteX9" fmla="*/ 0 w 11378008"/>
              <a:gd name="connsiteY9" fmla="*/ 3867337 h 4747337"/>
              <a:gd name="connsiteX10" fmla="*/ 3375 w 11378008"/>
              <a:gd name="connsiteY10" fmla="*/ 3867337 h 474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78008" h="4747337">
                <a:moveTo>
                  <a:pt x="3375" y="0"/>
                </a:moveTo>
                <a:lnTo>
                  <a:pt x="9381685" y="0"/>
                </a:lnTo>
                <a:lnTo>
                  <a:pt x="11046992" y="0"/>
                </a:lnTo>
                <a:lnTo>
                  <a:pt x="11378008" y="0"/>
                </a:lnTo>
                <a:lnTo>
                  <a:pt x="11378008" y="3851166"/>
                </a:lnTo>
                <a:lnTo>
                  <a:pt x="11378008" y="4747337"/>
                </a:lnTo>
                <a:lnTo>
                  <a:pt x="11046992" y="4747337"/>
                </a:lnTo>
                <a:lnTo>
                  <a:pt x="3375" y="4747337"/>
                </a:lnTo>
                <a:lnTo>
                  <a:pt x="0" y="4747337"/>
                </a:lnTo>
                <a:lnTo>
                  <a:pt x="0" y="3867337"/>
                </a:lnTo>
                <a:lnTo>
                  <a:pt x="3375" y="3867337"/>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35987" tIns="35987" rIns="35987" bIns="35987" rtlCol="0" anchor="t">
            <a:noAutofit/>
          </a:bodyPr>
          <a:lstStyle/>
          <a:p>
            <a:pPr algn="ctr" defTabSz="1088175"/>
            <a:endParaRPr lang="de-DE" sz="1800" b="1">
              <a:solidFill>
                <a:prstClr val="white"/>
              </a:solidFill>
              <a:effectLst>
                <a:outerShdw blurRad="38100" dist="38100" dir="2700000" algn="tl">
                  <a:srgbClr val="000000">
                    <a:alpha val="43137"/>
                  </a:srgbClr>
                </a:outerShdw>
              </a:effectLst>
            </a:endParaRPr>
          </a:p>
        </p:txBody>
      </p:sp>
      <p:sp>
        <p:nvSpPr>
          <p:cNvPr id="58" name="Freihandform 57"/>
          <p:cNvSpPr/>
          <p:nvPr/>
        </p:nvSpPr>
        <p:spPr>
          <a:xfrm>
            <a:off x="532011" y="2854947"/>
            <a:ext cx="11089988" cy="570943"/>
          </a:xfrm>
          <a:custGeom>
            <a:avLst/>
            <a:gdLst>
              <a:gd name="connsiteX0" fmla="*/ 0 w 2247607"/>
              <a:gd name="connsiteY0" fmla="*/ 0 h 3880800"/>
              <a:gd name="connsiteX1" fmla="*/ 2247607 w 2247607"/>
              <a:gd name="connsiteY1" fmla="*/ 0 h 3880800"/>
              <a:gd name="connsiteX2" fmla="*/ 2247607 w 2247607"/>
              <a:gd name="connsiteY2" fmla="*/ 3880800 h 3880800"/>
              <a:gd name="connsiteX3" fmla="*/ 0 w 2247607"/>
              <a:gd name="connsiteY3" fmla="*/ 3880800 h 3880800"/>
            </a:gdLst>
            <a:ahLst/>
            <a:cxnLst>
              <a:cxn ang="0">
                <a:pos x="connsiteX0" y="connsiteY0"/>
              </a:cxn>
              <a:cxn ang="0">
                <a:pos x="connsiteX1" y="connsiteY1"/>
              </a:cxn>
              <a:cxn ang="0">
                <a:pos x="connsiteX2" y="connsiteY2"/>
              </a:cxn>
              <a:cxn ang="0">
                <a:pos x="connsiteX3" y="connsiteY3"/>
              </a:cxn>
            </a:cxnLst>
            <a:rect l="l" t="t" r="r" b="b"/>
            <a:pathLst>
              <a:path w="2247607" h="3880800">
                <a:moveTo>
                  <a:pt x="0" y="0"/>
                </a:moveTo>
                <a:lnTo>
                  <a:pt x="2247607" y="0"/>
                </a:lnTo>
                <a:lnTo>
                  <a:pt x="2247607" y="3880800"/>
                </a:lnTo>
                <a:lnTo>
                  <a:pt x="0" y="3880800"/>
                </a:lnTo>
                <a:close/>
              </a:path>
            </a:pathLst>
          </a:custGeom>
          <a:solidFill>
            <a:schemeClr val="bg2">
              <a:lumMod val="7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5987" tIns="35987" rIns="35987" bIns="35987" rtlCol="0" anchor="ctr">
            <a:noAutofit/>
          </a:bodyPr>
          <a:lstStyle/>
          <a:p>
            <a:pPr algn="ctr" defTabSz="1088175"/>
            <a:r>
              <a:rPr lang="de-DE" sz="1800">
                <a:solidFill>
                  <a:prstClr val="white"/>
                </a:solidFill>
              </a:rPr>
              <a:t>Business Consulting</a:t>
            </a:r>
          </a:p>
        </p:txBody>
      </p:sp>
      <p:sp>
        <p:nvSpPr>
          <p:cNvPr id="68" name="Freihandform 67"/>
          <p:cNvSpPr/>
          <p:nvPr/>
        </p:nvSpPr>
        <p:spPr>
          <a:xfrm>
            <a:off x="534214" y="4920543"/>
            <a:ext cx="11088233" cy="570943"/>
          </a:xfrm>
          <a:custGeom>
            <a:avLst/>
            <a:gdLst>
              <a:gd name="connsiteX0" fmla="*/ 0 w 2247607"/>
              <a:gd name="connsiteY0" fmla="*/ 0 h 3880800"/>
              <a:gd name="connsiteX1" fmla="*/ 2247607 w 2247607"/>
              <a:gd name="connsiteY1" fmla="*/ 0 h 3880800"/>
              <a:gd name="connsiteX2" fmla="*/ 2247607 w 2247607"/>
              <a:gd name="connsiteY2" fmla="*/ 3880800 h 3880800"/>
              <a:gd name="connsiteX3" fmla="*/ 0 w 2247607"/>
              <a:gd name="connsiteY3" fmla="*/ 3880800 h 3880800"/>
            </a:gdLst>
            <a:ahLst/>
            <a:cxnLst>
              <a:cxn ang="0">
                <a:pos x="connsiteX0" y="connsiteY0"/>
              </a:cxn>
              <a:cxn ang="0">
                <a:pos x="connsiteX1" y="connsiteY1"/>
              </a:cxn>
              <a:cxn ang="0">
                <a:pos x="connsiteX2" y="connsiteY2"/>
              </a:cxn>
              <a:cxn ang="0">
                <a:pos x="connsiteX3" y="connsiteY3"/>
              </a:cxn>
            </a:cxnLst>
            <a:rect l="l" t="t" r="r" b="b"/>
            <a:pathLst>
              <a:path w="2247607" h="3880800">
                <a:moveTo>
                  <a:pt x="0" y="0"/>
                </a:moveTo>
                <a:lnTo>
                  <a:pt x="2247607" y="0"/>
                </a:lnTo>
                <a:lnTo>
                  <a:pt x="2247607" y="3880800"/>
                </a:lnTo>
                <a:lnTo>
                  <a:pt x="0" y="3880800"/>
                </a:lnTo>
                <a:close/>
              </a:path>
            </a:pathLst>
          </a:custGeom>
          <a:solidFill>
            <a:schemeClr val="bg2">
              <a:lumMod val="7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5987" tIns="35987" rIns="35987" bIns="35987" rtlCol="0" anchor="ctr">
            <a:noAutofit/>
          </a:bodyPr>
          <a:lstStyle/>
          <a:p>
            <a:pPr algn="ctr" defTabSz="1088175"/>
            <a:r>
              <a:rPr lang="de-DE" sz="1800" dirty="0">
                <a:solidFill>
                  <a:prstClr val="white"/>
                </a:solidFill>
              </a:rPr>
              <a:t>Governance &amp; Architecture</a:t>
            </a:r>
          </a:p>
        </p:txBody>
      </p:sp>
      <p:sp>
        <p:nvSpPr>
          <p:cNvPr id="75" name="Freihandform 74"/>
          <p:cNvSpPr/>
          <p:nvPr/>
        </p:nvSpPr>
        <p:spPr>
          <a:xfrm>
            <a:off x="534214" y="4232012"/>
            <a:ext cx="11088233" cy="570943"/>
          </a:xfrm>
          <a:custGeom>
            <a:avLst/>
            <a:gdLst>
              <a:gd name="connsiteX0" fmla="*/ 0 w 2247607"/>
              <a:gd name="connsiteY0" fmla="*/ 0 h 3880800"/>
              <a:gd name="connsiteX1" fmla="*/ 2247607 w 2247607"/>
              <a:gd name="connsiteY1" fmla="*/ 0 h 3880800"/>
              <a:gd name="connsiteX2" fmla="*/ 2247607 w 2247607"/>
              <a:gd name="connsiteY2" fmla="*/ 3880800 h 3880800"/>
              <a:gd name="connsiteX3" fmla="*/ 0 w 2247607"/>
              <a:gd name="connsiteY3" fmla="*/ 3880800 h 3880800"/>
            </a:gdLst>
            <a:ahLst/>
            <a:cxnLst>
              <a:cxn ang="0">
                <a:pos x="connsiteX0" y="connsiteY0"/>
              </a:cxn>
              <a:cxn ang="0">
                <a:pos x="connsiteX1" y="connsiteY1"/>
              </a:cxn>
              <a:cxn ang="0">
                <a:pos x="connsiteX2" y="connsiteY2"/>
              </a:cxn>
              <a:cxn ang="0">
                <a:pos x="connsiteX3" y="connsiteY3"/>
              </a:cxn>
            </a:cxnLst>
            <a:rect l="l" t="t" r="r" b="b"/>
            <a:pathLst>
              <a:path w="2247607" h="3880800">
                <a:moveTo>
                  <a:pt x="0" y="0"/>
                </a:moveTo>
                <a:lnTo>
                  <a:pt x="2247607" y="0"/>
                </a:lnTo>
                <a:lnTo>
                  <a:pt x="2247607" y="3880800"/>
                </a:lnTo>
                <a:lnTo>
                  <a:pt x="0" y="3880800"/>
                </a:lnTo>
                <a:close/>
              </a:path>
            </a:pathLst>
          </a:custGeom>
          <a:solidFill>
            <a:schemeClr val="bg2">
              <a:lumMod val="7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5987" tIns="35987" rIns="35987" bIns="35987" rtlCol="0" anchor="ctr">
            <a:noAutofit/>
          </a:bodyPr>
          <a:lstStyle/>
          <a:p>
            <a:pPr algn="ctr" defTabSz="1088175"/>
            <a:r>
              <a:rPr lang="de-DE" sz="1800" dirty="0">
                <a:solidFill>
                  <a:prstClr val="white"/>
                </a:solidFill>
              </a:rPr>
              <a:t>Development</a:t>
            </a:r>
          </a:p>
        </p:txBody>
      </p:sp>
      <p:sp>
        <p:nvSpPr>
          <p:cNvPr id="82" name="Freihandform 81"/>
          <p:cNvSpPr/>
          <p:nvPr/>
        </p:nvSpPr>
        <p:spPr>
          <a:xfrm>
            <a:off x="534214" y="3543480"/>
            <a:ext cx="11088233" cy="570943"/>
          </a:xfrm>
          <a:custGeom>
            <a:avLst/>
            <a:gdLst>
              <a:gd name="connsiteX0" fmla="*/ 0 w 2247607"/>
              <a:gd name="connsiteY0" fmla="*/ 0 h 3880800"/>
              <a:gd name="connsiteX1" fmla="*/ 2247607 w 2247607"/>
              <a:gd name="connsiteY1" fmla="*/ 0 h 3880800"/>
              <a:gd name="connsiteX2" fmla="*/ 2247607 w 2247607"/>
              <a:gd name="connsiteY2" fmla="*/ 3880800 h 3880800"/>
              <a:gd name="connsiteX3" fmla="*/ 0 w 2247607"/>
              <a:gd name="connsiteY3" fmla="*/ 3880800 h 3880800"/>
            </a:gdLst>
            <a:ahLst/>
            <a:cxnLst>
              <a:cxn ang="0">
                <a:pos x="connsiteX0" y="connsiteY0"/>
              </a:cxn>
              <a:cxn ang="0">
                <a:pos x="connsiteX1" y="connsiteY1"/>
              </a:cxn>
              <a:cxn ang="0">
                <a:pos x="connsiteX2" y="connsiteY2"/>
              </a:cxn>
              <a:cxn ang="0">
                <a:pos x="connsiteX3" y="connsiteY3"/>
              </a:cxn>
            </a:cxnLst>
            <a:rect l="l" t="t" r="r" b="b"/>
            <a:pathLst>
              <a:path w="2247607" h="3880800">
                <a:moveTo>
                  <a:pt x="0" y="0"/>
                </a:moveTo>
                <a:lnTo>
                  <a:pt x="2247607" y="0"/>
                </a:lnTo>
                <a:lnTo>
                  <a:pt x="2247607" y="3880800"/>
                </a:lnTo>
                <a:lnTo>
                  <a:pt x="0" y="3880800"/>
                </a:lnTo>
                <a:close/>
              </a:path>
            </a:pathLst>
          </a:custGeom>
          <a:solidFill>
            <a:schemeClr val="bg2">
              <a:lumMod val="7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5987" tIns="35987" rIns="35987" bIns="35987" rtlCol="0" anchor="ctr">
            <a:noAutofit/>
          </a:bodyPr>
          <a:lstStyle/>
          <a:p>
            <a:pPr algn="ctr" defTabSz="1088175"/>
            <a:r>
              <a:rPr lang="de-DE" sz="1800">
                <a:solidFill>
                  <a:prstClr val="white"/>
                </a:solidFill>
              </a:rPr>
              <a:t>Support</a:t>
            </a:r>
          </a:p>
        </p:txBody>
      </p:sp>
      <p:sp>
        <p:nvSpPr>
          <p:cNvPr id="59" name="Freihandform 58"/>
          <p:cNvSpPr/>
          <p:nvPr/>
        </p:nvSpPr>
        <p:spPr>
          <a:xfrm>
            <a:off x="534214" y="5609078"/>
            <a:ext cx="11121560" cy="570943"/>
          </a:xfrm>
          <a:custGeom>
            <a:avLst/>
            <a:gdLst>
              <a:gd name="connsiteX0" fmla="*/ 0 w 2247607"/>
              <a:gd name="connsiteY0" fmla="*/ 0 h 3880800"/>
              <a:gd name="connsiteX1" fmla="*/ 2247607 w 2247607"/>
              <a:gd name="connsiteY1" fmla="*/ 0 h 3880800"/>
              <a:gd name="connsiteX2" fmla="*/ 2247607 w 2247607"/>
              <a:gd name="connsiteY2" fmla="*/ 3880800 h 3880800"/>
              <a:gd name="connsiteX3" fmla="*/ 0 w 2247607"/>
              <a:gd name="connsiteY3" fmla="*/ 3880800 h 3880800"/>
            </a:gdLst>
            <a:ahLst/>
            <a:cxnLst>
              <a:cxn ang="0">
                <a:pos x="connsiteX0" y="connsiteY0"/>
              </a:cxn>
              <a:cxn ang="0">
                <a:pos x="connsiteX1" y="connsiteY1"/>
              </a:cxn>
              <a:cxn ang="0">
                <a:pos x="connsiteX2" y="connsiteY2"/>
              </a:cxn>
              <a:cxn ang="0">
                <a:pos x="connsiteX3" y="connsiteY3"/>
              </a:cxn>
            </a:cxnLst>
            <a:rect l="l" t="t" r="r" b="b"/>
            <a:pathLst>
              <a:path w="2247607" h="3880800">
                <a:moveTo>
                  <a:pt x="0" y="0"/>
                </a:moveTo>
                <a:lnTo>
                  <a:pt x="2247607" y="0"/>
                </a:lnTo>
                <a:lnTo>
                  <a:pt x="2247607" y="3880800"/>
                </a:lnTo>
                <a:lnTo>
                  <a:pt x="0" y="3880800"/>
                </a:lnTo>
                <a:close/>
              </a:path>
            </a:pathLst>
          </a:custGeom>
          <a:solidFill>
            <a:schemeClr val="bg2">
              <a:lumMod val="7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5987" tIns="35987" rIns="35987" bIns="35987" rtlCol="0" anchor="ctr">
            <a:noAutofit/>
          </a:bodyPr>
          <a:lstStyle/>
          <a:p>
            <a:pPr algn="ctr" defTabSz="1088175"/>
            <a:r>
              <a:rPr lang="de-DE" sz="1800" dirty="0">
                <a:solidFill>
                  <a:prstClr val="white"/>
                </a:solidFill>
              </a:rPr>
              <a:t>Infrastructure</a:t>
            </a:r>
          </a:p>
        </p:txBody>
      </p:sp>
      <p:grpSp>
        <p:nvGrpSpPr>
          <p:cNvPr id="5" name="Gruppieren 4"/>
          <p:cNvGrpSpPr/>
          <p:nvPr/>
        </p:nvGrpSpPr>
        <p:grpSpPr>
          <a:xfrm>
            <a:off x="9780554" y="1209739"/>
            <a:ext cx="2001600" cy="1151583"/>
            <a:chOff x="9781886" y="1208935"/>
            <a:chExt cx="2002324" cy="1152000"/>
          </a:xfrm>
        </p:grpSpPr>
        <p:sp>
          <p:nvSpPr>
            <p:cNvPr id="109" name="Rechteck 108"/>
            <p:cNvSpPr/>
            <p:nvPr/>
          </p:nvSpPr>
          <p:spPr bwMode="gray">
            <a:xfrm>
              <a:off x="9781887" y="1208935"/>
              <a:ext cx="2002323" cy="1152000"/>
            </a:xfrm>
            <a:prstGeom prst="rect">
              <a:avLst/>
            </a:prstGeom>
            <a:solidFill>
              <a:schemeClr val="bg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5987" tIns="35987" rIns="35987" bIns="35987" rtlCol="0" anchor="ctr">
              <a:noAutofit/>
            </a:bodyPr>
            <a:lstStyle/>
            <a:p>
              <a:pPr algn="ctr" defTabSz="1088175"/>
              <a:endParaRPr lang="de-DE" sz="1800">
                <a:solidFill>
                  <a:prstClr val="white"/>
                </a:solidFill>
              </a:endParaRPr>
            </a:p>
          </p:txBody>
        </p:sp>
        <p:sp>
          <p:nvSpPr>
            <p:cNvPr id="110" name="Rechteck 109"/>
            <p:cNvSpPr/>
            <p:nvPr/>
          </p:nvSpPr>
          <p:spPr>
            <a:xfrm>
              <a:off x="9781886" y="1208935"/>
              <a:ext cx="2002324" cy="461665"/>
            </a:xfrm>
            <a:prstGeom prst="rect">
              <a:avLst/>
            </a:prstGeom>
          </p:spPr>
          <p:txBody>
            <a:bodyPr wrap="square">
              <a:spAutoFit/>
            </a:bodyPr>
            <a:lstStyle/>
            <a:p>
              <a:pPr algn="ctr" defTabSz="1088175"/>
              <a:r>
                <a:rPr lang="de-DE" sz="2400" b="1">
                  <a:solidFill>
                    <a:prstClr val="white"/>
                  </a:solidFill>
                  <a:effectLst>
                    <a:outerShdw blurRad="38100" dist="38100" dir="2700000" algn="tl">
                      <a:srgbClr val="000000">
                        <a:alpha val="43137"/>
                      </a:srgbClr>
                    </a:outerShdw>
                  </a:effectLst>
                </a:rPr>
                <a:t>SDL / SZD</a:t>
              </a:r>
            </a:p>
          </p:txBody>
        </p:sp>
        <p:grpSp>
          <p:nvGrpSpPr>
            <p:cNvPr id="10" name="Gruppieren 9"/>
            <p:cNvGrpSpPr/>
            <p:nvPr/>
          </p:nvGrpSpPr>
          <p:grpSpPr>
            <a:xfrm>
              <a:off x="10423048" y="1706188"/>
              <a:ext cx="720000" cy="570696"/>
              <a:chOff x="10388009" y="1722946"/>
              <a:chExt cx="720000" cy="570696"/>
            </a:xfrm>
          </p:grpSpPr>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8009" y="1722946"/>
                <a:ext cx="720000" cy="263520"/>
              </a:xfrm>
              <a:prstGeom prst="rect">
                <a:avLst/>
              </a:prstGeom>
            </p:spPr>
          </p:pic>
          <p:pic>
            <p:nvPicPr>
              <p:cNvPr id="9" name="Grafik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88009" y="2030122"/>
                <a:ext cx="720000" cy="263520"/>
              </a:xfrm>
              <a:prstGeom prst="rect">
                <a:avLst/>
              </a:prstGeom>
            </p:spPr>
          </p:pic>
        </p:grpSp>
      </p:grpSp>
      <p:sp>
        <p:nvSpPr>
          <p:cNvPr id="111" name="Rechteck 110"/>
          <p:cNvSpPr/>
          <p:nvPr/>
        </p:nvSpPr>
        <p:spPr>
          <a:xfrm>
            <a:off x="5108382" y="2361323"/>
            <a:ext cx="1973650" cy="461498"/>
          </a:xfrm>
          <a:prstGeom prst="rect">
            <a:avLst/>
          </a:prstGeom>
        </p:spPr>
        <p:txBody>
          <a:bodyPr wrap="square">
            <a:spAutoFit/>
          </a:bodyPr>
          <a:lstStyle/>
          <a:p>
            <a:pPr algn="ctr" defTabSz="1088175"/>
            <a:r>
              <a:rPr lang="de-DE" sz="2400" b="1">
                <a:solidFill>
                  <a:prstClr val="white"/>
                </a:solidFill>
                <a:effectLst>
                  <a:outerShdw blurRad="38100" dist="38100" dir="2700000" algn="tl">
                    <a:srgbClr val="000000">
                      <a:alpha val="43137"/>
                    </a:srgbClr>
                  </a:outerShdw>
                </a:effectLst>
              </a:rPr>
              <a:t>Schwarz IT</a:t>
            </a:r>
          </a:p>
        </p:txBody>
      </p:sp>
      <p:grpSp>
        <p:nvGrpSpPr>
          <p:cNvPr id="17" name="Gruppieren 16"/>
          <p:cNvGrpSpPr/>
          <p:nvPr/>
        </p:nvGrpSpPr>
        <p:grpSpPr>
          <a:xfrm>
            <a:off x="7437661" y="1209739"/>
            <a:ext cx="2000876" cy="1151583"/>
            <a:chOff x="5132702" y="1208935"/>
            <a:chExt cx="2001600" cy="1152000"/>
          </a:xfrm>
        </p:grpSpPr>
        <p:sp>
          <p:nvSpPr>
            <p:cNvPr id="105" name="Rechteck 104"/>
            <p:cNvSpPr/>
            <p:nvPr/>
          </p:nvSpPr>
          <p:spPr bwMode="gray">
            <a:xfrm>
              <a:off x="5132702" y="1208935"/>
              <a:ext cx="2001600" cy="1152000"/>
            </a:xfrm>
            <a:prstGeom prst="rect">
              <a:avLst/>
            </a:prstGeom>
            <a:solidFill>
              <a:schemeClr val="accent2">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87" rIns="0" bIns="0" numCol="1" spcCol="0" rtlCol="0" fromWordArt="0" anchor="t" anchorCtr="0" forceAA="0" compatLnSpc="1">
              <a:prstTxWarp prst="textNoShape">
                <a:avLst/>
              </a:prstTxWarp>
              <a:noAutofit/>
            </a:bodyPr>
            <a:lstStyle/>
            <a:p>
              <a:pPr algn="ctr" defTabSz="1088175"/>
              <a:endParaRPr lang="de-DE" sz="1800" b="1">
                <a:solidFill>
                  <a:prstClr val="white"/>
                </a:solidFill>
                <a:effectLst>
                  <a:outerShdw blurRad="38100" dist="38100" dir="2700000" algn="tl">
                    <a:srgbClr val="000000">
                      <a:alpha val="43137"/>
                    </a:srgbClr>
                  </a:outerShdw>
                </a:effectLst>
              </a:endParaRPr>
            </a:p>
          </p:txBody>
        </p:sp>
        <p:sp>
          <p:nvSpPr>
            <p:cNvPr id="104" name="Rechteck 103"/>
            <p:cNvSpPr/>
            <p:nvPr/>
          </p:nvSpPr>
          <p:spPr>
            <a:xfrm>
              <a:off x="5230052" y="1208935"/>
              <a:ext cx="1806905" cy="461665"/>
            </a:xfrm>
            <a:prstGeom prst="rect">
              <a:avLst/>
            </a:prstGeom>
          </p:spPr>
          <p:txBody>
            <a:bodyPr wrap="none">
              <a:spAutoFit/>
            </a:bodyPr>
            <a:lstStyle/>
            <a:p>
              <a:pPr algn="ctr" defTabSz="1088175"/>
              <a:r>
                <a:rPr lang="de-DE" sz="2400" b="1">
                  <a:solidFill>
                    <a:prstClr val="white"/>
                  </a:solidFill>
                  <a:effectLst>
                    <a:outerShdw blurRad="38100" dist="38100" dir="2700000" algn="tl">
                      <a:srgbClr val="000000">
                        <a:alpha val="43137"/>
                      </a:srgbClr>
                    </a:outerShdw>
                  </a:effectLst>
                </a:rPr>
                <a:t>Produktion</a:t>
              </a:r>
            </a:p>
          </p:txBody>
        </p:sp>
        <p:pic>
          <p:nvPicPr>
            <p:cNvPr id="11" name="Grafik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83502" y="1798036"/>
              <a:ext cx="900000" cy="387000"/>
            </a:xfrm>
            <a:prstGeom prst="rect">
              <a:avLst/>
            </a:prstGeom>
          </p:spPr>
        </p:pic>
      </p:grpSp>
      <p:grpSp>
        <p:nvGrpSpPr>
          <p:cNvPr id="6" name="Gruppieren 5"/>
          <p:cNvGrpSpPr/>
          <p:nvPr/>
        </p:nvGrpSpPr>
        <p:grpSpPr>
          <a:xfrm>
            <a:off x="5094045" y="1209739"/>
            <a:ext cx="2001600" cy="1151583"/>
            <a:chOff x="7495951" y="1208935"/>
            <a:chExt cx="2002324" cy="1152000"/>
          </a:xfrm>
        </p:grpSpPr>
        <p:sp>
          <p:nvSpPr>
            <p:cNvPr id="64" name="Rechteck 63"/>
            <p:cNvSpPr/>
            <p:nvPr/>
          </p:nvSpPr>
          <p:spPr bwMode="gray">
            <a:xfrm>
              <a:off x="7495952" y="1208935"/>
              <a:ext cx="2002323" cy="1152000"/>
            </a:xfrm>
            <a:prstGeom prst="rect">
              <a:avLst/>
            </a:prstGeom>
            <a:solidFill>
              <a:schemeClr val="accent5">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87" rIns="0" bIns="0" numCol="1" spcCol="0" rtlCol="0" fromWordArt="0" anchor="t" anchorCtr="0" forceAA="0" compatLnSpc="1">
              <a:prstTxWarp prst="textNoShape">
                <a:avLst/>
              </a:prstTxWarp>
              <a:noAutofit/>
            </a:bodyPr>
            <a:lstStyle/>
            <a:p>
              <a:pPr algn="ctr" defTabSz="1088175"/>
              <a:endParaRPr lang="de-DE" sz="1800" b="1">
                <a:solidFill>
                  <a:prstClr val="white"/>
                </a:solidFill>
                <a:effectLst>
                  <a:outerShdw blurRad="38100" dist="38100" dir="2700000" algn="tl">
                    <a:srgbClr val="000000">
                      <a:alpha val="43137"/>
                    </a:srgbClr>
                  </a:outerShdw>
                </a:effectLst>
              </a:endParaRPr>
            </a:p>
          </p:txBody>
        </p:sp>
        <p:sp>
          <p:nvSpPr>
            <p:cNvPr id="63" name="Rechteck 62"/>
            <p:cNvSpPr/>
            <p:nvPr/>
          </p:nvSpPr>
          <p:spPr>
            <a:xfrm>
              <a:off x="7495951" y="1208935"/>
              <a:ext cx="2002324" cy="461665"/>
            </a:xfrm>
            <a:prstGeom prst="rect">
              <a:avLst/>
            </a:prstGeom>
          </p:spPr>
          <p:txBody>
            <a:bodyPr wrap="square">
              <a:spAutoFit/>
            </a:bodyPr>
            <a:lstStyle/>
            <a:p>
              <a:pPr algn="ctr" defTabSz="1088175"/>
              <a:r>
                <a:rPr lang="de-DE" sz="2400" b="1">
                  <a:solidFill>
                    <a:prstClr val="white"/>
                  </a:solidFill>
                  <a:effectLst>
                    <a:outerShdw blurRad="38100" dist="38100" dir="2700000" algn="tl">
                      <a:srgbClr val="000000">
                        <a:alpha val="43137"/>
                      </a:srgbClr>
                    </a:outerShdw>
                  </a:effectLst>
                </a:rPr>
                <a:t>Kaufland</a:t>
              </a:r>
            </a:p>
          </p:txBody>
        </p:sp>
        <p:pic>
          <p:nvPicPr>
            <p:cNvPr id="12" name="Grafik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82113" y="1676536"/>
              <a:ext cx="630000" cy="630000"/>
            </a:xfrm>
            <a:prstGeom prst="rect">
              <a:avLst/>
            </a:prstGeom>
          </p:spPr>
        </p:pic>
      </p:grpSp>
      <p:grpSp>
        <p:nvGrpSpPr>
          <p:cNvPr id="18" name="Gruppieren 17"/>
          <p:cNvGrpSpPr/>
          <p:nvPr/>
        </p:nvGrpSpPr>
        <p:grpSpPr>
          <a:xfrm>
            <a:off x="2751152" y="1209739"/>
            <a:ext cx="2000876" cy="1151583"/>
            <a:chOff x="2769452" y="1208935"/>
            <a:chExt cx="2001600" cy="1152000"/>
          </a:xfrm>
        </p:grpSpPr>
        <p:sp>
          <p:nvSpPr>
            <p:cNvPr id="72" name="Rechteck 71"/>
            <p:cNvSpPr/>
            <p:nvPr/>
          </p:nvSpPr>
          <p:spPr bwMode="gray">
            <a:xfrm>
              <a:off x="2769452" y="1208935"/>
              <a:ext cx="2001600" cy="1152000"/>
            </a:xfrm>
            <a:prstGeom prst="rect">
              <a:avLst/>
            </a:prstGeom>
            <a:solidFill>
              <a:srgbClr val="719ABF"/>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87" rIns="0" bIns="0" numCol="1" spcCol="0" rtlCol="0" fromWordArt="0" anchor="t" anchorCtr="0" forceAA="0" compatLnSpc="1">
              <a:prstTxWarp prst="textNoShape">
                <a:avLst/>
              </a:prstTxWarp>
              <a:noAutofit/>
            </a:bodyPr>
            <a:lstStyle/>
            <a:p>
              <a:pPr algn="ctr" defTabSz="1088175"/>
              <a:endParaRPr lang="de-DE" sz="1800" b="1">
                <a:solidFill>
                  <a:prstClr val="white"/>
                </a:solidFill>
                <a:effectLst>
                  <a:outerShdw blurRad="38100" dist="38100" dir="2700000" algn="tl">
                    <a:srgbClr val="000000">
                      <a:alpha val="43137"/>
                    </a:srgbClr>
                  </a:outerShdw>
                </a:effectLst>
              </a:endParaRPr>
            </a:p>
          </p:txBody>
        </p:sp>
        <p:sp>
          <p:nvSpPr>
            <p:cNvPr id="71" name="Rechteck 70"/>
            <p:cNvSpPr/>
            <p:nvPr/>
          </p:nvSpPr>
          <p:spPr>
            <a:xfrm>
              <a:off x="3405407" y="1208935"/>
              <a:ext cx="729687" cy="461665"/>
            </a:xfrm>
            <a:prstGeom prst="rect">
              <a:avLst/>
            </a:prstGeom>
          </p:spPr>
          <p:txBody>
            <a:bodyPr wrap="none">
              <a:spAutoFit/>
            </a:bodyPr>
            <a:lstStyle/>
            <a:p>
              <a:pPr algn="ctr" defTabSz="1088175"/>
              <a:r>
                <a:rPr lang="de-DE" sz="2400" b="1">
                  <a:solidFill>
                    <a:prstClr val="white"/>
                  </a:solidFill>
                  <a:effectLst>
                    <a:outerShdw blurRad="38100" dist="38100" dir="2700000" algn="tl">
                      <a:srgbClr val="000000">
                        <a:alpha val="43137"/>
                      </a:srgbClr>
                    </a:outerShdw>
                  </a:effectLst>
                </a:rPr>
                <a:t>Lidl</a:t>
              </a:r>
            </a:p>
          </p:txBody>
        </p:sp>
        <p:pic>
          <p:nvPicPr>
            <p:cNvPr id="13" name="Grafik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55252" y="1676536"/>
              <a:ext cx="630000" cy="630000"/>
            </a:xfrm>
            <a:prstGeom prst="rect">
              <a:avLst/>
            </a:prstGeom>
          </p:spPr>
        </p:pic>
      </p:grpSp>
      <p:grpSp>
        <p:nvGrpSpPr>
          <p:cNvPr id="4" name="Gruppieren 3"/>
          <p:cNvGrpSpPr/>
          <p:nvPr/>
        </p:nvGrpSpPr>
        <p:grpSpPr>
          <a:xfrm>
            <a:off x="408259" y="1209739"/>
            <a:ext cx="2000876" cy="1151583"/>
            <a:chOff x="406202" y="1208935"/>
            <a:chExt cx="2001600" cy="1152000"/>
          </a:xfrm>
        </p:grpSpPr>
        <p:sp>
          <p:nvSpPr>
            <p:cNvPr id="98" name="Rechteck 97"/>
            <p:cNvSpPr/>
            <p:nvPr/>
          </p:nvSpPr>
          <p:spPr bwMode="gray">
            <a:xfrm>
              <a:off x="406202" y="1208935"/>
              <a:ext cx="2001600" cy="1152000"/>
            </a:xfrm>
            <a:prstGeom prst="rect">
              <a:avLst/>
            </a:prstGeom>
            <a:solidFill>
              <a:schemeClr val="accent6">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87" rIns="0" bIns="0" numCol="1" spcCol="0" rtlCol="0" fromWordArt="0" anchor="t" anchorCtr="0" forceAA="0" compatLnSpc="1">
              <a:prstTxWarp prst="textNoShape">
                <a:avLst/>
              </a:prstTxWarp>
              <a:noAutofit/>
            </a:bodyPr>
            <a:lstStyle/>
            <a:p>
              <a:pPr algn="ctr" defTabSz="1088175"/>
              <a:endParaRPr lang="de-DE" sz="1800" b="1">
                <a:solidFill>
                  <a:prstClr val="white"/>
                </a:solidFill>
                <a:effectLst>
                  <a:outerShdw blurRad="38100" dist="38100" dir="2700000" algn="tl">
                    <a:srgbClr val="000000">
                      <a:alpha val="43137"/>
                    </a:srgbClr>
                  </a:outerShdw>
                </a:effectLst>
              </a:endParaRPr>
            </a:p>
          </p:txBody>
        </p:sp>
        <p:sp>
          <p:nvSpPr>
            <p:cNvPr id="96" name="Rechteck 95"/>
            <p:cNvSpPr/>
            <p:nvPr/>
          </p:nvSpPr>
          <p:spPr>
            <a:xfrm>
              <a:off x="529999" y="1208935"/>
              <a:ext cx="1754006" cy="461665"/>
            </a:xfrm>
            <a:prstGeom prst="rect">
              <a:avLst/>
            </a:prstGeom>
          </p:spPr>
          <p:txBody>
            <a:bodyPr wrap="none">
              <a:spAutoFit/>
            </a:bodyPr>
            <a:lstStyle/>
            <a:p>
              <a:pPr algn="ctr" defTabSz="1088175"/>
              <a:r>
                <a:rPr lang="de-DE" sz="2400" b="1">
                  <a:solidFill>
                    <a:prstClr val="white"/>
                  </a:solidFill>
                  <a:effectLst>
                    <a:outerShdw blurRad="38100" dist="38100" dir="2700000" algn="tl">
                      <a:srgbClr val="000000">
                        <a:alpha val="43137"/>
                      </a:srgbClr>
                    </a:outerShdw>
                  </a:effectLst>
                </a:rPr>
                <a:t>Lidl Digital</a:t>
              </a:r>
            </a:p>
          </p:txBody>
        </p:sp>
        <p:pic>
          <p:nvPicPr>
            <p:cNvPr id="2" name="Grafik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7002" y="1763395"/>
              <a:ext cx="900000" cy="456283"/>
            </a:xfrm>
            <a:prstGeom prst="rect">
              <a:avLst/>
            </a:prstGeom>
          </p:spPr>
        </p:pic>
      </p:grpSp>
      <p:sp>
        <p:nvSpPr>
          <p:cNvPr id="7" name="Foliennummernplatzhalter 6">
            <a:extLst>
              <a:ext uri="{FF2B5EF4-FFF2-40B4-BE49-F238E27FC236}">
                <a16:creationId xmlns:a16="http://schemas.microsoft.com/office/drawing/2014/main" id="{3A03DB63-2C49-4B31-A0A4-95C4F34B08CC}"/>
              </a:ext>
            </a:extLst>
          </p:cNvPr>
          <p:cNvSpPr>
            <a:spLocks noGrp="1"/>
          </p:cNvSpPr>
          <p:nvPr>
            <p:ph type="sldNum" sz="quarter" idx="12"/>
          </p:nvPr>
        </p:nvSpPr>
        <p:spPr/>
        <p:txBody>
          <a:bodyPr/>
          <a:lstStyle/>
          <a:p>
            <a:fld id="{0C7C1E0B-BD27-42F8-BC6B-2F0636970842}" type="slidenum">
              <a:rPr lang="de-DE" smtClean="0"/>
              <a:pPr/>
              <a:t>34</a:t>
            </a:fld>
            <a:endParaRPr lang="de-DE"/>
          </a:p>
        </p:txBody>
      </p:sp>
    </p:spTree>
    <p:extLst>
      <p:ext uri="{BB962C8B-B14F-4D97-AF65-F5344CB8AC3E}">
        <p14:creationId xmlns:p14="http://schemas.microsoft.com/office/powerpoint/2010/main" val="336483860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7DB07120-91FA-4CD6-941D-39C2229228A1}"/>
              </a:ext>
            </a:extLst>
          </p:cNvPr>
          <p:cNvPicPr>
            <a:picLocks noChangeAspect="1"/>
          </p:cNvPicPr>
          <p:nvPr/>
        </p:nvPicPr>
        <p:blipFill>
          <a:blip r:embed="rId3"/>
          <a:stretch>
            <a:fillRect/>
          </a:stretch>
        </p:blipFill>
        <p:spPr>
          <a:xfrm>
            <a:off x="1234298" y="133316"/>
            <a:ext cx="11899368" cy="6586784"/>
          </a:xfrm>
          <a:prstGeom prst="rect">
            <a:avLst/>
          </a:prstGeom>
        </p:spPr>
      </p:pic>
      <p:grpSp>
        <p:nvGrpSpPr>
          <p:cNvPr id="46" name="Gruppieren 45">
            <a:extLst>
              <a:ext uri="{FF2B5EF4-FFF2-40B4-BE49-F238E27FC236}">
                <a16:creationId xmlns:a16="http://schemas.microsoft.com/office/drawing/2014/main" id="{3FE9F93B-5416-4907-AE25-7DD7556DB0E3}"/>
              </a:ext>
            </a:extLst>
          </p:cNvPr>
          <p:cNvGrpSpPr/>
          <p:nvPr/>
        </p:nvGrpSpPr>
        <p:grpSpPr>
          <a:xfrm>
            <a:off x="8731255" y="1385941"/>
            <a:ext cx="1055828" cy="911505"/>
            <a:chOff x="8731255" y="1385941"/>
            <a:chExt cx="1055828" cy="911505"/>
          </a:xfrm>
        </p:grpSpPr>
        <p:cxnSp>
          <p:nvCxnSpPr>
            <p:cNvPr id="8" name="Gerader Verbinder 7">
              <a:extLst>
                <a:ext uri="{FF2B5EF4-FFF2-40B4-BE49-F238E27FC236}">
                  <a16:creationId xmlns:a16="http://schemas.microsoft.com/office/drawing/2014/main" id="{93B6A4B2-CB61-4211-B196-9102D7B6A3C3}"/>
                </a:ext>
              </a:extLst>
            </p:cNvPr>
            <p:cNvCxnSpPr>
              <a:cxnSpLocks/>
            </p:cNvCxnSpPr>
            <p:nvPr/>
          </p:nvCxnSpPr>
          <p:spPr bwMode="gray">
            <a:xfrm flipV="1">
              <a:off x="8731255" y="1851660"/>
              <a:ext cx="263629" cy="31432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18" name="Gerader Verbinder 217">
              <a:extLst>
                <a:ext uri="{FF2B5EF4-FFF2-40B4-BE49-F238E27FC236}">
                  <a16:creationId xmlns:a16="http://schemas.microsoft.com/office/drawing/2014/main" id="{F76EDC83-6656-4CCC-94CE-90BE4F3F2622}"/>
                </a:ext>
              </a:extLst>
            </p:cNvPr>
            <p:cNvCxnSpPr>
              <a:cxnSpLocks/>
            </p:cNvCxnSpPr>
            <p:nvPr/>
          </p:nvCxnSpPr>
          <p:spPr bwMode="gray">
            <a:xfrm flipV="1">
              <a:off x="8731255" y="1811968"/>
              <a:ext cx="189662" cy="247433"/>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44" name="Gerader Verbinder 243">
              <a:extLst>
                <a:ext uri="{FF2B5EF4-FFF2-40B4-BE49-F238E27FC236}">
                  <a16:creationId xmlns:a16="http://schemas.microsoft.com/office/drawing/2014/main" id="{4DDD2C60-358F-476E-BE14-8A7DB1607A91}"/>
                </a:ext>
              </a:extLst>
            </p:cNvPr>
            <p:cNvCxnSpPr>
              <a:cxnSpLocks/>
            </p:cNvCxnSpPr>
            <p:nvPr/>
          </p:nvCxnSpPr>
          <p:spPr bwMode="gray">
            <a:xfrm flipV="1">
              <a:off x="8789102" y="1907179"/>
              <a:ext cx="263629" cy="31432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a16="http://schemas.microsoft.com/office/drawing/2014/main" id="{9BA12451-B42B-4897-864E-D184E87FE3B5}"/>
                </a:ext>
              </a:extLst>
            </p:cNvPr>
            <p:cNvCxnSpPr>
              <a:cxnSpLocks/>
            </p:cNvCxnSpPr>
            <p:nvPr/>
          </p:nvCxnSpPr>
          <p:spPr bwMode="gray">
            <a:xfrm flipV="1">
              <a:off x="8849190" y="1959185"/>
              <a:ext cx="263629" cy="31432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76" name="Gerader Verbinder 275">
              <a:extLst>
                <a:ext uri="{FF2B5EF4-FFF2-40B4-BE49-F238E27FC236}">
                  <a16:creationId xmlns:a16="http://schemas.microsoft.com/office/drawing/2014/main" id="{F05041D1-19F5-4361-A47C-37588812B0C4}"/>
                </a:ext>
              </a:extLst>
            </p:cNvPr>
            <p:cNvCxnSpPr>
              <a:cxnSpLocks/>
            </p:cNvCxnSpPr>
            <p:nvPr/>
          </p:nvCxnSpPr>
          <p:spPr bwMode="gray">
            <a:xfrm flipV="1">
              <a:off x="9073981" y="1415248"/>
              <a:ext cx="603891" cy="713767"/>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a16="http://schemas.microsoft.com/office/drawing/2014/main" id="{DCB3D397-99CB-4F9B-B002-AB3A71548C2C}"/>
                </a:ext>
              </a:extLst>
            </p:cNvPr>
            <p:cNvCxnSpPr>
              <a:cxnSpLocks/>
            </p:cNvCxnSpPr>
            <p:nvPr/>
          </p:nvCxnSpPr>
          <p:spPr bwMode="gray">
            <a:xfrm flipV="1">
              <a:off x="9177010" y="1582755"/>
              <a:ext cx="464376" cy="555011"/>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79" name="Gerader Verbinder 278">
              <a:extLst>
                <a:ext uri="{FF2B5EF4-FFF2-40B4-BE49-F238E27FC236}">
                  <a16:creationId xmlns:a16="http://schemas.microsoft.com/office/drawing/2014/main" id="{4C39410D-D013-4A97-993F-5C1422BE1B21}"/>
                </a:ext>
              </a:extLst>
            </p:cNvPr>
            <p:cNvCxnSpPr>
              <a:cxnSpLocks/>
            </p:cNvCxnSpPr>
            <p:nvPr/>
          </p:nvCxnSpPr>
          <p:spPr bwMode="gray">
            <a:xfrm flipV="1">
              <a:off x="9297695" y="1656739"/>
              <a:ext cx="380177" cy="483544"/>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2" name="Gerader Verbinder 281">
              <a:extLst>
                <a:ext uri="{FF2B5EF4-FFF2-40B4-BE49-F238E27FC236}">
                  <a16:creationId xmlns:a16="http://schemas.microsoft.com/office/drawing/2014/main" id="{EDA70BEE-0ED8-4F63-B124-11DAA95356F0}"/>
                </a:ext>
              </a:extLst>
            </p:cNvPr>
            <p:cNvCxnSpPr>
              <a:cxnSpLocks/>
            </p:cNvCxnSpPr>
            <p:nvPr/>
          </p:nvCxnSpPr>
          <p:spPr bwMode="gray">
            <a:xfrm flipV="1">
              <a:off x="9374734" y="1739638"/>
              <a:ext cx="347284" cy="428193"/>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3" name="Gerader Verbinder 282">
              <a:extLst>
                <a:ext uri="{FF2B5EF4-FFF2-40B4-BE49-F238E27FC236}">
                  <a16:creationId xmlns:a16="http://schemas.microsoft.com/office/drawing/2014/main" id="{BB3F9D08-EB65-4DEA-B95C-C3AF56513AD3}"/>
                </a:ext>
              </a:extLst>
            </p:cNvPr>
            <p:cNvCxnSpPr>
              <a:cxnSpLocks/>
            </p:cNvCxnSpPr>
            <p:nvPr/>
          </p:nvCxnSpPr>
          <p:spPr bwMode="gray">
            <a:xfrm flipV="1">
              <a:off x="9458510" y="1876243"/>
              <a:ext cx="263629" cy="31432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a16="http://schemas.microsoft.com/office/drawing/2014/main" id="{3E8E1357-BF09-4BC4-9C0F-F0B70E416CA7}"/>
                </a:ext>
              </a:extLst>
            </p:cNvPr>
            <p:cNvCxnSpPr>
              <a:cxnSpLocks/>
            </p:cNvCxnSpPr>
            <p:nvPr/>
          </p:nvCxnSpPr>
          <p:spPr bwMode="gray">
            <a:xfrm flipV="1">
              <a:off x="9479645" y="1983120"/>
              <a:ext cx="263629" cy="31432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5" name="Gerader Verbinder 284">
              <a:extLst>
                <a:ext uri="{FF2B5EF4-FFF2-40B4-BE49-F238E27FC236}">
                  <a16:creationId xmlns:a16="http://schemas.microsoft.com/office/drawing/2014/main" id="{68B90EFD-D37F-4BCA-B194-F0F59D817726}"/>
                </a:ext>
              </a:extLst>
            </p:cNvPr>
            <p:cNvCxnSpPr>
              <a:cxnSpLocks/>
            </p:cNvCxnSpPr>
            <p:nvPr/>
          </p:nvCxnSpPr>
          <p:spPr bwMode="gray">
            <a:xfrm flipV="1">
              <a:off x="9655269" y="2057929"/>
              <a:ext cx="131814" cy="15553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6" name="Gerader Verbinder 285">
              <a:extLst>
                <a:ext uri="{FF2B5EF4-FFF2-40B4-BE49-F238E27FC236}">
                  <a16:creationId xmlns:a16="http://schemas.microsoft.com/office/drawing/2014/main" id="{20C8C98D-372E-4A12-9056-D873C7C04F38}"/>
                </a:ext>
              </a:extLst>
            </p:cNvPr>
            <p:cNvCxnSpPr>
              <a:cxnSpLocks/>
            </p:cNvCxnSpPr>
            <p:nvPr/>
          </p:nvCxnSpPr>
          <p:spPr bwMode="gray">
            <a:xfrm flipV="1">
              <a:off x="9214258" y="1402225"/>
              <a:ext cx="365126" cy="420118"/>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7" name="Gerader Verbinder 286">
              <a:extLst>
                <a:ext uri="{FF2B5EF4-FFF2-40B4-BE49-F238E27FC236}">
                  <a16:creationId xmlns:a16="http://schemas.microsoft.com/office/drawing/2014/main" id="{2559FEB0-2186-4C36-B8D9-06FA54738A82}"/>
                </a:ext>
              </a:extLst>
            </p:cNvPr>
            <p:cNvCxnSpPr>
              <a:cxnSpLocks/>
            </p:cNvCxnSpPr>
            <p:nvPr/>
          </p:nvCxnSpPr>
          <p:spPr bwMode="gray">
            <a:xfrm flipV="1">
              <a:off x="9687160" y="1422202"/>
              <a:ext cx="99285" cy="107107"/>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8" name="Gerader Verbinder 287">
              <a:extLst>
                <a:ext uri="{FF2B5EF4-FFF2-40B4-BE49-F238E27FC236}">
                  <a16:creationId xmlns:a16="http://schemas.microsoft.com/office/drawing/2014/main" id="{7AD9EBD0-CAE7-40C1-8429-B2D0FBB631C8}"/>
                </a:ext>
              </a:extLst>
            </p:cNvPr>
            <p:cNvCxnSpPr>
              <a:cxnSpLocks/>
            </p:cNvCxnSpPr>
            <p:nvPr/>
          </p:nvCxnSpPr>
          <p:spPr bwMode="gray">
            <a:xfrm flipV="1">
              <a:off x="9235490" y="1385941"/>
              <a:ext cx="250306" cy="286788"/>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9" name="Gerader Verbinder 288">
              <a:extLst>
                <a:ext uri="{FF2B5EF4-FFF2-40B4-BE49-F238E27FC236}">
                  <a16:creationId xmlns:a16="http://schemas.microsoft.com/office/drawing/2014/main" id="{0A297343-70F0-4FBD-B292-4DDDF1537B39}"/>
                </a:ext>
              </a:extLst>
            </p:cNvPr>
            <p:cNvCxnSpPr>
              <a:cxnSpLocks/>
            </p:cNvCxnSpPr>
            <p:nvPr/>
          </p:nvCxnSpPr>
          <p:spPr bwMode="gray">
            <a:xfrm flipV="1">
              <a:off x="9139968" y="1394787"/>
              <a:ext cx="235958" cy="261952"/>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90" name="Gerader Verbinder 289">
              <a:extLst>
                <a:ext uri="{FF2B5EF4-FFF2-40B4-BE49-F238E27FC236}">
                  <a16:creationId xmlns:a16="http://schemas.microsoft.com/office/drawing/2014/main" id="{6E46430B-744E-4C21-835F-1C4354B4E1E4}"/>
                </a:ext>
              </a:extLst>
            </p:cNvPr>
            <p:cNvCxnSpPr>
              <a:cxnSpLocks/>
            </p:cNvCxnSpPr>
            <p:nvPr/>
          </p:nvCxnSpPr>
          <p:spPr bwMode="gray">
            <a:xfrm flipV="1">
              <a:off x="9095822" y="1414960"/>
              <a:ext cx="157727" cy="157314"/>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91" name="Gerader Verbinder 290">
              <a:extLst>
                <a:ext uri="{FF2B5EF4-FFF2-40B4-BE49-F238E27FC236}">
                  <a16:creationId xmlns:a16="http://schemas.microsoft.com/office/drawing/2014/main" id="{36527D21-DADB-43E1-B2ED-415B54C52517}"/>
                </a:ext>
              </a:extLst>
            </p:cNvPr>
            <p:cNvCxnSpPr>
              <a:cxnSpLocks/>
            </p:cNvCxnSpPr>
            <p:nvPr/>
          </p:nvCxnSpPr>
          <p:spPr bwMode="gray">
            <a:xfrm flipV="1">
              <a:off x="8947851" y="1619920"/>
              <a:ext cx="79283" cy="80204"/>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93" name="Gerader Verbinder 292">
              <a:extLst>
                <a:ext uri="{FF2B5EF4-FFF2-40B4-BE49-F238E27FC236}">
                  <a16:creationId xmlns:a16="http://schemas.microsoft.com/office/drawing/2014/main" id="{C40BAF55-4165-4948-9823-058017448114}"/>
                </a:ext>
              </a:extLst>
            </p:cNvPr>
            <p:cNvCxnSpPr>
              <a:cxnSpLocks/>
            </p:cNvCxnSpPr>
            <p:nvPr/>
          </p:nvCxnSpPr>
          <p:spPr bwMode="gray">
            <a:xfrm flipV="1">
              <a:off x="8863069" y="1540113"/>
              <a:ext cx="146592" cy="147674"/>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grpSp>
      <p:sp>
        <p:nvSpPr>
          <p:cNvPr id="152" name="Rechteck 151">
            <a:extLst>
              <a:ext uri="{FF2B5EF4-FFF2-40B4-BE49-F238E27FC236}">
                <a16:creationId xmlns:a16="http://schemas.microsoft.com/office/drawing/2014/main" id="{2290C37C-C559-4AA2-9BBF-9274B77377E0}"/>
              </a:ext>
            </a:extLst>
          </p:cNvPr>
          <p:cNvSpPr/>
          <p:nvPr/>
        </p:nvSpPr>
        <p:spPr bwMode="gray">
          <a:xfrm>
            <a:off x="9750679" y="271524"/>
            <a:ext cx="2163099" cy="1540443"/>
          </a:xfrm>
          <a:prstGeom prst="rect">
            <a:avLst/>
          </a:prstGeom>
          <a:solidFill>
            <a:sysClr val="window" lastClr="FFFFFF"/>
          </a:solidFill>
          <a:ln w="3175" cap="flat" cmpd="sng" algn="ctr">
            <a:solidFill>
              <a:sysClr val="window" lastClr="FFFFFF">
                <a:lumMod val="50000"/>
              </a:sys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de-DE" sz="2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3" name="Rechteck 152">
            <a:extLst>
              <a:ext uri="{FF2B5EF4-FFF2-40B4-BE49-F238E27FC236}">
                <a16:creationId xmlns:a16="http://schemas.microsoft.com/office/drawing/2014/main" id="{58995D2D-9A11-416F-8463-3A163F770AC2}"/>
              </a:ext>
            </a:extLst>
          </p:cNvPr>
          <p:cNvSpPr/>
          <p:nvPr/>
        </p:nvSpPr>
        <p:spPr bwMode="gray">
          <a:xfrm>
            <a:off x="9750679" y="1922884"/>
            <a:ext cx="2163099" cy="1540443"/>
          </a:xfrm>
          <a:prstGeom prst="rect">
            <a:avLst/>
          </a:prstGeom>
          <a:solidFill>
            <a:sysClr val="window" lastClr="FFFFFF"/>
          </a:solidFill>
          <a:ln w="3175" cap="flat" cmpd="sng" algn="ctr">
            <a:solidFill>
              <a:sysClr val="window" lastClr="FFFFFF">
                <a:lumMod val="50000"/>
              </a:sys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de-DE" sz="21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55" name="Grafik 154">
            <a:extLst>
              <a:ext uri="{FF2B5EF4-FFF2-40B4-BE49-F238E27FC236}">
                <a16:creationId xmlns:a16="http://schemas.microsoft.com/office/drawing/2014/main" id="{FD8D1D15-1041-4800-9B10-82285EE758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23487" y="343856"/>
            <a:ext cx="2017484" cy="1395782"/>
          </a:xfrm>
          <a:prstGeom prst="rect">
            <a:avLst/>
          </a:prstGeom>
        </p:spPr>
      </p:pic>
      <p:pic>
        <p:nvPicPr>
          <p:cNvPr id="157" name="Grafik 156">
            <a:extLst>
              <a:ext uri="{FF2B5EF4-FFF2-40B4-BE49-F238E27FC236}">
                <a16:creationId xmlns:a16="http://schemas.microsoft.com/office/drawing/2014/main" id="{7BA7390E-20E7-449C-B3D8-F916910BCA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23487" y="1995216"/>
            <a:ext cx="2017484" cy="1395782"/>
          </a:xfrm>
          <a:prstGeom prst="rect">
            <a:avLst/>
          </a:prstGeom>
        </p:spPr>
      </p:pic>
      <p:grpSp>
        <p:nvGrpSpPr>
          <p:cNvPr id="158" name="Gruppieren 157">
            <a:extLst>
              <a:ext uri="{FF2B5EF4-FFF2-40B4-BE49-F238E27FC236}">
                <a16:creationId xmlns:a16="http://schemas.microsoft.com/office/drawing/2014/main" id="{51D2CD1F-1555-4678-8BFF-748615B8E58A}"/>
              </a:ext>
            </a:extLst>
          </p:cNvPr>
          <p:cNvGrpSpPr/>
          <p:nvPr/>
        </p:nvGrpSpPr>
        <p:grpSpPr>
          <a:xfrm>
            <a:off x="6826457" y="3545448"/>
            <a:ext cx="479720" cy="89979"/>
            <a:chOff x="5787619" y="3555795"/>
            <a:chExt cx="479831" cy="90000"/>
          </a:xfrm>
        </p:grpSpPr>
        <p:sp>
          <p:nvSpPr>
            <p:cNvPr id="159" name="Lila Box">
              <a:extLst>
                <a:ext uri="{FF2B5EF4-FFF2-40B4-BE49-F238E27FC236}">
                  <a16:creationId xmlns:a16="http://schemas.microsoft.com/office/drawing/2014/main" id="{80E2C170-21DC-4F06-8646-E6A22607BDDB}"/>
                </a:ext>
              </a:extLst>
            </p:cNvPr>
            <p:cNvSpPr/>
            <p:nvPr/>
          </p:nvSpPr>
          <p:spPr bwMode="gray">
            <a:xfrm>
              <a:off x="5877619" y="3555795"/>
              <a:ext cx="389831" cy="90000"/>
            </a:xfrm>
            <a:prstGeom prst="rect">
              <a:avLst/>
            </a:prstGeom>
            <a:solidFill>
              <a:sysClr val="window" lastClr="FFFFFF"/>
            </a:soli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791F82"/>
                  </a:solidFill>
                  <a:uLnTx/>
                  <a:uFillTx/>
                  <a:latin typeface="Tahoma" panose="020B0604030504040204" pitchFamily="34" charset="0"/>
                  <a:ea typeface="Tahoma" panose="020B0604030504040204" pitchFamily="34" charset="0"/>
                  <a:cs typeface="Tahoma" panose="020B0604030504040204" pitchFamily="34" charset="0"/>
                </a:rPr>
                <a:t>Neckarsulm</a:t>
              </a:r>
            </a:p>
          </p:txBody>
        </p:sp>
        <p:sp>
          <p:nvSpPr>
            <p:cNvPr id="160" name="Lila Box">
              <a:extLst>
                <a:ext uri="{FF2B5EF4-FFF2-40B4-BE49-F238E27FC236}">
                  <a16:creationId xmlns:a16="http://schemas.microsoft.com/office/drawing/2014/main" id="{01BF36CF-C71E-44D4-A869-6A4769ABE9F0}"/>
                </a:ext>
              </a:extLst>
            </p:cNvPr>
            <p:cNvSpPr/>
            <p:nvPr/>
          </p:nvSpPr>
          <p:spPr bwMode="gray">
            <a:xfrm>
              <a:off x="5787619" y="3555795"/>
              <a:ext cx="90000"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35992"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endParaRPr kumimoji="0" lang="de-DE" sz="550" b="0" i="0" u="none" strike="noStrike" kern="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161" name="Gruppieren 160">
            <a:extLst>
              <a:ext uri="{FF2B5EF4-FFF2-40B4-BE49-F238E27FC236}">
                <a16:creationId xmlns:a16="http://schemas.microsoft.com/office/drawing/2014/main" id="{9F7BA4A5-B1A1-4F6A-AEA0-01113D65DB11}"/>
              </a:ext>
            </a:extLst>
          </p:cNvPr>
          <p:cNvGrpSpPr/>
          <p:nvPr/>
        </p:nvGrpSpPr>
        <p:grpSpPr>
          <a:xfrm>
            <a:off x="4349665" y="2251762"/>
            <a:ext cx="570134" cy="233202"/>
            <a:chOff x="3362322" y="2252283"/>
            <a:chExt cx="570266" cy="233256"/>
          </a:xfrm>
        </p:grpSpPr>
        <p:sp>
          <p:nvSpPr>
            <p:cNvPr id="162" name="Lila Box">
              <a:extLst>
                <a:ext uri="{FF2B5EF4-FFF2-40B4-BE49-F238E27FC236}">
                  <a16:creationId xmlns:a16="http://schemas.microsoft.com/office/drawing/2014/main" id="{A7752F02-130D-4D62-B77A-AF063E2EB918}"/>
                </a:ext>
              </a:extLst>
            </p:cNvPr>
            <p:cNvSpPr/>
            <p:nvPr/>
          </p:nvSpPr>
          <p:spPr bwMode="gray">
            <a:xfrm>
              <a:off x="3362322" y="2395539"/>
              <a:ext cx="570266"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Northern Ireland</a:t>
              </a:r>
            </a:p>
          </p:txBody>
        </p:sp>
        <p:pic>
          <p:nvPicPr>
            <p:cNvPr id="163" name="Grafik 162">
              <a:extLst>
                <a:ext uri="{FF2B5EF4-FFF2-40B4-BE49-F238E27FC236}">
                  <a16:creationId xmlns:a16="http://schemas.microsoft.com/office/drawing/2014/main" id="{064CB0D5-6D1A-4498-8413-85E6CCC17C0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64" name="Gruppieren 163">
            <a:extLst>
              <a:ext uri="{FF2B5EF4-FFF2-40B4-BE49-F238E27FC236}">
                <a16:creationId xmlns:a16="http://schemas.microsoft.com/office/drawing/2014/main" id="{F66C2611-1E3C-43C9-AA44-6D6286E330EB}"/>
              </a:ext>
            </a:extLst>
          </p:cNvPr>
          <p:cNvGrpSpPr/>
          <p:nvPr/>
        </p:nvGrpSpPr>
        <p:grpSpPr>
          <a:xfrm>
            <a:off x="4197304" y="2632673"/>
            <a:ext cx="266750" cy="241675"/>
            <a:chOff x="3362322" y="2252283"/>
            <a:chExt cx="266811" cy="241731"/>
          </a:xfrm>
        </p:grpSpPr>
        <p:sp>
          <p:nvSpPr>
            <p:cNvPr id="165" name="Lila Box">
              <a:extLst>
                <a:ext uri="{FF2B5EF4-FFF2-40B4-BE49-F238E27FC236}">
                  <a16:creationId xmlns:a16="http://schemas.microsoft.com/office/drawing/2014/main" id="{D08147F5-027D-4802-A871-7DCB8D088CF6}"/>
                </a:ext>
              </a:extLst>
            </p:cNvPr>
            <p:cNvSpPr/>
            <p:nvPr/>
          </p:nvSpPr>
          <p:spPr bwMode="gray">
            <a:xfrm>
              <a:off x="3362322" y="2395539"/>
              <a:ext cx="266811" cy="98475"/>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Ireland</a:t>
              </a:r>
            </a:p>
          </p:txBody>
        </p:sp>
        <p:pic>
          <p:nvPicPr>
            <p:cNvPr id="166" name="Grafik 165">
              <a:extLst>
                <a:ext uri="{FF2B5EF4-FFF2-40B4-BE49-F238E27FC236}">
                  <a16:creationId xmlns:a16="http://schemas.microsoft.com/office/drawing/2014/main" id="{07B50C62-5A09-410B-AFEB-95CD0F92A7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67" name="Gruppieren 166">
            <a:extLst>
              <a:ext uri="{FF2B5EF4-FFF2-40B4-BE49-F238E27FC236}">
                <a16:creationId xmlns:a16="http://schemas.microsoft.com/office/drawing/2014/main" id="{738DEBBA-84FE-43DB-9A45-59D649BA2A4D}"/>
              </a:ext>
            </a:extLst>
          </p:cNvPr>
          <p:cNvGrpSpPr/>
          <p:nvPr/>
        </p:nvGrpSpPr>
        <p:grpSpPr>
          <a:xfrm>
            <a:off x="5128487" y="2731125"/>
            <a:ext cx="429733" cy="233202"/>
            <a:chOff x="3362322" y="2252283"/>
            <a:chExt cx="429832" cy="233256"/>
          </a:xfrm>
        </p:grpSpPr>
        <p:sp>
          <p:nvSpPr>
            <p:cNvPr id="168" name="Lila Box">
              <a:extLst>
                <a:ext uri="{FF2B5EF4-FFF2-40B4-BE49-F238E27FC236}">
                  <a16:creationId xmlns:a16="http://schemas.microsoft.com/office/drawing/2014/main" id="{791FF098-1683-4416-B18D-28C92950CCBB}"/>
                </a:ext>
              </a:extLst>
            </p:cNvPr>
            <p:cNvSpPr/>
            <p:nvPr/>
          </p:nvSpPr>
          <p:spPr bwMode="gray">
            <a:xfrm>
              <a:off x="3362323" y="2395539"/>
              <a:ext cx="429831"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Great Britain</a:t>
              </a:r>
            </a:p>
          </p:txBody>
        </p:sp>
        <p:pic>
          <p:nvPicPr>
            <p:cNvPr id="169" name="Grafik 168">
              <a:extLst>
                <a:ext uri="{FF2B5EF4-FFF2-40B4-BE49-F238E27FC236}">
                  <a16:creationId xmlns:a16="http://schemas.microsoft.com/office/drawing/2014/main" id="{92FC8CF7-A2D5-435B-B35D-6E3A60553FA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70" name="Gruppieren 169">
            <a:extLst>
              <a:ext uri="{FF2B5EF4-FFF2-40B4-BE49-F238E27FC236}">
                <a16:creationId xmlns:a16="http://schemas.microsoft.com/office/drawing/2014/main" id="{2A5E155D-E797-4487-8D8E-A7B28E7E5B1E}"/>
              </a:ext>
            </a:extLst>
          </p:cNvPr>
          <p:cNvGrpSpPr/>
          <p:nvPr/>
        </p:nvGrpSpPr>
        <p:grpSpPr>
          <a:xfrm>
            <a:off x="5972353" y="3021203"/>
            <a:ext cx="282400" cy="233202"/>
            <a:chOff x="3362322" y="2252283"/>
            <a:chExt cx="282465" cy="233256"/>
          </a:xfrm>
        </p:grpSpPr>
        <p:sp>
          <p:nvSpPr>
            <p:cNvPr id="171" name="Lila Box">
              <a:extLst>
                <a:ext uri="{FF2B5EF4-FFF2-40B4-BE49-F238E27FC236}">
                  <a16:creationId xmlns:a16="http://schemas.microsoft.com/office/drawing/2014/main" id="{6685D82E-115C-4CA0-88E8-7211DF1860DB}"/>
                </a:ext>
              </a:extLst>
            </p:cNvPr>
            <p:cNvSpPr/>
            <p:nvPr/>
          </p:nvSpPr>
          <p:spPr bwMode="gray">
            <a:xfrm>
              <a:off x="3362322" y="2395539"/>
              <a:ext cx="282465"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Belgium</a:t>
              </a:r>
            </a:p>
          </p:txBody>
        </p:sp>
        <p:pic>
          <p:nvPicPr>
            <p:cNvPr id="172" name="Grafik 171">
              <a:extLst>
                <a:ext uri="{FF2B5EF4-FFF2-40B4-BE49-F238E27FC236}">
                  <a16:creationId xmlns:a16="http://schemas.microsoft.com/office/drawing/2014/main" id="{8F17B92A-6EB4-403D-98CB-4D6C765DFC9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73" name="Gruppieren 172">
            <a:extLst>
              <a:ext uri="{FF2B5EF4-FFF2-40B4-BE49-F238E27FC236}">
                <a16:creationId xmlns:a16="http://schemas.microsoft.com/office/drawing/2014/main" id="{2E59444E-96A7-4FA9-A543-DE80A903DEE8}"/>
              </a:ext>
            </a:extLst>
          </p:cNvPr>
          <p:cNvGrpSpPr/>
          <p:nvPr/>
        </p:nvGrpSpPr>
        <p:grpSpPr>
          <a:xfrm>
            <a:off x="6368498" y="3234513"/>
            <a:ext cx="417478" cy="233223"/>
            <a:chOff x="3362322" y="2252283"/>
            <a:chExt cx="417575" cy="233277"/>
          </a:xfrm>
        </p:grpSpPr>
        <p:sp>
          <p:nvSpPr>
            <p:cNvPr id="174" name="Lila Box">
              <a:extLst>
                <a:ext uri="{FF2B5EF4-FFF2-40B4-BE49-F238E27FC236}">
                  <a16:creationId xmlns:a16="http://schemas.microsoft.com/office/drawing/2014/main" id="{FB715507-B02F-4884-98BF-F5E993CBE409}"/>
                </a:ext>
              </a:extLst>
            </p:cNvPr>
            <p:cNvSpPr/>
            <p:nvPr/>
          </p:nvSpPr>
          <p:spPr bwMode="gray">
            <a:xfrm>
              <a:off x="3362322" y="2395539"/>
              <a:ext cx="417575" cy="90021"/>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Luxembourg</a:t>
              </a:r>
            </a:p>
          </p:txBody>
        </p:sp>
        <p:pic>
          <p:nvPicPr>
            <p:cNvPr id="175" name="Grafik 174">
              <a:extLst>
                <a:ext uri="{FF2B5EF4-FFF2-40B4-BE49-F238E27FC236}">
                  <a16:creationId xmlns:a16="http://schemas.microsoft.com/office/drawing/2014/main" id="{D042C570-DCC3-4C7A-8ADB-47F01E11C3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4" name="Gruppieren 3">
            <a:extLst>
              <a:ext uri="{FF2B5EF4-FFF2-40B4-BE49-F238E27FC236}">
                <a16:creationId xmlns:a16="http://schemas.microsoft.com/office/drawing/2014/main" id="{8960BBDE-DDD2-4790-B77D-9A34271A24B4}"/>
              </a:ext>
            </a:extLst>
          </p:cNvPr>
          <p:cNvGrpSpPr/>
          <p:nvPr/>
        </p:nvGrpSpPr>
        <p:grpSpPr>
          <a:xfrm>
            <a:off x="7537896" y="1497556"/>
            <a:ext cx="275775" cy="233202"/>
            <a:chOff x="7537896" y="1497556"/>
            <a:chExt cx="275775" cy="233202"/>
          </a:xfrm>
        </p:grpSpPr>
        <p:sp>
          <p:nvSpPr>
            <p:cNvPr id="177" name="Lila Box">
              <a:extLst>
                <a:ext uri="{FF2B5EF4-FFF2-40B4-BE49-F238E27FC236}">
                  <a16:creationId xmlns:a16="http://schemas.microsoft.com/office/drawing/2014/main" id="{27DDF888-0BFE-4C03-A181-8D23DEB8C2B9}"/>
                </a:ext>
              </a:extLst>
            </p:cNvPr>
            <p:cNvSpPr/>
            <p:nvPr/>
          </p:nvSpPr>
          <p:spPr bwMode="gray">
            <a:xfrm>
              <a:off x="7537897" y="1640779"/>
              <a:ext cx="275774" cy="89979"/>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Sweden</a:t>
              </a:r>
            </a:p>
          </p:txBody>
        </p:sp>
        <p:pic>
          <p:nvPicPr>
            <p:cNvPr id="178" name="Grafik 177">
              <a:extLst>
                <a:ext uri="{FF2B5EF4-FFF2-40B4-BE49-F238E27FC236}">
                  <a16:creationId xmlns:a16="http://schemas.microsoft.com/office/drawing/2014/main" id="{7785B91D-E3AF-4C0C-B5EA-C001C6DF1AC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7896" y="1497556"/>
              <a:ext cx="143223" cy="143223"/>
            </a:xfrm>
            <a:prstGeom prst="rect">
              <a:avLst/>
            </a:prstGeom>
            <a:solidFill>
              <a:schemeClr val="bg1"/>
            </a:solidFill>
          </p:spPr>
        </p:pic>
      </p:grpSp>
      <p:grpSp>
        <p:nvGrpSpPr>
          <p:cNvPr id="179" name="Gruppieren 178">
            <a:extLst>
              <a:ext uri="{FF2B5EF4-FFF2-40B4-BE49-F238E27FC236}">
                <a16:creationId xmlns:a16="http://schemas.microsoft.com/office/drawing/2014/main" id="{7C13866D-D788-4CBD-9BF5-5D37BE60AE72}"/>
              </a:ext>
            </a:extLst>
          </p:cNvPr>
          <p:cNvGrpSpPr/>
          <p:nvPr/>
        </p:nvGrpSpPr>
        <p:grpSpPr>
          <a:xfrm>
            <a:off x="9252004" y="592891"/>
            <a:ext cx="269823" cy="233202"/>
            <a:chOff x="3362322" y="2252283"/>
            <a:chExt cx="269885" cy="233256"/>
          </a:xfrm>
        </p:grpSpPr>
        <p:sp>
          <p:nvSpPr>
            <p:cNvPr id="180" name="Lila Box">
              <a:extLst>
                <a:ext uri="{FF2B5EF4-FFF2-40B4-BE49-F238E27FC236}">
                  <a16:creationId xmlns:a16="http://schemas.microsoft.com/office/drawing/2014/main" id="{01E2CE3A-CF68-4EF0-B288-B59E7EC70621}"/>
                </a:ext>
              </a:extLst>
            </p:cNvPr>
            <p:cNvSpPr/>
            <p:nvPr/>
          </p:nvSpPr>
          <p:spPr bwMode="gray">
            <a:xfrm>
              <a:off x="3362322" y="2395539"/>
              <a:ext cx="269885"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Finland</a:t>
              </a:r>
            </a:p>
          </p:txBody>
        </p:sp>
        <p:pic>
          <p:nvPicPr>
            <p:cNvPr id="181" name="Grafik 180">
              <a:extLst>
                <a:ext uri="{FF2B5EF4-FFF2-40B4-BE49-F238E27FC236}">
                  <a16:creationId xmlns:a16="http://schemas.microsoft.com/office/drawing/2014/main" id="{C28D293C-6AC8-4574-9CAA-4A4E72D1284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82" name="Gruppieren 181">
            <a:extLst>
              <a:ext uri="{FF2B5EF4-FFF2-40B4-BE49-F238E27FC236}">
                <a16:creationId xmlns:a16="http://schemas.microsoft.com/office/drawing/2014/main" id="{C3F748CE-B7A0-4A14-9D0C-6ABEEC30BD3A}"/>
              </a:ext>
            </a:extLst>
          </p:cNvPr>
          <p:cNvGrpSpPr/>
          <p:nvPr/>
        </p:nvGrpSpPr>
        <p:grpSpPr>
          <a:xfrm>
            <a:off x="6804647" y="2059401"/>
            <a:ext cx="329583" cy="233202"/>
            <a:chOff x="3362322" y="2252283"/>
            <a:chExt cx="329659" cy="233256"/>
          </a:xfrm>
        </p:grpSpPr>
        <p:sp>
          <p:nvSpPr>
            <p:cNvPr id="183" name="Lila Box">
              <a:extLst>
                <a:ext uri="{FF2B5EF4-FFF2-40B4-BE49-F238E27FC236}">
                  <a16:creationId xmlns:a16="http://schemas.microsoft.com/office/drawing/2014/main" id="{197AA52D-A437-4FBC-AA53-AD33468C704B}"/>
                </a:ext>
              </a:extLst>
            </p:cNvPr>
            <p:cNvSpPr/>
            <p:nvPr/>
          </p:nvSpPr>
          <p:spPr bwMode="gray">
            <a:xfrm>
              <a:off x="3362323" y="2395539"/>
              <a:ext cx="32965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Denmark</a:t>
              </a:r>
            </a:p>
          </p:txBody>
        </p:sp>
        <p:pic>
          <p:nvPicPr>
            <p:cNvPr id="184" name="Grafik 183">
              <a:extLst>
                <a:ext uri="{FF2B5EF4-FFF2-40B4-BE49-F238E27FC236}">
                  <a16:creationId xmlns:a16="http://schemas.microsoft.com/office/drawing/2014/main" id="{36EC05E4-A7F9-4A36-A1A3-AAD35488E2B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85" name="Gruppieren 184">
            <a:extLst>
              <a:ext uri="{FF2B5EF4-FFF2-40B4-BE49-F238E27FC236}">
                <a16:creationId xmlns:a16="http://schemas.microsoft.com/office/drawing/2014/main" id="{11E23BFC-D95C-4F7C-A5DB-86D81BD6F9EF}"/>
              </a:ext>
            </a:extLst>
          </p:cNvPr>
          <p:cNvGrpSpPr/>
          <p:nvPr/>
        </p:nvGrpSpPr>
        <p:grpSpPr>
          <a:xfrm>
            <a:off x="8994884" y="2187959"/>
            <a:ext cx="328881" cy="233202"/>
            <a:chOff x="3362322" y="2252283"/>
            <a:chExt cx="328958" cy="233256"/>
          </a:xfrm>
        </p:grpSpPr>
        <p:sp>
          <p:nvSpPr>
            <p:cNvPr id="186" name="Lila Box">
              <a:extLst>
                <a:ext uri="{FF2B5EF4-FFF2-40B4-BE49-F238E27FC236}">
                  <a16:creationId xmlns:a16="http://schemas.microsoft.com/office/drawing/2014/main" id="{A86298EF-E5D6-455D-AB1E-4BC67B8E6B3E}"/>
                </a:ext>
              </a:extLst>
            </p:cNvPr>
            <p:cNvSpPr/>
            <p:nvPr/>
          </p:nvSpPr>
          <p:spPr bwMode="gray">
            <a:xfrm>
              <a:off x="3362322" y="2395539"/>
              <a:ext cx="32895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Lithuania</a:t>
              </a:r>
            </a:p>
          </p:txBody>
        </p:sp>
        <p:pic>
          <p:nvPicPr>
            <p:cNvPr id="187" name="Grafik 186">
              <a:extLst>
                <a:ext uri="{FF2B5EF4-FFF2-40B4-BE49-F238E27FC236}">
                  <a16:creationId xmlns:a16="http://schemas.microsoft.com/office/drawing/2014/main" id="{BC7F8A4A-B686-4C03-AAB9-AE2DA8A7CD0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88" name="Gruppieren 187">
            <a:extLst>
              <a:ext uri="{FF2B5EF4-FFF2-40B4-BE49-F238E27FC236}">
                <a16:creationId xmlns:a16="http://schemas.microsoft.com/office/drawing/2014/main" id="{FC062FA6-4B46-4999-B72B-AE4D6DEE44E6}"/>
              </a:ext>
            </a:extLst>
          </p:cNvPr>
          <p:cNvGrpSpPr/>
          <p:nvPr/>
        </p:nvGrpSpPr>
        <p:grpSpPr>
          <a:xfrm>
            <a:off x="7666453" y="3292604"/>
            <a:ext cx="521851" cy="233202"/>
            <a:chOff x="3362322" y="2252283"/>
            <a:chExt cx="521972" cy="233256"/>
          </a:xfrm>
        </p:grpSpPr>
        <p:sp>
          <p:nvSpPr>
            <p:cNvPr id="189" name="Lila Box">
              <a:extLst>
                <a:ext uri="{FF2B5EF4-FFF2-40B4-BE49-F238E27FC236}">
                  <a16:creationId xmlns:a16="http://schemas.microsoft.com/office/drawing/2014/main" id="{4BB24228-06BD-426B-8AE6-B440461A30E1}"/>
                </a:ext>
              </a:extLst>
            </p:cNvPr>
            <p:cNvSpPr/>
            <p:nvPr/>
          </p:nvSpPr>
          <p:spPr bwMode="gray">
            <a:xfrm>
              <a:off x="3362322" y="2395539"/>
              <a:ext cx="521972"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Czech Republic</a:t>
              </a:r>
            </a:p>
          </p:txBody>
        </p:sp>
        <p:grpSp>
          <p:nvGrpSpPr>
            <p:cNvPr id="190" name="Gruppieren 189">
              <a:extLst>
                <a:ext uri="{FF2B5EF4-FFF2-40B4-BE49-F238E27FC236}">
                  <a16:creationId xmlns:a16="http://schemas.microsoft.com/office/drawing/2014/main" id="{DB1C9B6D-A79D-4C8E-80D6-BB628147C14D}"/>
                </a:ext>
              </a:extLst>
            </p:cNvPr>
            <p:cNvGrpSpPr/>
            <p:nvPr/>
          </p:nvGrpSpPr>
          <p:grpSpPr>
            <a:xfrm>
              <a:off x="3362322" y="2252283"/>
              <a:ext cx="287709" cy="143256"/>
              <a:chOff x="3435147" y="2105527"/>
              <a:chExt cx="287709" cy="143256"/>
            </a:xfrm>
          </p:grpSpPr>
          <p:pic>
            <p:nvPicPr>
              <p:cNvPr id="191" name="Grafik 190">
                <a:extLst>
                  <a:ext uri="{FF2B5EF4-FFF2-40B4-BE49-F238E27FC236}">
                    <a16:creationId xmlns:a16="http://schemas.microsoft.com/office/drawing/2014/main" id="{02FFCDDA-058C-42B8-A1E4-47F7A46CAAB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192" name="Grafik 191">
                <a:extLst>
                  <a:ext uri="{FF2B5EF4-FFF2-40B4-BE49-F238E27FC236}">
                    <a16:creationId xmlns:a16="http://schemas.microsoft.com/office/drawing/2014/main" id="{D6FB1CD3-910D-44A0-A412-9FFCAEA35B7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193" name="Gruppieren 192">
            <a:extLst>
              <a:ext uri="{FF2B5EF4-FFF2-40B4-BE49-F238E27FC236}">
                <a16:creationId xmlns:a16="http://schemas.microsoft.com/office/drawing/2014/main" id="{210B29C0-2587-435D-B30C-06C7FD44CF02}"/>
              </a:ext>
            </a:extLst>
          </p:cNvPr>
          <p:cNvGrpSpPr/>
          <p:nvPr/>
        </p:nvGrpSpPr>
        <p:grpSpPr>
          <a:xfrm>
            <a:off x="8318767" y="3468776"/>
            <a:ext cx="299811" cy="233202"/>
            <a:chOff x="3362322" y="2252283"/>
            <a:chExt cx="299880" cy="233256"/>
          </a:xfrm>
        </p:grpSpPr>
        <p:sp>
          <p:nvSpPr>
            <p:cNvPr id="194" name="Lila Box">
              <a:extLst>
                <a:ext uri="{FF2B5EF4-FFF2-40B4-BE49-F238E27FC236}">
                  <a16:creationId xmlns:a16="http://schemas.microsoft.com/office/drawing/2014/main" id="{EEB17456-1DEC-4ECF-9552-2D424074289F}"/>
                </a:ext>
              </a:extLst>
            </p:cNvPr>
            <p:cNvSpPr/>
            <p:nvPr/>
          </p:nvSpPr>
          <p:spPr bwMode="gray">
            <a:xfrm>
              <a:off x="3362322" y="2395539"/>
              <a:ext cx="299880"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Slovakia</a:t>
              </a:r>
            </a:p>
          </p:txBody>
        </p:sp>
        <p:grpSp>
          <p:nvGrpSpPr>
            <p:cNvPr id="195" name="Gruppieren 194">
              <a:extLst>
                <a:ext uri="{FF2B5EF4-FFF2-40B4-BE49-F238E27FC236}">
                  <a16:creationId xmlns:a16="http://schemas.microsoft.com/office/drawing/2014/main" id="{36321AB1-3276-47FC-B367-8B98DA358122}"/>
                </a:ext>
              </a:extLst>
            </p:cNvPr>
            <p:cNvGrpSpPr/>
            <p:nvPr/>
          </p:nvGrpSpPr>
          <p:grpSpPr>
            <a:xfrm>
              <a:off x="3362322" y="2252283"/>
              <a:ext cx="287709" cy="143256"/>
              <a:chOff x="3435147" y="2105527"/>
              <a:chExt cx="287709" cy="143256"/>
            </a:xfrm>
          </p:grpSpPr>
          <p:pic>
            <p:nvPicPr>
              <p:cNvPr id="196" name="Grafik 195">
                <a:extLst>
                  <a:ext uri="{FF2B5EF4-FFF2-40B4-BE49-F238E27FC236}">
                    <a16:creationId xmlns:a16="http://schemas.microsoft.com/office/drawing/2014/main" id="{45C64E6C-F666-4F50-BF14-800EC80100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197" name="Grafik 196">
                <a:extLst>
                  <a:ext uri="{FF2B5EF4-FFF2-40B4-BE49-F238E27FC236}">
                    <a16:creationId xmlns:a16="http://schemas.microsoft.com/office/drawing/2014/main" id="{31D21479-81C2-4985-8EF2-E0B365889FC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198" name="Gruppieren 197">
            <a:extLst>
              <a:ext uri="{FF2B5EF4-FFF2-40B4-BE49-F238E27FC236}">
                <a16:creationId xmlns:a16="http://schemas.microsoft.com/office/drawing/2014/main" id="{5EF27F26-C24C-4C2A-8622-4065B00919A7}"/>
              </a:ext>
            </a:extLst>
          </p:cNvPr>
          <p:cNvGrpSpPr/>
          <p:nvPr/>
        </p:nvGrpSpPr>
        <p:grpSpPr>
          <a:xfrm>
            <a:off x="7599792" y="3692562"/>
            <a:ext cx="246007" cy="233202"/>
            <a:chOff x="3362322" y="2252283"/>
            <a:chExt cx="246064" cy="233256"/>
          </a:xfrm>
        </p:grpSpPr>
        <p:sp>
          <p:nvSpPr>
            <p:cNvPr id="199" name="Lila Box">
              <a:extLst>
                <a:ext uri="{FF2B5EF4-FFF2-40B4-BE49-F238E27FC236}">
                  <a16:creationId xmlns:a16="http://schemas.microsoft.com/office/drawing/2014/main" id="{BA8B4EBE-349C-4C4A-94B4-2FFAAAE53BD3}"/>
                </a:ext>
              </a:extLst>
            </p:cNvPr>
            <p:cNvSpPr/>
            <p:nvPr/>
          </p:nvSpPr>
          <p:spPr bwMode="gray">
            <a:xfrm>
              <a:off x="3362323" y="2395539"/>
              <a:ext cx="246063"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Austria</a:t>
              </a:r>
            </a:p>
          </p:txBody>
        </p:sp>
        <p:pic>
          <p:nvPicPr>
            <p:cNvPr id="200" name="Grafik 199">
              <a:extLst>
                <a:ext uri="{FF2B5EF4-FFF2-40B4-BE49-F238E27FC236}">
                  <a16:creationId xmlns:a16="http://schemas.microsoft.com/office/drawing/2014/main" id="{0928D7DA-12E1-458E-B5EE-441B751FC29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01" name="Gruppieren 200">
            <a:extLst>
              <a:ext uri="{FF2B5EF4-FFF2-40B4-BE49-F238E27FC236}">
                <a16:creationId xmlns:a16="http://schemas.microsoft.com/office/drawing/2014/main" id="{31840153-F3C4-4291-8AFB-1AEA691649CC}"/>
              </a:ext>
            </a:extLst>
          </p:cNvPr>
          <p:cNvGrpSpPr/>
          <p:nvPr/>
        </p:nvGrpSpPr>
        <p:grpSpPr>
          <a:xfrm>
            <a:off x="6642756" y="3825881"/>
            <a:ext cx="404953" cy="233202"/>
            <a:chOff x="3362322" y="2252283"/>
            <a:chExt cx="405047" cy="233256"/>
          </a:xfrm>
        </p:grpSpPr>
        <p:sp>
          <p:nvSpPr>
            <p:cNvPr id="202" name="Lila Box">
              <a:extLst>
                <a:ext uri="{FF2B5EF4-FFF2-40B4-BE49-F238E27FC236}">
                  <a16:creationId xmlns:a16="http://schemas.microsoft.com/office/drawing/2014/main" id="{CE15645F-0C63-408B-A210-F836E537BF36}"/>
                </a:ext>
              </a:extLst>
            </p:cNvPr>
            <p:cNvSpPr/>
            <p:nvPr/>
          </p:nvSpPr>
          <p:spPr bwMode="gray">
            <a:xfrm>
              <a:off x="3362322" y="2395539"/>
              <a:ext cx="405047"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Switzerland</a:t>
              </a:r>
            </a:p>
          </p:txBody>
        </p:sp>
        <p:pic>
          <p:nvPicPr>
            <p:cNvPr id="203" name="Grafik 202">
              <a:extLst>
                <a:ext uri="{FF2B5EF4-FFF2-40B4-BE49-F238E27FC236}">
                  <a16:creationId xmlns:a16="http://schemas.microsoft.com/office/drawing/2014/main" id="{6ACA6521-5D3C-41E5-B587-9987F3BDE5B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04" name="Gruppieren 203">
            <a:extLst>
              <a:ext uri="{FF2B5EF4-FFF2-40B4-BE49-F238E27FC236}">
                <a16:creationId xmlns:a16="http://schemas.microsoft.com/office/drawing/2014/main" id="{5F86943D-0B03-4DFD-954B-7F6419019798}"/>
              </a:ext>
            </a:extLst>
          </p:cNvPr>
          <p:cNvGrpSpPr/>
          <p:nvPr/>
        </p:nvGrpSpPr>
        <p:grpSpPr>
          <a:xfrm>
            <a:off x="7616037" y="3983337"/>
            <a:ext cx="303525" cy="233202"/>
            <a:chOff x="3362322" y="2252283"/>
            <a:chExt cx="303595" cy="233256"/>
          </a:xfrm>
        </p:grpSpPr>
        <p:sp>
          <p:nvSpPr>
            <p:cNvPr id="205" name="Lila Box">
              <a:extLst>
                <a:ext uri="{FF2B5EF4-FFF2-40B4-BE49-F238E27FC236}">
                  <a16:creationId xmlns:a16="http://schemas.microsoft.com/office/drawing/2014/main" id="{C860B24A-7BC9-4711-B442-8F06E973CAA6}"/>
                </a:ext>
              </a:extLst>
            </p:cNvPr>
            <p:cNvSpPr/>
            <p:nvPr/>
          </p:nvSpPr>
          <p:spPr bwMode="gray">
            <a:xfrm>
              <a:off x="3362323" y="2395539"/>
              <a:ext cx="303594"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Slovenia</a:t>
              </a:r>
            </a:p>
          </p:txBody>
        </p:sp>
        <p:pic>
          <p:nvPicPr>
            <p:cNvPr id="206" name="Grafik 205">
              <a:extLst>
                <a:ext uri="{FF2B5EF4-FFF2-40B4-BE49-F238E27FC236}">
                  <a16:creationId xmlns:a16="http://schemas.microsoft.com/office/drawing/2014/main" id="{BD7B0495-DF18-40EF-B99A-4BC26D1F80D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07" name="Gruppieren 206">
            <a:extLst>
              <a:ext uri="{FF2B5EF4-FFF2-40B4-BE49-F238E27FC236}">
                <a16:creationId xmlns:a16="http://schemas.microsoft.com/office/drawing/2014/main" id="{AFA09104-6E96-486B-B588-8E3F6BAE50B0}"/>
              </a:ext>
            </a:extLst>
          </p:cNvPr>
          <p:cNvGrpSpPr/>
          <p:nvPr/>
        </p:nvGrpSpPr>
        <p:grpSpPr>
          <a:xfrm>
            <a:off x="8244543" y="3826211"/>
            <a:ext cx="318314" cy="233202"/>
            <a:chOff x="3362322" y="2252283"/>
            <a:chExt cx="318388" cy="233256"/>
          </a:xfrm>
        </p:grpSpPr>
        <p:sp>
          <p:nvSpPr>
            <p:cNvPr id="208" name="Lila Box">
              <a:extLst>
                <a:ext uri="{FF2B5EF4-FFF2-40B4-BE49-F238E27FC236}">
                  <a16:creationId xmlns:a16="http://schemas.microsoft.com/office/drawing/2014/main" id="{A47AAA6E-256A-4731-8161-2FA8FE034D9E}"/>
                </a:ext>
              </a:extLst>
            </p:cNvPr>
            <p:cNvSpPr/>
            <p:nvPr/>
          </p:nvSpPr>
          <p:spPr bwMode="gray">
            <a:xfrm>
              <a:off x="3362322" y="2395539"/>
              <a:ext cx="31838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Hungary</a:t>
              </a:r>
            </a:p>
          </p:txBody>
        </p:sp>
        <p:pic>
          <p:nvPicPr>
            <p:cNvPr id="209" name="Grafik 208">
              <a:extLst>
                <a:ext uri="{FF2B5EF4-FFF2-40B4-BE49-F238E27FC236}">
                  <a16:creationId xmlns:a16="http://schemas.microsoft.com/office/drawing/2014/main" id="{70482AC5-65F1-4D14-B235-8D366B600FF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10" name="Gruppieren 209">
            <a:extLst>
              <a:ext uri="{FF2B5EF4-FFF2-40B4-BE49-F238E27FC236}">
                <a16:creationId xmlns:a16="http://schemas.microsoft.com/office/drawing/2014/main" id="{709B5A3A-44FB-4EE1-8D3B-17C003794E4C}"/>
              </a:ext>
            </a:extLst>
          </p:cNvPr>
          <p:cNvGrpSpPr/>
          <p:nvPr/>
        </p:nvGrpSpPr>
        <p:grpSpPr>
          <a:xfrm>
            <a:off x="9020654" y="4007144"/>
            <a:ext cx="303115" cy="233202"/>
            <a:chOff x="3362322" y="2252283"/>
            <a:chExt cx="303185" cy="233256"/>
          </a:xfrm>
        </p:grpSpPr>
        <p:sp>
          <p:nvSpPr>
            <p:cNvPr id="211" name="Lila Box">
              <a:extLst>
                <a:ext uri="{FF2B5EF4-FFF2-40B4-BE49-F238E27FC236}">
                  <a16:creationId xmlns:a16="http://schemas.microsoft.com/office/drawing/2014/main" id="{2018C0C9-B07E-4D3B-A6A7-75DA07AFEDDB}"/>
                </a:ext>
              </a:extLst>
            </p:cNvPr>
            <p:cNvSpPr/>
            <p:nvPr/>
          </p:nvSpPr>
          <p:spPr bwMode="gray">
            <a:xfrm>
              <a:off x="3362322" y="2395539"/>
              <a:ext cx="303185"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Romania</a:t>
              </a:r>
            </a:p>
          </p:txBody>
        </p:sp>
        <p:grpSp>
          <p:nvGrpSpPr>
            <p:cNvPr id="212" name="Gruppieren 211">
              <a:extLst>
                <a:ext uri="{FF2B5EF4-FFF2-40B4-BE49-F238E27FC236}">
                  <a16:creationId xmlns:a16="http://schemas.microsoft.com/office/drawing/2014/main" id="{64E28576-79B8-4BA2-B076-769F22F14667}"/>
                </a:ext>
              </a:extLst>
            </p:cNvPr>
            <p:cNvGrpSpPr/>
            <p:nvPr/>
          </p:nvGrpSpPr>
          <p:grpSpPr>
            <a:xfrm>
              <a:off x="3362322" y="2252283"/>
              <a:ext cx="287709" cy="143256"/>
              <a:chOff x="3435147" y="2105527"/>
              <a:chExt cx="287709" cy="143256"/>
            </a:xfrm>
          </p:grpSpPr>
          <p:pic>
            <p:nvPicPr>
              <p:cNvPr id="213" name="Grafik 212">
                <a:extLst>
                  <a:ext uri="{FF2B5EF4-FFF2-40B4-BE49-F238E27FC236}">
                    <a16:creationId xmlns:a16="http://schemas.microsoft.com/office/drawing/2014/main" id="{A5113CBE-01EA-46A0-B8C6-F3817A05E4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214" name="Grafik 213">
                <a:extLst>
                  <a:ext uri="{FF2B5EF4-FFF2-40B4-BE49-F238E27FC236}">
                    <a16:creationId xmlns:a16="http://schemas.microsoft.com/office/drawing/2014/main" id="{E5F4C57D-A9FE-4025-9EFB-8DAA2DDF2E4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215" name="Gruppieren 214">
            <a:extLst>
              <a:ext uri="{FF2B5EF4-FFF2-40B4-BE49-F238E27FC236}">
                <a16:creationId xmlns:a16="http://schemas.microsoft.com/office/drawing/2014/main" id="{E8A5A23F-885E-460C-9692-50ABED5D88A6}"/>
              </a:ext>
            </a:extLst>
          </p:cNvPr>
          <p:cNvGrpSpPr/>
          <p:nvPr/>
        </p:nvGrpSpPr>
        <p:grpSpPr>
          <a:xfrm>
            <a:off x="9809450" y="3730983"/>
            <a:ext cx="299748" cy="233202"/>
            <a:chOff x="3362322" y="2252283"/>
            <a:chExt cx="299818" cy="233256"/>
          </a:xfrm>
        </p:grpSpPr>
        <p:sp>
          <p:nvSpPr>
            <p:cNvPr id="216" name="Lila Box">
              <a:extLst>
                <a:ext uri="{FF2B5EF4-FFF2-40B4-BE49-F238E27FC236}">
                  <a16:creationId xmlns:a16="http://schemas.microsoft.com/office/drawing/2014/main" id="{9E0FC4A7-981E-4C54-98E3-109D3C29DAF6}"/>
                </a:ext>
              </a:extLst>
            </p:cNvPr>
            <p:cNvSpPr/>
            <p:nvPr/>
          </p:nvSpPr>
          <p:spPr bwMode="gray">
            <a:xfrm>
              <a:off x="3362322" y="2395539"/>
              <a:ext cx="29981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Moldova</a:t>
              </a:r>
            </a:p>
          </p:txBody>
        </p:sp>
        <p:pic>
          <p:nvPicPr>
            <p:cNvPr id="217" name="Grafik 216">
              <a:extLst>
                <a:ext uri="{FF2B5EF4-FFF2-40B4-BE49-F238E27FC236}">
                  <a16:creationId xmlns:a16="http://schemas.microsoft.com/office/drawing/2014/main" id="{E1FFAEAE-D5B9-4AC2-877F-990EE0974BB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19" name="Gruppieren 218">
            <a:extLst>
              <a:ext uri="{FF2B5EF4-FFF2-40B4-BE49-F238E27FC236}">
                <a16:creationId xmlns:a16="http://schemas.microsoft.com/office/drawing/2014/main" id="{93751715-7992-4BC6-9B4F-7D4986CFF583}"/>
              </a:ext>
            </a:extLst>
          </p:cNvPr>
          <p:cNvGrpSpPr/>
          <p:nvPr/>
        </p:nvGrpSpPr>
        <p:grpSpPr>
          <a:xfrm>
            <a:off x="7224020" y="4578512"/>
            <a:ext cx="173734" cy="233202"/>
            <a:chOff x="3362322" y="2252283"/>
            <a:chExt cx="173774" cy="233256"/>
          </a:xfrm>
        </p:grpSpPr>
        <p:sp>
          <p:nvSpPr>
            <p:cNvPr id="220" name="Lila Box">
              <a:extLst>
                <a:ext uri="{FF2B5EF4-FFF2-40B4-BE49-F238E27FC236}">
                  <a16:creationId xmlns:a16="http://schemas.microsoft.com/office/drawing/2014/main" id="{A87A86F0-54ED-4FF7-98B7-992B9EBC9055}"/>
                </a:ext>
              </a:extLst>
            </p:cNvPr>
            <p:cNvSpPr/>
            <p:nvPr/>
          </p:nvSpPr>
          <p:spPr bwMode="gray">
            <a:xfrm>
              <a:off x="3362322" y="2395539"/>
              <a:ext cx="173774"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Italy</a:t>
              </a:r>
            </a:p>
          </p:txBody>
        </p:sp>
        <p:pic>
          <p:nvPicPr>
            <p:cNvPr id="221" name="Grafik 220">
              <a:extLst>
                <a:ext uri="{FF2B5EF4-FFF2-40B4-BE49-F238E27FC236}">
                  <a16:creationId xmlns:a16="http://schemas.microsoft.com/office/drawing/2014/main" id="{F0310693-2FD6-4C76-BE53-FCF60073701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22" name="Gruppieren 221">
            <a:extLst>
              <a:ext uri="{FF2B5EF4-FFF2-40B4-BE49-F238E27FC236}">
                <a16:creationId xmlns:a16="http://schemas.microsoft.com/office/drawing/2014/main" id="{D4BCFE36-1E46-467F-8A3E-D739D6184E36}"/>
              </a:ext>
            </a:extLst>
          </p:cNvPr>
          <p:cNvGrpSpPr/>
          <p:nvPr/>
        </p:nvGrpSpPr>
        <p:grpSpPr>
          <a:xfrm>
            <a:off x="7776340" y="4286480"/>
            <a:ext cx="287644" cy="233202"/>
            <a:chOff x="3362321" y="2252283"/>
            <a:chExt cx="287710" cy="233256"/>
          </a:xfrm>
        </p:grpSpPr>
        <p:sp>
          <p:nvSpPr>
            <p:cNvPr id="223" name="Lila Box">
              <a:extLst>
                <a:ext uri="{FF2B5EF4-FFF2-40B4-BE49-F238E27FC236}">
                  <a16:creationId xmlns:a16="http://schemas.microsoft.com/office/drawing/2014/main" id="{67931AEE-DF59-43FE-9238-39F6D9D05119}"/>
                </a:ext>
              </a:extLst>
            </p:cNvPr>
            <p:cNvSpPr/>
            <p:nvPr/>
          </p:nvSpPr>
          <p:spPr bwMode="gray">
            <a:xfrm>
              <a:off x="3362321" y="2395539"/>
              <a:ext cx="250323"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Croatia</a:t>
              </a:r>
            </a:p>
          </p:txBody>
        </p:sp>
        <p:grpSp>
          <p:nvGrpSpPr>
            <p:cNvPr id="224" name="Gruppieren 223">
              <a:extLst>
                <a:ext uri="{FF2B5EF4-FFF2-40B4-BE49-F238E27FC236}">
                  <a16:creationId xmlns:a16="http://schemas.microsoft.com/office/drawing/2014/main" id="{C174857C-D911-4865-B715-F210758B89D9}"/>
                </a:ext>
              </a:extLst>
            </p:cNvPr>
            <p:cNvGrpSpPr/>
            <p:nvPr/>
          </p:nvGrpSpPr>
          <p:grpSpPr>
            <a:xfrm>
              <a:off x="3362322" y="2252283"/>
              <a:ext cx="287709" cy="143256"/>
              <a:chOff x="3435147" y="2105527"/>
              <a:chExt cx="287709" cy="143256"/>
            </a:xfrm>
          </p:grpSpPr>
          <p:pic>
            <p:nvPicPr>
              <p:cNvPr id="225" name="Grafik 224">
                <a:extLst>
                  <a:ext uri="{FF2B5EF4-FFF2-40B4-BE49-F238E27FC236}">
                    <a16:creationId xmlns:a16="http://schemas.microsoft.com/office/drawing/2014/main" id="{C7864A24-E770-4CB1-846B-299BF82A63A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226" name="Grafik 225">
                <a:extLst>
                  <a:ext uri="{FF2B5EF4-FFF2-40B4-BE49-F238E27FC236}">
                    <a16:creationId xmlns:a16="http://schemas.microsoft.com/office/drawing/2014/main" id="{C28E98CE-31D2-447A-9532-94E0D7C300C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227" name="Gruppieren 226">
            <a:extLst>
              <a:ext uri="{FF2B5EF4-FFF2-40B4-BE49-F238E27FC236}">
                <a16:creationId xmlns:a16="http://schemas.microsoft.com/office/drawing/2014/main" id="{9F7452C8-980D-432A-B5E1-9470DB43AE0C}"/>
              </a:ext>
            </a:extLst>
          </p:cNvPr>
          <p:cNvGrpSpPr/>
          <p:nvPr/>
        </p:nvGrpSpPr>
        <p:grpSpPr>
          <a:xfrm>
            <a:off x="8500074" y="4305525"/>
            <a:ext cx="231181" cy="233202"/>
            <a:chOff x="3362322" y="2252283"/>
            <a:chExt cx="231234" cy="233256"/>
          </a:xfrm>
        </p:grpSpPr>
        <p:sp>
          <p:nvSpPr>
            <p:cNvPr id="228" name="Lila Box">
              <a:extLst>
                <a:ext uri="{FF2B5EF4-FFF2-40B4-BE49-F238E27FC236}">
                  <a16:creationId xmlns:a16="http://schemas.microsoft.com/office/drawing/2014/main" id="{01E25444-78D4-45DC-B872-D39445581D3B}"/>
                </a:ext>
              </a:extLst>
            </p:cNvPr>
            <p:cNvSpPr/>
            <p:nvPr/>
          </p:nvSpPr>
          <p:spPr bwMode="gray">
            <a:xfrm>
              <a:off x="3362323" y="2395539"/>
              <a:ext cx="231233"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Serbia</a:t>
              </a:r>
            </a:p>
          </p:txBody>
        </p:sp>
        <p:pic>
          <p:nvPicPr>
            <p:cNvPr id="229" name="Grafik 228">
              <a:extLst>
                <a:ext uri="{FF2B5EF4-FFF2-40B4-BE49-F238E27FC236}">
                  <a16:creationId xmlns:a16="http://schemas.microsoft.com/office/drawing/2014/main" id="{149FC709-29DC-40C9-94D1-6F58B87336B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30" name="Gruppieren 229">
            <a:extLst>
              <a:ext uri="{FF2B5EF4-FFF2-40B4-BE49-F238E27FC236}">
                <a16:creationId xmlns:a16="http://schemas.microsoft.com/office/drawing/2014/main" id="{15EBD1CA-7B00-4994-A8F3-3F53BA63E089}"/>
              </a:ext>
            </a:extLst>
          </p:cNvPr>
          <p:cNvGrpSpPr/>
          <p:nvPr/>
        </p:nvGrpSpPr>
        <p:grpSpPr>
          <a:xfrm>
            <a:off x="9122227" y="4635649"/>
            <a:ext cx="332928" cy="233202"/>
            <a:chOff x="3362322" y="2252283"/>
            <a:chExt cx="333005" cy="233256"/>
          </a:xfrm>
        </p:grpSpPr>
        <p:sp>
          <p:nvSpPr>
            <p:cNvPr id="231" name="Lila Box">
              <a:extLst>
                <a:ext uri="{FF2B5EF4-FFF2-40B4-BE49-F238E27FC236}">
                  <a16:creationId xmlns:a16="http://schemas.microsoft.com/office/drawing/2014/main" id="{BBF6C228-1999-4046-807E-34CC1B898EEF}"/>
                </a:ext>
              </a:extLst>
            </p:cNvPr>
            <p:cNvSpPr/>
            <p:nvPr/>
          </p:nvSpPr>
          <p:spPr bwMode="gray">
            <a:xfrm>
              <a:off x="3362322" y="2395539"/>
              <a:ext cx="333005"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Bulgaria</a:t>
              </a:r>
            </a:p>
          </p:txBody>
        </p:sp>
        <p:grpSp>
          <p:nvGrpSpPr>
            <p:cNvPr id="232" name="Gruppieren 231">
              <a:extLst>
                <a:ext uri="{FF2B5EF4-FFF2-40B4-BE49-F238E27FC236}">
                  <a16:creationId xmlns:a16="http://schemas.microsoft.com/office/drawing/2014/main" id="{40120471-B5EB-4E41-AA65-4662AF3B118C}"/>
                </a:ext>
              </a:extLst>
            </p:cNvPr>
            <p:cNvGrpSpPr/>
            <p:nvPr/>
          </p:nvGrpSpPr>
          <p:grpSpPr>
            <a:xfrm>
              <a:off x="3362322" y="2252283"/>
              <a:ext cx="287709" cy="143256"/>
              <a:chOff x="3435147" y="2105527"/>
              <a:chExt cx="287709" cy="143256"/>
            </a:xfrm>
          </p:grpSpPr>
          <p:pic>
            <p:nvPicPr>
              <p:cNvPr id="233" name="Grafik 232">
                <a:extLst>
                  <a:ext uri="{FF2B5EF4-FFF2-40B4-BE49-F238E27FC236}">
                    <a16:creationId xmlns:a16="http://schemas.microsoft.com/office/drawing/2014/main" id="{4DB52DAD-9E85-4435-ACEC-B972D1ADE7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234" name="Grafik 233">
                <a:extLst>
                  <a:ext uri="{FF2B5EF4-FFF2-40B4-BE49-F238E27FC236}">
                    <a16:creationId xmlns:a16="http://schemas.microsoft.com/office/drawing/2014/main" id="{C3BA6A30-3822-4AF9-81BA-4DF081DEB7E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235" name="Gruppieren 234">
            <a:extLst>
              <a:ext uri="{FF2B5EF4-FFF2-40B4-BE49-F238E27FC236}">
                <a16:creationId xmlns:a16="http://schemas.microsoft.com/office/drawing/2014/main" id="{D7E2DB9E-92F4-464D-96F6-3D2F8A506DF7}"/>
              </a:ext>
            </a:extLst>
          </p:cNvPr>
          <p:cNvGrpSpPr/>
          <p:nvPr/>
        </p:nvGrpSpPr>
        <p:grpSpPr>
          <a:xfrm>
            <a:off x="8696872" y="5168925"/>
            <a:ext cx="262973" cy="233202"/>
            <a:chOff x="3362322" y="2252283"/>
            <a:chExt cx="263034" cy="233256"/>
          </a:xfrm>
        </p:grpSpPr>
        <p:sp>
          <p:nvSpPr>
            <p:cNvPr id="236" name="Lila Box">
              <a:extLst>
                <a:ext uri="{FF2B5EF4-FFF2-40B4-BE49-F238E27FC236}">
                  <a16:creationId xmlns:a16="http://schemas.microsoft.com/office/drawing/2014/main" id="{AAC8DC95-EB21-4A3B-A996-D6A13D29CAE8}"/>
                </a:ext>
              </a:extLst>
            </p:cNvPr>
            <p:cNvSpPr/>
            <p:nvPr/>
          </p:nvSpPr>
          <p:spPr bwMode="gray">
            <a:xfrm>
              <a:off x="3362322" y="2395539"/>
              <a:ext cx="263034"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Greece</a:t>
              </a:r>
            </a:p>
          </p:txBody>
        </p:sp>
        <p:pic>
          <p:nvPicPr>
            <p:cNvPr id="237" name="Grafik 236">
              <a:extLst>
                <a:ext uri="{FF2B5EF4-FFF2-40B4-BE49-F238E27FC236}">
                  <a16:creationId xmlns:a16="http://schemas.microsoft.com/office/drawing/2014/main" id="{27CF4122-7363-43BB-A9D5-D7EEB340FCB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38" name="Gruppieren 237">
            <a:extLst>
              <a:ext uri="{FF2B5EF4-FFF2-40B4-BE49-F238E27FC236}">
                <a16:creationId xmlns:a16="http://schemas.microsoft.com/office/drawing/2014/main" id="{C5D12988-F7F9-46D1-9404-F04682602D5F}"/>
              </a:ext>
            </a:extLst>
          </p:cNvPr>
          <p:cNvGrpSpPr/>
          <p:nvPr/>
        </p:nvGrpSpPr>
        <p:grpSpPr>
          <a:xfrm>
            <a:off x="7636670" y="5899006"/>
            <a:ext cx="209132" cy="233202"/>
            <a:chOff x="3362322" y="2252283"/>
            <a:chExt cx="209180" cy="233256"/>
          </a:xfrm>
        </p:grpSpPr>
        <p:sp>
          <p:nvSpPr>
            <p:cNvPr id="239" name="Lila Box">
              <a:extLst>
                <a:ext uri="{FF2B5EF4-FFF2-40B4-BE49-F238E27FC236}">
                  <a16:creationId xmlns:a16="http://schemas.microsoft.com/office/drawing/2014/main" id="{DDAFF54B-C9A7-464E-9F94-AAC850EF818E}"/>
                </a:ext>
              </a:extLst>
            </p:cNvPr>
            <p:cNvSpPr/>
            <p:nvPr/>
          </p:nvSpPr>
          <p:spPr bwMode="gray">
            <a:xfrm>
              <a:off x="3362322" y="2395539"/>
              <a:ext cx="209180"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Malta</a:t>
              </a:r>
            </a:p>
          </p:txBody>
        </p:sp>
        <p:pic>
          <p:nvPicPr>
            <p:cNvPr id="240" name="Grafik 239">
              <a:extLst>
                <a:ext uri="{FF2B5EF4-FFF2-40B4-BE49-F238E27FC236}">
                  <a16:creationId xmlns:a16="http://schemas.microsoft.com/office/drawing/2014/main" id="{B299FE41-AA44-48E3-BF5D-16115D015D1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41" name="Gruppieren 240">
            <a:extLst>
              <a:ext uri="{FF2B5EF4-FFF2-40B4-BE49-F238E27FC236}">
                <a16:creationId xmlns:a16="http://schemas.microsoft.com/office/drawing/2014/main" id="{1975012F-3A63-485E-BA0F-9C8F988C7F67}"/>
              </a:ext>
            </a:extLst>
          </p:cNvPr>
          <p:cNvGrpSpPr/>
          <p:nvPr/>
        </p:nvGrpSpPr>
        <p:grpSpPr>
          <a:xfrm>
            <a:off x="10449070" y="5930749"/>
            <a:ext cx="640154" cy="233202"/>
            <a:chOff x="3362322" y="2252283"/>
            <a:chExt cx="640302" cy="233256"/>
          </a:xfrm>
        </p:grpSpPr>
        <p:sp>
          <p:nvSpPr>
            <p:cNvPr id="242" name="Lila Box">
              <a:extLst>
                <a:ext uri="{FF2B5EF4-FFF2-40B4-BE49-F238E27FC236}">
                  <a16:creationId xmlns:a16="http://schemas.microsoft.com/office/drawing/2014/main" id="{24EB3F90-E398-4ADC-839E-CB526FECBCAD}"/>
                </a:ext>
              </a:extLst>
            </p:cNvPr>
            <p:cNvSpPr/>
            <p:nvPr/>
          </p:nvSpPr>
          <p:spPr bwMode="gray">
            <a:xfrm>
              <a:off x="3362322" y="2395539"/>
              <a:ext cx="640302"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Republic of Cyprus</a:t>
              </a:r>
            </a:p>
          </p:txBody>
        </p:sp>
        <p:pic>
          <p:nvPicPr>
            <p:cNvPr id="243" name="Grafik 242">
              <a:extLst>
                <a:ext uri="{FF2B5EF4-FFF2-40B4-BE49-F238E27FC236}">
                  <a16:creationId xmlns:a16="http://schemas.microsoft.com/office/drawing/2014/main" id="{67AB2FCF-EB63-4516-AB1C-6FA8834720A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48" name="Gruppieren 247">
            <a:extLst>
              <a:ext uri="{FF2B5EF4-FFF2-40B4-BE49-F238E27FC236}">
                <a16:creationId xmlns:a16="http://schemas.microsoft.com/office/drawing/2014/main" id="{463A4BAD-F9D5-428A-8130-4F4C6EAC901A}"/>
              </a:ext>
            </a:extLst>
          </p:cNvPr>
          <p:cNvGrpSpPr/>
          <p:nvPr/>
        </p:nvGrpSpPr>
        <p:grpSpPr>
          <a:xfrm>
            <a:off x="10945997" y="2447505"/>
            <a:ext cx="379226" cy="233202"/>
            <a:chOff x="3362321" y="2252283"/>
            <a:chExt cx="379314" cy="233256"/>
          </a:xfrm>
        </p:grpSpPr>
        <p:sp>
          <p:nvSpPr>
            <p:cNvPr id="249" name="Lila Box">
              <a:extLst>
                <a:ext uri="{FF2B5EF4-FFF2-40B4-BE49-F238E27FC236}">
                  <a16:creationId xmlns:a16="http://schemas.microsoft.com/office/drawing/2014/main" id="{067B5E1C-4AAD-4276-8D48-5586287C9D83}"/>
                </a:ext>
              </a:extLst>
            </p:cNvPr>
            <p:cNvSpPr/>
            <p:nvPr/>
          </p:nvSpPr>
          <p:spPr bwMode="gray">
            <a:xfrm>
              <a:off x="3362321" y="2395539"/>
              <a:ext cx="379314"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Hong Kong</a:t>
              </a:r>
            </a:p>
          </p:txBody>
        </p:sp>
        <p:grpSp>
          <p:nvGrpSpPr>
            <p:cNvPr id="250" name="Gruppieren 249">
              <a:extLst>
                <a:ext uri="{FF2B5EF4-FFF2-40B4-BE49-F238E27FC236}">
                  <a16:creationId xmlns:a16="http://schemas.microsoft.com/office/drawing/2014/main" id="{7087EFC9-4DCE-409C-8C3A-ACC1EF5E12CA}"/>
                </a:ext>
              </a:extLst>
            </p:cNvPr>
            <p:cNvGrpSpPr/>
            <p:nvPr/>
          </p:nvGrpSpPr>
          <p:grpSpPr>
            <a:xfrm>
              <a:off x="3362322" y="2252283"/>
              <a:ext cx="287709" cy="143256"/>
              <a:chOff x="3435147" y="2105527"/>
              <a:chExt cx="287709" cy="143256"/>
            </a:xfrm>
          </p:grpSpPr>
          <p:pic>
            <p:nvPicPr>
              <p:cNvPr id="251" name="Grafik 250">
                <a:extLst>
                  <a:ext uri="{FF2B5EF4-FFF2-40B4-BE49-F238E27FC236}">
                    <a16:creationId xmlns:a16="http://schemas.microsoft.com/office/drawing/2014/main" id="{8F68D80B-4E27-4A44-95AE-A64F5B8DB5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252" name="Grafik 251">
                <a:extLst>
                  <a:ext uri="{FF2B5EF4-FFF2-40B4-BE49-F238E27FC236}">
                    <a16:creationId xmlns:a16="http://schemas.microsoft.com/office/drawing/2014/main" id="{871F5597-B8A6-4905-A815-F17EFD07EE9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253" name="Gruppieren 252">
            <a:extLst>
              <a:ext uri="{FF2B5EF4-FFF2-40B4-BE49-F238E27FC236}">
                <a16:creationId xmlns:a16="http://schemas.microsoft.com/office/drawing/2014/main" id="{49F79F9B-8350-4ABE-92AF-23227B43CBAF}"/>
              </a:ext>
            </a:extLst>
          </p:cNvPr>
          <p:cNvGrpSpPr/>
          <p:nvPr/>
        </p:nvGrpSpPr>
        <p:grpSpPr>
          <a:xfrm>
            <a:off x="10512896" y="705628"/>
            <a:ext cx="171040" cy="233202"/>
            <a:chOff x="3362322" y="2252283"/>
            <a:chExt cx="171080" cy="233256"/>
          </a:xfrm>
        </p:grpSpPr>
        <p:sp>
          <p:nvSpPr>
            <p:cNvPr id="254" name="Lila Box">
              <a:extLst>
                <a:ext uri="{FF2B5EF4-FFF2-40B4-BE49-F238E27FC236}">
                  <a16:creationId xmlns:a16="http://schemas.microsoft.com/office/drawing/2014/main" id="{AA625EF4-3B97-4A02-8A3B-40C40382475B}"/>
                </a:ext>
              </a:extLst>
            </p:cNvPr>
            <p:cNvSpPr/>
            <p:nvPr/>
          </p:nvSpPr>
          <p:spPr bwMode="gray">
            <a:xfrm>
              <a:off x="3362322" y="2395539"/>
              <a:ext cx="171080"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USA</a:t>
              </a:r>
            </a:p>
          </p:txBody>
        </p:sp>
        <p:pic>
          <p:nvPicPr>
            <p:cNvPr id="255" name="Grafik 254">
              <a:extLst>
                <a:ext uri="{FF2B5EF4-FFF2-40B4-BE49-F238E27FC236}">
                  <a16:creationId xmlns:a16="http://schemas.microsoft.com/office/drawing/2014/main" id="{0E8EC1B8-ADD8-4AEB-82C9-170AF84C3EF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56" name="Gruppieren 255">
            <a:extLst>
              <a:ext uri="{FF2B5EF4-FFF2-40B4-BE49-F238E27FC236}">
                <a16:creationId xmlns:a16="http://schemas.microsoft.com/office/drawing/2014/main" id="{C5C89A93-4DA8-40DE-8DEA-DB8C5E991713}"/>
              </a:ext>
            </a:extLst>
          </p:cNvPr>
          <p:cNvGrpSpPr/>
          <p:nvPr/>
        </p:nvGrpSpPr>
        <p:grpSpPr>
          <a:xfrm>
            <a:off x="4798877" y="5073697"/>
            <a:ext cx="208099" cy="233202"/>
            <a:chOff x="3362322" y="2252283"/>
            <a:chExt cx="208147" cy="233256"/>
          </a:xfrm>
        </p:grpSpPr>
        <p:sp>
          <p:nvSpPr>
            <p:cNvPr id="257" name="Lila Box">
              <a:extLst>
                <a:ext uri="{FF2B5EF4-FFF2-40B4-BE49-F238E27FC236}">
                  <a16:creationId xmlns:a16="http://schemas.microsoft.com/office/drawing/2014/main" id="{112512A6-C5A0-42CE-8941-177A3525EDA3}"/>
                </a:ext>
              </a:extLst>
            </p:cNvPr>
            <p:cNvSpPr/>
            <p:nvPr/>
          </p:nvSpPr>
          <p:spPr bwMode="gray">
            <a:xfrm>
              <a:off x="3362323" y="2395539"/>
              <a:ext cx="208146"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Spain</a:t>
              </a:r>
            </a:p>
          </p:txBody>
        </p:sp>
        <p:pic>
          <p:nvPicPr>
            <p:cNvPr id="258" name="Grafik 257">
              <a:extLst>
                <a:ext uri="{FF2B5EF4-FFF2-40B4-BE49-F238E27FC236}">
                  <a16:creationId xmlns:a16="http://schemas.microsoft.com/office/drawing/2014/main" id="{7F06927F-F996-455F-AD53-B0A2F85A02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59" name="Gruppieren 258">
            <a:extLst>
              <a:ext uri="{FF2B5EF4-FFF2-40B4-BE49-F238E27FC236}">
                <a16:creationId xmlns:a16="http://schemas.microsoft.com/office/drawing/2014/main" id="{56AFB3BD-62A0-4FE3-8430-AF8BEB2ACDA3}"/>
              </a:ext>
            </a:extLst>
          </p:cNvPr>
          <p:cNvGrpSpPr/>
          <p:nvPr/>
        </p:nvGrpSpPr>
        <p:grpSpPr>
          <a:xfrm>
            <a:off x="4202116" y="5238759"/>
            <a:ext cx="290774" cy="233202"/>
            <a:chOff x="3362322" y="2252283"/>
            <a:chExt cx="290841" cy="233256"/>
          </a:xfrm>
        </p:grpSpPr>
        <p:sp>
          <p:nvSpPr>
            <p:cNvPr id="260" name="Lila Box">
              <a:extLst>
                <a:ext uri="{FF2B5EF4-FFF2-40B4-BE49-F238E27FC236}">
                  <a16:creationId xmlns:a16="http://schemas.microsoft.com/office/drawing/2014/main" id="{6947199A-58AB-4177-9BB7-484ECDA03081}"/>
                </a:ext>
              </a:extLst>
            </p:cNvPr>
            <p:cNvSpPr/>
            <p:nvPr/>
          </p:nvSpPr>
          <p:spPr bwMode="gray">
            <a:xfrm>
              <a:off x="3362322" y="2395539"/>
              <a:ext cx="290841"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Portugal</a:t>
              </a:r>
            </a:p>
          </p:txBody>
        </p:sp>
        <p:pic>
          <p:nvPicPr>
            <p:cNvPr id="261" name="Grafik 260">
              <a:extLst>
                <a:ext uri="{FF2B5EF4-FFF2-40B4-BE49-F238E27FC236}">
                  <a16:creationId xmlns:a16="http://schemas.microsoft.com/office/drawing/2014/main" id="{078890BD-4AFC-4F34-9894-847A575DB3A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62" name="Gruppieren 261">
            <a:extLst>
              <a:ext uri="{FF2B5EF4-FFF2-40B4-BE49-F238E27FC236}">
                <a16:creationId xmlns:a16="http://schemas.microsoft.com/office/drawing/2014/main" id="{F81A2F76-3773-4E36-B969-272ACB16E7EE}"/>
              </a:ext>
            </a:extLst>
          </p:cNvPr>
          <p:cNvGrpSpPr/>
          <p:nvPr/>
        </p:nvGrpSpPr>
        <p:grpSpPr>
          <a:xfrm>
            <a:off x="5789248" y="3908742"/>
            <a:ext cx="251297" cy="233202"/>
            <a:chOff x="3362322" y="2252283"/>
            <a:chExt cx="251355" cy="233256"/>
          </a:xfrm>
        </p:grpSpPr>
        <p:sp>
          <p:nvSpPr>
            <p:cNvPr id="263" name="Lila Box">
              <a:extLst>
                <a:ext uri="{FF2B5EF4-FFF2-40B4-BE49-F238E27FC236}">
                  <a16:creationId xmlns:a16="http://schemas.microsoft.com/office/drawing/2014/main" id="{723571DA-5DAB-4B18-846E-8D3A34B195EC}"/>
                </a:ext>
              </a:extLst>
            </p:cNvPr>
            <p:cNvSpPr/>
            <p:nvPr/>
          </p:nvSpPr>
          <p:spPr bwMode="gray">
            <a:xfrm>
              <a:off x="3362323" y="2395539"/>
              <a:ext cx="251354"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France</a:t>
              </a:r>
            </a:p>
          </p:txBody>
        </p:sp>
        <p:pic>
          <p:nvPicPr>
            <p:cNvPr id="264" name="Grafik 263">
              <a:extLst>
                <a:ext uri="{FF2B5EF4-FFF2-40B4-BE49-F238E27FC236}">
                  <a16:creationId xmlns:a16="http://schemas.microsoft.com/office/drawing/2014/main" id="{3F701BFA-6632-4F10-9D77-26B4FF87F3D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98" name="Gruppieren 297"/>
          <p:cNvGrpSpPr/>
          <p:nvPr/>
        </p:nvGrpSpPr>
        <p:grpSpPr>
          <a:xfrm>
            <a:off x="6818810" y="2946019"/>
            <a:ext cx="665509" cy="235687"/>
            <a:chOff x="5801589" y="2942536"/>
            <a:chExt cx="665509" cy="235687"/>
          </a:xfrm>
        </p:grpSpPr>
        <p:sp>
          <p:nvSpPr>
            <p:cNvPr id="272" name="Lila Box">
              <a:extLst>
                <a:ext uri="{FF2B5EF4-FFF2-40B4-BE49-F238E27FC236}">
                  <a16:creationId xmlns:a16="http://schemas.microsoft.com/office/drawing/2014/main" id="{E50AB980-E5E2-4CB4-A5BD-ABAD9BFDEE1D}"/>
                </a:ext>
              </a:extLst>
            </p:cNvPr>
            <p:cNvSpPr/>
            <p:nvPr/>
          </p:nvSpPr>
          <p:spPr bwMode="gray">
            <a:xfrm>
              <a:off x="5801589" y="3088244"/>
              <a:ext cx="315416" cy="89979"/>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Germany</a:t>
              </a:r>
            </a:p>
          </p:txBody>
        </p:sp>
        <p:grpSp>
          <p:nvGrpSpPr>
            <p:cNvPr id="297" name="Gruppieren 296"/>
            <p:cNvGrpSpPr/>
            <p:nvPr/>
          </p:nvGrpSpPr>
          <p:grpSpPr>
            <a:xfrm>
              <a:off x="6030486" y="2942536"/>
              <a:ext cx="436612" cy="145138"/>
              <a:chOff x="6030486" y="2942536"/>
              <a:chExt cx="436612" cy="145138"/>
            </a:xfrm>
          </p:grpSpPr>
          <p:pic>
            <p:nvPicPr>
              <p:cNvPr id="274" name="Grafik 273">
                <a:extLst>
                  <a:ext uri="{FF2B5EF4-FFF2-40B4-BE49-F238E27FC236}">
                    <a16:creationId xmlns:a16="http://schemas.microsoft.com/office/drawing/2014/main" id="{D885D9DD-4C8F-431B-9F42-AC24CB45663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66492" y="2943674"/>
                <a:ext cx="143223" cy="143223"/>
              </a:xfrm>
              <a:prstGeom prst="rect">
                <a:avLst/>
              </a:prstGeom>
              <a:solidFill>
                <a:schemeClr val="bg1"/>
              </a:solidFill>
            </p:spPr>
          </p:pic>
          <p:pic>
            <p:nvPicPr>
              <p:cNvPr id="275" name="Grafik 274">
                <a:extLst>
                  <a:ext uri="{FF2B5EF4-FFF2-40B4-BE49-F238E27FC236}">
                    <a16:creationId xmlns:a16="http://schemas.microsoft.com/office/drawing/2014/main" id="{3A48C973-84C4-49D4-84F9-3DAA1010CA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30486" y="2942536"/>
                <a:ext cx="143223" cy="143223"/>
              </a:xfrm>
              <a:prstGeom prst="rect">
                <a:avLst/>
              </a:prstGeom>
              <a:solidFill>
                <a:schemeClr val="bg1"/>
              </a:solidFill>
            </p:spPr>
          </p:pic>
          <p:pic>
            <p:nvPicPr>
              <p:cNvPr id="295" name="Grafik 29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04716" y="2943674"/>
                <a:ext cx="162382" cy="144000"/>
              </a:xfrm>
              <a:prstGeom prst="rect">
                <a:avLst/>
              </a:prstGeom>
              <a:solidFill>
                <a:schemeClr val="bg1"/>
              </a:solidFill>
            </p:spPr>
          </p:pic>
        </p:grpSp>
      </p:grpSp>
      <p:grpSp>
        <p:nvGrpSpPr>
          <p:cNvPr id="309" name="Gruppieren 308"/>
          <p:cNvGrpSpPr/>
          <p:nvPr/>
        </p:nvGrpSpPr>
        <p:grpSpPr>
          <a:xfrm>
            <a:off x="6292316" y="2762183"/>
            <a:ext cx="417478" cy="327059"/>
            <a:chOff x="5260692" y="2762183"/>
            <a:chExt cx="417478" cy="327059"/>
          </a:xfrm>
        </p:grpSpPr>
        <p:grpSp>
          <p:nvGrpSpPr>
            <p:cNvPr id="308" name="Gruppieren 307"/>
            <p:cNvGrpSpPr/>
            <p:nvPr/>
          </p:nvGrpSpPr>
          <p:grpSpPr>
            <a:xfrm>
              <a:off x="5260692" y="2762183"/>
              <a:ext cx="305605" cy="144000"/>
              <a:chOff x="5260692" y="2762183"/>
              <a:chExt cx="305605" cy="144000"/>
            </a:xfrm>
          </p:grpSpPr>
          <p:pic>
            <p:nvPicPr>
              <p:cNvPr id="269" name="Grafik 268">
                <a:extLst>
                  <a:ext uri="{FF2B5EF4-FFF2-40B4-BE49-F238E27FC236}">
                    <a16:creationId xmlns:a16="http://schemas.microsoft.com/office/drawing/2014/main" id="{EC4D6455-2DEB-4F1D-AB45-B0EBDC3A523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0692" y="2762183"/>
                <a:ext cx="143223" cy="143223"/>
              </a:xfrm>
              <a:prstGeom prst="rect">
                <a:avLst/>
              </a:prstGeom>
              <a:solidFill>
                <a:schemeClr val="bg1"/>
              </a:solidFill>
            </p:spPr>
          </p:pic>
          <p:pic>
            <p:nvPicPr>
              <p:cNvPr id="296" name="Grafik 29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03915" y="2762183"/>
                <a:ext cx="162382" cy="144000"/>
              </a:xfrm>
              <a:prstGeom prst="rect">
                <a:avLst/>
              </a:prstGeom>
              <a:solidFill>
                <a:schemeClr val="bg1"/>
              </a:solidFill>
            </p:spPr>
          </p:pic>
        </p:grpSp>
        <p:sp>
          <p:nvSpPr>
            <p:cNvPr id="268" name="Lila Box">
              <a:extLst>
                <a:ext uri="{FF2B5EF4-FFF2-40B4-BE49-F238E27FC236}">
                  <a16:creationId xmlns:a16="http://schemas.microsoft.com/office/drawing/2014/main" id="{234591BC-5B64-40C9-975D-820DFBCAE72E}"/>
                </a:ext>
              </a:extLst>
            </p:cNvPr>
            <p:cNvSpPr/>
            <p:nvPr/>
          </p:nvSpPr>
          <p:spPr bwMode="gray">
            <a:xfrm>
              <a:off x="5260692" y="2905406"/>
              <a:ext cx="417478" cy="183836"/>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The Netherlands</a:t>
              </a:r>
            </a:p>
          </p:txBody>
        </p:sp>
      </p:grpSp>
      <p:grpSp>
        <p:nvGrpSpPr>
          <p:cNvPr id="307" name="Gruppieren 306"/>
          <p:cNvGrpSpPr/>
          <p:nvPr/>
        </p:nvGrpSpPr>
        <p:grpSpPr>
          <a:xfrm>
            <a:off x="8156880" y="2783135"/>
            <a:ext cx="449530" cy="233202"/>
            <a:chOff x="7125256" y="2783135"/>
            <a:chExt cx="449530" cy="233202"/>
          </a:xfrm>
        </p:grpSpPr>
        <p:sp>
          <p:nvSpPr>
            <p:cNvPr id="278" name="Lila Box">
              <a:extLst>
                <a:ext uri="{FF2B5EF4-FFF2-40B4-BE49-F238E27FC236}">
                  <a16:creationId xmlns:a16="http://schemas.microsoft.com/office/drawing/2014/main" id="{CB272014-CBB8-4BD3-A37B-D5BE35430CE5}"/>
                </a:ext>
              </a:extLst>
            </p:cNvPr>
            <p:cNvSpPr/>
            <p:nvPr/>
          </p:nvSpPr>
          <p:spPr bwMode="gray">
            <a:xfrm>
              <a:off x="7125256" y="2926358"/>
              <a:ext cx="244170" cy="89979"/>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Poland</a:t>
              </a:r>
            </a:p>
          </p:txBody>
        </p:sp>
        <p:grpSp>
          <p:nvGrpSpPr>
            <p:cNvPr id="306" name="Gruppieren 305"/>
            <p:cNvGrpSpPr/>
            <p:nvPr/>
          </p:nvGrpSpPr>
          <p:grpSpPr>
            <a:xfrm>
              <a:off x="7125256" y="2783135"/>
              <a:ext cx="449530" cy="143223"/>
              <a:chOff x="7125256" y="2783135"/>
              <a:chExt cx="449530" cy="143223"/>
            </a:xfrm>
          </p:grpSpPr>
          <p:pic>
            <p:nvPicPr>
              <p:cNvPr id="280" name="Grafik 279">
                <a:extLst>
                  <a:ext uri="{FF2B5EF4-FFF2-40B4-BE49-F238E27FC236}">
                    <a16:creationId xmlns:a16="http://schemas.microsoft.com/office/drawing/2014/main" id="{D885D9DD-4C8F-431B-9F42-AC24CB45663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69675" y="2783135"/>
                <a:ext cx="143223" cy="143223"/>
              </a:xfrm>
              <a:prstGeom prst="rect">
                <a:avLst/>
              </a:prstGeom>
              <a:solidFill>
                <a:schemeClr val="bg1"/>
              </a:solidFill>
            </p:spPr>
          </p:pic>
          <p:pic>
            <p:nvPicPr>
              <p:cNvPr id="281" name="Grafik 280">
                <a:extLst>
                  <a:ext uri="{FF2B5EF4-FFF2-40B4-BE49-F238E27FC236}">
                    <a16:creationId xmlns:a16="http://schemas.microsoft.com/office/drawing/2014/main" id="{3A48C973-84C4-49D4-84F9-3DAA1010CA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25256" y="2783135"/>
                <a:ext cx="143223" cy="143223"/>
              </a:xfrm>
              <a:prstGeom prst="rect">
                <a:avLst/>
              </a:prstGeom>
              <a:solidFill>
                <a:schemeClr val="bg1"/>
              </a:solidFill>
            </p:spPr>
          </p:pic>
          <p:pic>
            <p:nvPicPr>
              <p:cNvPr id="302" name="Grafik 3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12404" y="2783135"/>
                <a:ext cx="162382" cy="140914"/>
              </a:xfrm>
              <a:prstGeom prst="rect">
                <a:avLst/>
              </a:prstGeom>
              <a:solidFill>
                <a:schemeClr val="bg1"/>
              </a:solidFill>
            </p:spPr>
          </p:pic>
        </p:grpSp>
      </p:grpSp>
      <p:pic>
        <p:nvPicPr>
          <p:cNvPr id="147" name="Grafik 146">
            <a:extLst>
              <a:ext uri="{FF2B5EF4-FFF2-40B4-BE49-F238E27FC236}">
                <a16:creationId xmlns:a16="http://schemas.microsoft.com/office/drawing/2014/main" id="{792F2DE1-DDCC-4165-B495-A753196D456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26457" y="3345747"/>
            <a:ext cx="245859" cy="199592"/>
          </a:xfrm>
          <a:prstGeom prst="rect">
            <a:avLst/>
          </a:prstGeom>
        </p:spPr>
      </p:pic>
      <p:pic>
        <p:nvPicPr>
          <p:cNvPr id="148" name="Grafik 147">
            <a:extLst>
              <a:ext uri="{FF2B5EF4-FFF2-40B4-BE49-F238E27FC236}">
                <a16:creationId xmlns:a16="http://schemas.microsoft.com/office/drawing/2014/main" id="{72736010-52DF-498C-9BC2-D2149CB9F84D}"/>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6838" r="16838"/>
          <a:stretch/>
        </p:blipFill>
        <p:spPr>
          <a:xfrm>
            <a:off x="6818809" y="2944725"/>
            <a:ext cx="228898" cy="148089"/>
          </a:xfrm>
          <a:prstGeom prst="rect">
            <a:avLst/>
          </a:prstGeom>
          <a:solidFill>
            <a:schemeClr val="bg1"/>
          </a:solidFill>
        </p:spPr>
      </p:pic>
      <p:sp>
        <p:nvSpPr>
          <p:cNvPr id="154" name="Titel 1">
            <a:extLst>
              <a:ext uri="{FF2B5EF4-FFF2-40B4-BE49-F238E27FC236}">
                <a16:creationId xmlns:a16="http://schemas.microsoft.com/office/drawing/2014/main" id="{6C386513-ADC4-445D-A1A0-1B47960E8CF1}"/>
              </a:ext>
            </a:extLst>
          </p:cNvPr>
          <p:cNvSpPr>
            <a:spLocks noGrp="1"/>
          </p:cNvSpPr>
          <p:nvPr>
            <p:ph type="title"/>
          </p:nvPr>
        </p:nvSpPr>
        <p:spPr>
          <a:xfrm>
            <a:off x="403224" y="262470"/>
            <a:ext cx="11354771" cy="503050"/>
          </a:xfrm>
        </p:spPr>
        <p:txBody>
          <a:bodyPr/>
          <a:lstStyle/>
          <a:p>
            <a:r>
              <a:rPr lang="en-US"/>
              <a:t>Our customers</a:t>
            </a:r>
          </a:p>
        </p:txBody>
      </p:sp>
      <p:sp>
        <p:nvSpPr>
          <p:cNvPr id="156" name="Untertitel 2">
            <a:extLst>
              <a:ext uri="{FF2B5EF4-FFF2-40B4-BE49-F238E27FC236}">
                <a16:creationId xmlns:a16="http://schemas.microsoft.com/office/drawing/2014/main" id="{D8830F32-70E9-4FE6-99C6-6C5A191DD0C8}"/>
              </a:ext>
            </a:extLst>
          </p:cNvPr>
          <p:cNvSpPr>
            <a:spLocks noGrp="1"/>
          </p:cNvSpPr>
          <p:nvPr>
            <p:ph type="subTitle" idx="1"/>
          </p:nvPr>
        </p:nvSpPr>
        <p:spPr>
          <a:xfrm>
            <a:off x="409577" y="739137"/>
            <a:ext cx="11348418" cy="426662"/>
          </a:xfrm>
        </p:spPr>
        <p:txBody>
          <a:bodyPr/>
          <a:lstStyle/>
          <a:p>
            <a:r>
              <a:rPr lang="en-US"/>
              <a:t>We are the central IT service provider for...</a:t>
            </a:r>
          </a:p>
          <a:p>
            <a:endParaRPr lang="de-DE"/>
          </a:p>
        </p:txBody>
      </p:sp>
      <p:sp>
        <p:nvSpPr>
          <p:cNvPr id="325" name="Rechteck 324">
            <a:extLst>
              <a:ext uri="{FF2B5EF4-FFF2-40B4-BE49-F238E27FC236}">
                <a16:creationId xmlns:a16="http://schemas.microsoft.com/office/drawing/2014/main" id="{60C6A1B5-FACA-414E-AB05-5485F8BCDBE1}"/>
              </a:ext>
            </a:extLst>
          </p:cNvPr>
          <p:cNvSpPr/>
          <p:nvPr/>
        </p:nvSpPr>
        <p:spPr bwMode="gray">
          <a:xfrm>
            <a:off x="299672" y="1797812"/>
            <a:ext cx="3811459" cy="4773526"/>
          </a:xfrm>
          <a:prstGeom prst="rect">
            <a:avLst/>
          </a:prstGeom>
          <a:solidFill>
            <a:schemeClr val="accent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850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326" name="Rechteck 325">
            <a:extLst>
              <a:ext uri="{FF2B5EF4-FFF2-40B4-BE49-F238E27FC236}">
                <a16:creationId xmlns:a16="http://schemas.microsoft.com/office/drawing/2014/main" id="{23135B77-608D-40A2-81D2-FB000895E07B}"/>
              </a:ext>
            </a:extLst>
          </p:cNvPr>
          <p:cNvSpPr/>
          <p:nvPr/>
        </p:nvSpPr>
        <p:spPr bwMode="gray">
          <a:xfrm>
            <a:off x="299672" y="3437431"/>
            <a:ext cx="3822220" cy="557950"/>
          </a:xfrm>
          <a:prstGeom prst="rect">
            <a:avLst/>
          </a:prstGeom>
          <a:solidFill>
            <a:schemeClr val="bg1">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850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327" name="Gruppieren 326">
            <a:extLst>
              <a:ext uri="{FF2B5EF4-FFF2-40B4-BE49-F238E27FC236}">
                <a16:creationId xmlns:a16="http://schemas.microsoft.com/office/drawing/2014/main" id="{465AD578-B0FA-472D-A67B-F1C08FD36EFB}"/>
              </a:ext>
            </a:extLst>
          </p:cNvPr>
          <p:cNvGrpSpPr/>
          <p:nvPr/>
        </p:nvGrpSpPr>
        <p:grpSpPr>
          <a:xfrm>
            <a:off x="299672" y="1922158"/>
            <a:ext cx="1193574" cy="1301150"/>
            <a:chOff x="435687" y="1367874"/>
            <a:chExt cx="1764587" cy="1923628"/>
          </a:xfrm>
        </p:grpSpPr>
        <p:sp>
          <p:nvSpPr>
            <p:cNvPr id="328" name="Lila Box">
              <a:extLst>
                <a:ext uri="{FF2B5EF4-FFF2-40B4-BE49-F238E27FC236}">
                  <a16:creationId xmlns:a16="http://schemas.microsoft.com/office/drawing/2014/main" id="{CA121481-3F9E-454B-B3E5-F094EF5D7E59}"/>
                </a:ext>
              </a:extLst>
            </p:cNvPr>
            <p:cNvSpPr/>
            <p:nvPr/>
          </p:nvSpPr>
          <p:spPr bwMode="gray">
            <a:xfrm>
              <a:off x="435687" y="3028287"/>
              <a:ext cx="1764587" cy="263215"/>
            </a:xfrm>
            <a:prstGeom prst="rect">
              <a:avLst/>
            </a:prstGeom>
            <a:noFill/>
            <a:ln w="12700" cap="flat" cmpd="sng" algn="ctr">
              <a:noFill/>
              <a:prstDash val="solid"/>
              <a:miter lim="800000"/>
            </a:ln>
            <a:effectLst/>
          </p:spPr>
          <p:txBody>
            <a:bodyPr lIns="68548" tIns="34274" rIns="68548" bIns="34274" rtlCol="0" anchor="b"/>
            <a:lstStyle/>
            <a:p>
              <a:pPr marL="0" marR="0" lvl="0" indent="0" algn="ctr" defTabSz="685553"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noProof="0">
                  <a:ln>
                    <a:noFill/>
                  </a:ln>
                  <a:solidFill>
                    <a:prstClr val="white"/>
                  </a:solidFill>
                  <a:uLnTx/>
                  <a:uFillTx/>
                  <a:latin typeface="Arial"/>
                  <a:ea typeface="Tahoma" panose="020B0604030504040204" pitchFamily="34" charset="0"/>
                  <a:cs typeface="Tahoma" panose="020B0604030504040204" pitchFamily="34" charset="0"/>
                </a:rPr>
                <a:t> Production</a:t>
              </a:r>
            </a:p>
          </p:txBody>
        </p:sp>
        <p:pic>
          <p:nvPicPr>
            <p:cNvPr id="329" name="Grafik 328">
              <a:extLst>
                <a:ext uri="{FF2B5EF4-FFF2-40B4-BE49-F238E27FC236}">
                  <a16:creationId xmlns:a16="http://schemas.microsoft.com/office/drawing/2014/main" id="{F2E4F683-080B-4129-A812-287B645FD70D}"/>
                </a:ext>
              </a:extLst>
            </p:cNvPr>
            <p:cNvPicPr>
              <a:picLocks noChangeAspect="1"/>
            </p:cNvPicPr>
            <p:nvPr/>
          </p:nvPicPr>
          <p:blipFill>
            <a:blip r:embed="rId11" cstate="print">
              <a:lum bright="70000" contrast="-70000"/>
              <a:extLst>
                <a:ext uri="{28A0092B-C50C-407E-A947-70E740481C1C}">
                  <a14:useLocalDpi xmlns:a14="http://schemas.microsoft.com/office/drawing/2010/main" val="0"/>
                </a:ext>
              </a:extLst>
            </a:blip>
            <a:stretch>
              <a:fillRect/>
            </a:stretch>
          </p:blipFill>
          <p:spPr>
            <a:xfrm>
              <a:off x="560638" y="1367874"/>
              <a:ext cx="1514683" cy="1514683"/>
            </a:xfrm>
            <a:prstGeom prst="rect">
              <a:avLst/>
            </a:prstGeom>
            <a:ln>
              <a:noFill/>
            </a:ln>
          </p:spPr>
        </p:pic>
      </p:grpSp>
      <p:grpSp>
        <p:nvGrpSpPr>
          <p:cNvPr id="330" name="Gruppieren 329">
            <a:extLst>
              <a:ext uri="{FF2B5EF4-FFF2-40B4-BE49-F238E27FC236}">
                <a16:creationId xmlns:a16="http://schemas.microsoft.com/office/drawing/2014/main" id="{3B7E37ED-3D51-4101-92B7-441C6A9BFEC4}"/>
              </a:ext>
            </a:extLst>
          </p:cNvPr>
          <p:cNvGrpSpPr/>
          <p:nvPr/>
        </p:nvGrpSpPr>
        <p:grpSpPr>
          <a:xfrm>
            <a:off x="1544385" y="1921077"/>
            <a:ext cx="1193574" cy="1301150"/>
            <a:chOff x="2343150" y="1367874"/>
            <a:chExt cx="1764587" cy="1923628"/>
          </a:xfrm>
        </p:grpSpPr>
        <p:sp>
          <p:nvSpPr>
            <p:cNvPr id="331" name="Lila Box">
              <a:extLst>
                <a:ext uri="{FF2B5EF4-FFF2-40B4-BE49-F238E27FC236}">
                  <a16:creationId xmlns:a16="http://schemas.microsoft.com/office/drawing/2014/main" id="{8DE13003-0E59-41AE-9BFD-E78D9531A33C}"/>
                </a:ext>
              </a:extLst>
            </p:cNvPr>
            <p:cNvSpPr/>
            <p:nvPr/>
          </p:nvSpPr>
          <p:spPr bwMode="gray">
            <a:xfrm>
              <a:off x="2343150" y="3028287"/>
              <a:ext cx="1764587" cy="263215"/>
            </a:xfrm>
            <a:prstGeom prst="rect">
              <a:avLst/>
            </a:prstGeom>
            <a:noFill/>
            <a:ln w="12700" cap="flat" cmpd="sng" algn="ctr">
              <a:noFill/>
              <a:prstDash val="solid"/>
              <a:miter lim="800000"/>
            </a:ln>
            <a:effectLst/>
          </p:spPr>
          <p:txBody>
            <a:bodyPr lIns="68548" tIns="34274" rIns="68548" bIns="34274" rtlCol="0" anchor="b"/>
            <a:lstStyle/>
            <a:p>
              <a:pPr marL="0" marR="0" lvl="0" indent="0" algn="ctr" defTabSz="685553"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noProof="0">
                  <a:ln>
                    <a:noFill/>
                  </a:ln>
                  <a:solidFill>
                    <a:prstClr val="white"/>
                  </a:solidFill>
                  <a:uLnTx/>
                  <a:uFillTx/>
                  <a:latin typeface="Arial"/>
                  <a:ea typeface="Tahoma" panose="020B0604030504040204" pitchFamily="34" charset="0"/>
                  <a:cs typeface="Tahoma" panose="020B0604030504040204" pitchFamily="34" charset="0"/>
                </a:rPr>
                <a:t>Retail</a:t>
              </a:r>
            </a:p>
          </p:txBody>
        </p:sp>
        <p:pic>
          <p:nvPicPr>
            <p:cNvPr id="332" name="Grafik 331">
              <a:extLst>
                <a:ext uri="{FF2B5EF4-FFF2-40B4-BE49-F238E27FC236}">
                  <a16:creationId xmlns:a16="http://schemas.microsoft.com/office/drawing/2014/main" id="{1E4A2237-B621-4620-9BE7-0B8C0FAC0F01}"/>
                </a:ext>
              </a:extLst>
            </p:cNvPr>
            <p:cNvPicPr>
              <a:picLocks noChangeAspect="1"/>
            </p:cNvPicPr>
            <p:nvPr/>
          </p:nvPicPr>
          <p:blipFill>
            <a:blip r:embed="rId12" cstate="print">
              <a:lum bright="70000" contrast="-70000"/>
              <a:extLst>
                <a:ext uri="{28A0092B-C50C-407E-A947-70E740481C1C}">
                  <a14:useLocalDpi xmlns:a14="http://schemas.microsoft.com/office/drawing/2010/main" val="0"/>
                </a:ext>
              </a:extLst>
            </a:blip>
            <a:stretch>
              <a:fillRect/>
            </a:stretch>
          </p:blipFill>
          <p:spPr>
            <a:xfrm>
              <a:off x="2468101" y="1367874"/>
              <a:ext cx="1514683" cy="1514683"/>
            </a:xfrm>
            <a:prstGeom prst="rect">
              <a:avLst/>
            </a:prstGeom>
          </p:spPr>
        </p:pic>
      </p:grpSp>
      <p:grpSp>
        <p:nvGrpSpPr>
          <p:cNvPr id="333" name="Gruppieren 332">
            <a:extLst>
              <a:ext uri="{FF2B5EF4-FFF2-40B4-BE49-F238E27FC236}">
                <a16:creationId xmlns:a16="http://schemas.microsoft.com/office/drawing/2014/main" id="{B567FF88-E14D-4DBC-B45D-6F320D6E99DE}"/>
              </a:ext>
            </a:extLst>
          </p:cNvPr>
          <p:cNvGrpSpPr/>
          <p:nvPr/>
        </p:nvGrpSpPr>
        <p:grpSpPr>
          <a:xfrm>
            <a:off x="2764773" y="1918260"/>
            <a:ext cx="1193574" cy="1524670"/>
            <a:chOff x="4254500" y="1367874"/>
            <a:chExt cx="1764587" cy="2254078"/>
          </a:xfrm>
        </p:grpSpPr>
        <p:sp>
          <p:nvSpPr>
            <p:cNvPr id="334" name="Lila Box">
              <a:extLst>
                <a:ext uri="{FF2B5EF4-FFF2-40B4-BE49-F238E27FC236}">
                  <a16:creationId xmlns:a16="http://schemas.microsoft.com/office/drawing/2014/main" id="{AA9708A1-EFE4-432C-9F3D-EC3D1FF7D250}"/>
                </a:ext>
              </a:extLst>
            </p:cNvPr>
            <p:cNvSpPr/>
            <p:nvPr/>
          </p:nvSpPr>
          <p:spPr bwMode="gray">
            <a:xfrm>
              <a:off x="4254500" y="3358737"/>
              <a:ext cx="1764587" cy="263215"/>
            </a:xfrm>
            <a:prstGeom prst="rect">
              <a:avLst/>
            </a:prstGeom>
            <a:noFill/>
            <a:ln w="12700" cap="flat" cmpd="sng" algn="ctr">
              <a:noFill/>
              <a:prstDash val="solid"/>
              <a:miter lim="800000"/>
            </a:ln>
            <a:effectLst/>
          </p:spPr>
          <p:txBody>
            <a:bodyPr lIns="68548" tIns="34274" rIns="68548" bIns="34274" rtlCol="0" anchor="b"/>
            <a:lstStyle/>
            <a:p>
              <a:pPr marL="0" marR="0" lvl="0" indent="0" algn="ctr" defTabSz="685553"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noProof="0">
                  <a:ln>
                    <a:noFill/>
                  </a:ln>
                  <a:solidFill>
                    <a:prstClr val="white"/>
                  </a:solidFill>
                  <a:uLnTx/>
                  <a:uFillTx/>
                  <a:latin typeface="Arial"/>
                  <a:ea typeface="Tahoma" panose="020B0604030504040204" pitchFamily="34" charset="0"/>
                  <a:cs typeface="Tahoma" panose="020B0604030504040204" pitchFamily="34" charset="0"/>
                </a:rPr>
                <a:t> Recyclable materials</a:t>
              </a:r>
            </a:p>
          </p:txBody>
        </p:sp>
        <p:pic>
          <p:nvPicPr>
            <p:cNvPr id="335" name="Grafik 334">
              <a:extLst>
                <a:ext uri="{FF2B5EF4-FFF2-40B4-BE49-F238E27FC236}">
                  <a16:creationId xmlns:a16="http://schemas.microsoft.com/office/drawing/2014/main" id="{8322B49D-7F7F-4D99-BA24-224A76DCFEF9}"/>
                </a:ext>
              </a:extLst>
            </p:cNvPr>
            <p:cNvPicPr>
              <a:picLocks noChangeAspect="1"/>
            </p:cNvPicPr>
            <p:nvPr/>
          </p:nvPicPr>
          <p:blipFill>
            <a:blip r:embed="rId13" cstate="print">
              <a:lum bright="70000" contrast="-70000"/>
              <a:extLst>
                <a:ext uri="{28A0092B-C50C-407E-A947-70E740481C1C}">
                  <a14:useLocalDpi xmlns:a14="http://schemas.microsoft.com/office/drawing/2010/main" val="0"/>
                </a:ext>
              </a:extLst>
            </a:blip>
            <a:stretch>
              <a:fillRect/>
            </a:stretch>
          </p:blipFill>
          <p:spPr>
            <a:xfrm>
              <a:off x="4375564" y="1367874"/>
              <a:ext cx="1514683" cy="1514683"/>
            </a:xfrm>
            <a:prstGeom prst="rect">
              <a:avLst/>
            </a:prstGeom>
          </p:spPr>
        </p:pic>
      </p:grpSp>
      <p:grpSp>
        <p:nvGrpSpPr>
          <p:cNvPr id="336" name="Gruppieren 335">
            <a:extLst>
              <a:ext uri="{FF2B5EF4-FFF2-40B4-BE49-F238E27FC236}">
                <a16:creationId xmlns:a16="http://schemas.microsoft.com/office/drawing/2014/main" id="{C560C406-995C-4E06-BDDD-CF2B56183C38}"/>
              </a:ext>
            </a:extLst>
          </p:cNvPr>
          <p:cNvGrpSpPr/>
          <p:nvPr/>
        </p:nvGrpSpPr>
        <p:grpSpPr>
          <a:xfrm>
            <a:off x="146822" y="4410477"/>
            <a:ext cx="4437781" cy="2015589"/>
            <a:chOff x="885371" y="3699358"/>
            <a:chExt cx="4437781" cy="2015589"/>
          </a:xfrm>
        </p:grpSpPr>
        <p:sp>
          <p:nvSpPr>
            <p:cNvPr id="337" name="Textfeld 336">
              <a:extLst>
                <a:ext uri="{FF2B5EF4-FFF2-40B4-BE49-F238E27FC236}">
                  <a16:creationId xmlns:a16="http://schemas.microsoft.com/office/drawing/2014/main" id="{DC96757A-34AC-4571-B604-FD2F6BBFD460}"/>
                </a:ext>
              </a:extLst>
            </p:cNvPr>
            <p:cNvSpPr txBox="1"/>
            <p:nvPr/>
          </p:nvSpPr>
          <p:spPr bwMode="gray">
            <a:xfrm>
              <a:off x="885371" y="3699358"/>
              <a:ext cx="1742794" cy="2015589"/>
            </a:xfrm>
            <a:prstGeom prst="rect">
              <a:avLst/>
            </a:prstGeom>
            <a:noFill/>
          </p:spPr>
          <p:txBody>
            <a:bodyPr wrap="square" lIns="0" tIns="0" rIns="0" bIns="0" rtlCol="0">
              <a:noAutofit/>
            </a:bodyPr>
            <a:lstStyle/>
            <a:p>
              <a:pPr marL="0" marR="0" lvl="0" indent="0" algn="r" defTabSz="1088284" rtl="0" eaLnBrk="1" fontAlgn="auto" latinLnBrk="0" hangingPunct="1">
                <a:lnSpc>
                  <a:spcPct val="100000"/>
                </a:lnSpc>
                <a:spcBef>
                  <a:spcPts val="0"/>
                </a:spcBef>
                <a:spcAft>
                  <a:spcPts val="600"/>
                </a:spcAft>
                <a:buClrTx/>
                <a:buSzTx/>
                <a:buFontTx/>
                <a:buNone/>
                <a:tabLst/>
                <a:defRPr/>
              </a:pPr>
              <a:r>
                <a:rPr kumimoji="0" lang="en-US" sz="1800" b="1" i="0" u="none" strike="noStrike" cap="none" normalizeH="0" baseline="0" noProof="0">
                  <a:ln>
                    <a:noFill/>
                  </a:ln>
                  <a:solidFill>
                    <a:prstClr val="white"/>
                  </a:solidFill>
                  <a:uLnTx/>
                  <a:uFillTx/>
                  <a:latin typeface="Arial"/>
                  <a:ea typeface="+mn-ea"/>
                  <a:cs typeface="+mn-cs"/>
                </a:rPr>
                <a:t>&gt;12, 100</a:t>
              </a:r>
            </a:p>
            <a:p>
              <a:pPr marL="0" marR="0" lvl="0" indent="0" algn="r" defTabSz="1088284" rtl="0" eaLnBrk="1" fontAlgn="auto" latinLnBrk="0" hangingPunct="1">
                <a:lnSpc>
                  <a:spcPct val="100000"/>
                </a:lnSpc>
                <a:spcBef>
                  <a:spcPts val="0"/>
                </a:spcBef>
                <a:spcAft>
                  <a:spcPts val="600"/>
                </a:spcAft>
                <a:buClrTx/>
                <a:buSzTx/>
                <a:buFontTx/>
                <a:buNone/>
                <a:tabLst/>
                <a:defRPr/>
              </a:pPr>
              <a:r>
                <a:rPr kumimoji="0" lang="en-US" sz="1800" b="1" i="0" u="none" strike="noStrike" cap="none" normalizeH="0" baseline="0" noProof="0">
                  <a:ln>
                    <a:noFill/>
                  </a:ln>
                  <a:solidFill>
                    <a:prstClr val="white"/>
                  </a:solidFill>
                  <a:uLnTx/>
                  <a:uFillTx/>
                  <a:latin typeface="Arial"/>
                  <a:ea typeface="+mn-ea"/>
                  <a:cs typeface="+mn-cs"/>
                </a:rPr>
                <a:t>30</a:t>
              </a:r>
            </a:p>
            <a:p>
              <a:pPr marL="0" marR="0" lvl="0" indent="0" algn="r" defTabSz="1088284" rtl="0" eaLnBrk="1" fontAlgn="auto" latinLnBrk="0" hangingPunct="1">
                <a:lnSpc>
                  <a:spcPct val="100000"/>
                </a:lnSpc>
                <a:spcBef>
                  <a:spcPts val="0"/>
                </a:spcBef>
                <a:spcAft>
                  <a:spcPts val="60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a:ea typeface="+mn-ea"/>
                <a:cs typeface="+mn-cs"/>
              </a:endParaRPr>
            </a:p>
            <a:p>
              <a:pPr marL="0" marR="0" lvl="0" indent="0" algn="r" defTabSz="1088284" rtl="0" eaLnBrk="1" fontAlgn="auto" latinLnBrk="0" hangingPunct="1">
                <a:lnSpc>
                  <a:spcPct val="100000"/>
                </a:lnSpc>
                <a:spcBef>
                  <a:spcPts val="0"/>
                </a:spcBef>
                <a:spcAft>
                  <a:spcPts val="600"/>
                </a:spcAft>
                <a:buClrTx/>
                <a:buSzTx/>
                <a:buFontTx/>
                <a:buNone/>
                <a:tabLst/>
                <a:defRPr/>
              </a:pPr>
              <a:r>
                <a:rPr kumimoji="0" lang="en-US" sz="1800" b="1" i="0" u="none" strike="noStrike" cap="none" normalizeH="0" baseline="0" noProof="0">
                  <a:ln>
                    <a:noFill/>
                  </a:ln>
                  <a:solidFill>
                    <a:prstClr val="white"/>
                  </a:solidFill>
                  <a:uLnTx/>
                  <a:uFillTx/>
                  <a:latin typeface="Arial"/>
                  <a:ea typeface="+mn-ea"/>
                  <a:cs typeface="+mn-cs"/>
                </a:rPr>
                <a:t>30</a:t>
              </a:r>
            </a:p>
            <a:p>
              <a:pPr marL="0" marR="0" lvl="0" indent="0" algn="r" defTabSz="1088284" rtl="0" eaLnBrk="1" fontAlgn="auto" latinLnBrk="0" hangingPunct="1">
                <a:lnSpc>
                  <a:spcPct val="100000"/>
                </a:lnSpc>
                <a:spcBef>
                  <a:spcPts val="0"/>
                </a:spcBef>
                <a:spcAft>
                  <a:spcPts val="600"/>
                </a:spcAft>
                <a:buClrTx/>
                <a:buSzTx/>
                <a:buFontTx/>
                <a:buNone/>
                <a:tabLst/>
                <a:defRPr/>
              </a:pPr>
              <a:r>
                <a:rPr kumimoji="0" lang="en-US" sz="1800" b="1" i="0" u="none" strike="noStrike" cap="none" normalizeH="0" baseline="0" noProof="0">
                  <a:ln>
                    <a:noFill/>
                  </a:ln>
                  <a:solidFill>
                    <a:prstClr val="white"/>
                  </a:solidFill>
                  <a:uLnTx/>
                  <a:uFillTx/>
                  <a:latin typeface="Arial"/>
                  <a:ea typeface="+mn-ea"/>
                  <a:cs typeface="+mn-cs"/>
                </a:rPr>
                <a:t>&gt;429,000</a:t>
              </a:r>
            </a:p>
          </p:txBody>
        </p:sp>
        <p:sp>
          <p:nvSpPr>
            <p:cNvPr id="338" name="Textfeld 337">
              <a:extLst>
                <a:ext uri="{FF2B5EF4-FFF2-40B4-BE49-F238E27FC236}">
                  <a16:creationId xmlns:a16="http://schemas.microsoft.com/office/drawing/2014/main" id="{F838C693-4997-428E-B31D-9F7DE26717D1}"/>
                </a:ext>
              </a:extLst>
            </p:cNvPr>
            <p:cNvSpPr txBox="1"/>
            <p:nvPr/>
          </p:nvSpPr>
          <p:spPr bwMode="gray">
            <a:xfrm>
              <a:off x="2777858" y="3699358"/>
              <a:ext cx="2545294" cy="2015589"/>
            </a:xfrm>
            <a:prstGeom prst="rect">
              <a:avLst/>
            </a:prstGeom>
            <a:noFill/>
          </p:spPr>
          <p:txBody>
            <a:bodyPr wrap="square" lIns="0" tIns="0" rIns="0" bIns="0" rtlCol="0">
              <a:noAutofit/>
            </a:bodyPr>
            <a:lstStyle/>
            <a:p>
              <a:pPr marL="0" marR="0" lvl="0" indent="0" algn="l" defTabSz="1088284" rtl="0" eaLnBrk="1" fontAlgn="auto" latinLnBrk="0" hangingPunct="1">
                <a:lnSpc>
                  <a:spcPct val="100000"/>
                </a:lnSpc>
                <a:spcBef>
                  <a:spcPts val="0"/>
                </a:spcBef>
                <a:spcAft>
                  <a:spcPts val="600"/>
                </a:spcAft>
                <a:buClrTx/>
                <a:buSzTx/>
                <a:buFontTx/>
                <a:buNone/>
                <a:tabLst/>
                <a:defRPr/>
              </a:pPr>
              <a:r>
                <a:rPr kumimoji="0" lang="en-US" sz="1800" b="0" i="0" u="none" strike="noStrike" cap="none" normalizeH="0" baseline="0" noProof="0">
                  <a:ln>
                    <a:noFill/>
                  </a:ln>
                  <a:solidFill>
                    <a:prstClr val="white"/>
                  </a:solidFill>
                  <a:uLnTx/>
                  <a:uFillTx/>
                  <a:latin typeface="Arial"/>
                  <a:ea typeface="+mn-ea"/>
                  <a:cs typeface="+mn-cs"/>
                </a:rPr>
                <a:t>Stores</a:t>
              </a:r>
            </a:p>
            <a:p>
              <a:pPr marL="0" marR="0" lvl="0" indent="0" algn="l" defTabSz="1088284" rtl="0" eaLnBrk="1" fontAlgn="auto" latinLnBrk="0" hangingPunct="1">
                <a:lnSpc>
                  <a:spcPct val="100000"/>
                </a:lnSpc>
                <a:spcBef>
                  <a:spcPts val="0"/>
                </a:spcBef>
                <a:spcAft>
                  <a:spcPts val="0"/>
                </a:spcAft>
                <a:buClrTx/>
                <a:buSzTx/>
                <a:buFontTx/>
                <a:buNone/>
                <a:tabLst/>
                <a:defRPr/>
              </a:pPr>
              <a:r>
                <a:rPr kumimoji="0" lang="en-US" sz="1800" b="0" i="0" u="none" strike="noStrike" cap="none" normalizeH="0" baseline="0" noProof="0">
                  <a:ln>
                    <a:noFill/>
                  </a:ln>
                  <a:solidFill>
                    <a:prstClr val="white"/>
                  </a:solidFill>
                  <a:uLnTx/>
                  <a:uFillTx/>
                  <a:latin typeface="Arial"/>
                  <a:ea typeface="+mn-ea"/>
                  <a:cs typeface="+mn-cs"/>
                </a:rPr>
                <a:t>Sorting &amp; recycling facilities</a:t>
              </a:r>
            </a:p>
            <a:p>
              <a:pPr marL="0" marR="0" lvl="0" indent="0" algn="l" defTabSz="1088284" rtl="0" eaLnBrk="1" fontAlgn="auto" latinLnBrk="0" hangingPunct="1">
                <a:lnSpc>
                  <a:spcPct val="100000"/>
                </a:lnSpc>
                <a:spcBef>
                  <a:spcPts val="0"/>
                </a:spcBef>
                <a:spcAft>
                  <a:spcPts val="0"/>
                </a:spcAft>
                <a:buClrTx/>
                <a:buSzTx/>
                <a:buFontTx/>
                <a:buNone/>
                <a:tabLst/>
                <a:defRPr/>
              </a:pPr>
              <a:endParaRPr kumimoji="0" lang="de-DE" sz="1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1088284" rtl="0" eaLnBrk="1" fontAlgn="auto" latinLnBrk="0" hangingPunct="1">
                <a:lnSpc>
                  <a:spcPct val="100000"/>
                </a:lnSpc>
                <a:spcBef>
                  <a:spcPts val="0"/>
                </a:spcBef>
                <a:spcAft>
                  <a:spcPts val="0"/>
                </a:spcAft>
                <a:buClrTx/>
                <a:buSzTx/>
                <a:buFontTx/>
                <a:buNone/>
                <a:tabLst/>
                <a:defRPr/>
              </a:pPr>
              <a:endParaRPr kumimoji="0" lang="de-DE" sz="1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1088284" rtl="0" eaLnBrk="1" fontAlgn="auto" latinLnBrk="0" hangingPunct="1">
                <a:lnSpc>
                  <a:spcPct val="100000"/>
                </a:lnSpc>
                <a:spcBef>
                  <a:spcPts val="0"/>
                </a:spcBef>
                <a:spcAft>
                  <a:spcPts val="0"/>
                </a:spcAft>
                <a:buClrTx/>
                <a:buSzTx/>
                <a:buFontTx/>
                <a:buNone/>
                <a:tabLst/>
                <a:defRPr/>
              </a:pPr>
              <a:endParaRPr kumimoji="0" lang="de-DE" sz="1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1088284" rtl="0" eaLnBrk="1" fontAlgn="auto" latinLnBrk="0" hangingPunct="1">
                <a:lnSpc>
                  <a:spcPct val="100000"/>
                </a:lnSpc>
                <a:spcBef>
                  <a:spcPts val="0"/>
                </a:spcBef>
                <a:spcAft>
                  <a:spcPts val="0"/>
                </a:spcAft>
                <a:buClrTx/>
                <a:buSzTx/>
                <a:buFontTx/>
                <a:buNone/>
                <a:tabLst/>
                <a:defRPr/>
              </a:pPr>
              <a:endParaRPr kumimoji="0" lang="de-DE" sz="1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1088284" rtl="0" eaLnBrk="1" fontAlgn="auto" latinLnBrk="0" hangingPunct="1">
                <a:lnSpc>
                  <a:spcPct val="100000"/>
                </a:lnSpc>
                <a:spcBef>
                  <a:spcPts val="0"/>
                </a:spcBef>
                <a:spcAft>
                  <a:spcPts val="600"/>
                </a:spcAft>
                <a:buClrTx/>
                <a:buSzTx/>
                <a:buFontTx/>
                <a:buNone/>
                <a:tabLst/>
                <a:defRPr/>
              </a:pPr>
              <a:r>
                <a:rPr kumimoji="0" lang="en-US" sz="1800" b="0" i="0" u="none" strike="noStrike" cap="none" normalizeH="0" baseline="0" noProof="0">
                  <a:ln>
                    <a:noFill/>
                  </a:ln>
                  <a:solidFill>
                    <a:prstClr val="white"/>
                  </a:solidFill>
                  <a:uLnTx/>
                  <a:uFillTx/>
                  <a:latin typeface="Arial"/>
                  <a:ea typeface="+mn-ea"/>
                  <a:cs typeface="+mn-cs"/>
                </a:rPr>
                <a:t>Countries</a:t>
              </a:r>
            </a:p>
            <a:p>
              <a:pPr marL="0" marR="0" lvl="0" indent="0" algn="l" defTabSz="1088284" rtl="0" eaLnBrk="1" fontAlgn="auto" latinLnBrk="0" hangingPunct="1">
                <a:lnSpc>
                  <a:spcPct val="100000"/>
                </a:lnSpc>
                <a:spcBef>
                  <a:spcPts val="0"/>
                </a:spcBef>
                <a:spcAft>
                  <a:spcPts val="0"/>
                </a:spcAft>
                <a:buClrTx/>
                <a:buSzTx/>
                <a:buFontTx/>
                <a:buNone/>
                <a:tabLst/>
                <a:defRPr/>
              </a:pPr>
              <a:r>
                <a:rPr kumimoji="0" lang="en-US" sz="1800" b="0" i="0" u="none" strike="noStrike" cap="none" normalizeH="0" baseline="0" noProof="0">
                  <a:ln>
                    <a:noFill/>
                  </a:ln>
                  <a:solidFill>
                    <a:prstClr val="white"/>
                  </a:solidFill>
                  <a:uLnTx/>
                  <a:uFillTx/>
                  <a:latin typeface="Arial"/>
                  <a:ea typeface="+mn-ea"/>
                  <a:cs typeface="+mn-cs"/>
                </a:rPr>
                <a:t>Employees</a:t>
              </a:r>
            </a:p>
            <a:p>
              <a:pPr marL="0" marR="0" lvl="0" indent="0" algn="l" defTabSz="1088284" rtl="0" eaLnBrk="1" fontAlgn="auto" latinLnBrk="0" hangingPunct="1">
                <a:lnSpc>
                  <a:spcPct val="100000"/>
                </a:lnSpc>
                <a:spcBef>
                  <a:spcPts val="0"/>
                </a:spcBef>
                <a:spcAft>
                  <a:spcPts val="0"/>
                </a:spcAft>
                <a:buClrTx/>
                <a:buSzTx/>
                <a:buFontTx/>
                <a:buNone/>
                <a:tabLst/>
                <a:defRPr/>
              </a:pPr>
              <a:r>
                <a:rPr kumimoji="0" lang="en-US" sz="1100" b="0" i="0" u="none" strike="noStrike" cap="none" normalizeH="0" baseline="0" noProof="0">
                  <a:ln>
                    <a:noFill/>
                  </a:ln>
                  <a:solidFill>
                    <a:prstClr val="white"/>
                  </a:solidFill>
                  <a:uLnTx/>
                  <a:uFillTx/>
                  <a:latin typeface="Arial"/>
                  <a:ea typeface="+mn-ea"/>
                  <a:cs typeface="+mn-cs"/>
                </a:rPr>
                <a:t>over 160,000 of them in DE</a:t>
              </a:r>
            </a:p>
            <a:p>
              <a:pPr marL="0" marR="0" lvl="0" indent="0" algn="l" defTabSz="1088284" rtl="0" eaLnBrk="1" fontAlgn="auto" latinLnBrk="0" hangingPunct="1">
                <a:lnSpc>
                  <a:spcPct val="100000"/>
                </a:lnSpc>
                <a:spcBef>
                  <a:spcPts val="0"/>
                </a:spcBef>
                <a:spcAft>
                  <a:spcPts val="600"/>
                </a:spcAft>
                <a:buClrTx/>
                <a:buSzTx/>
                <a:buFontTx/>
                <a:buNone/>
                <a:tabLst/>
                <a:defRPr/>
              </a:pPr>
              <a:endParaRPr kumimoji="0" lang="de-DE" sz="2000" b="0" i="0" u="none" strike="noStrike" kern="1200" cap="none" spc="0" normalizeH="0" baseline="0" noProof="0">
                <a:ln>
                  <a:noFill/>
                </a:ln>
                <a:solidFill>
                  <a:prstClr val="white"/>
                </a:solidFill>
                <a:effectLst/>
                <a:uLnTx/>
                <a:uFillTx/>
                <a:latin typeface="Arial"/>
                <a:ea typeface="+mn-ea"/>
                <a:cs typeface="+mn-cs"/>
              </a:endParaRPr>
            </a:p>
          </p:txBody>
        </p:sp>
      </p:grpSp>
      <p:pic>
        <p:nvPicPr>
          <p:cNvPr id="339" name="Grafik 338">
            <a:extLst>
              <a:ext uri="{FF2B5EF4-FFF2-40B4-BE49-F238E27FC236}">
                <a16:creationId xmlns:a16="http://schemas.microsoft.com/office/drawing/2014/main" id="{3C694EE0-1107-4238-850B-28655EC5DF9E}"/>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685870" y="3516881"/>
            <a:ext cx="432000" cy="432000"/>
          </a:xfrm>
          <a:prstGeom prst="rect">
            <a:avLst/>
          </a:prstGeom>
        </p:spPr>
      </p:pic>
      <p:pic>
        <p:nvPicPr>
          <p:cNvPr id="340" name="Grafik 339">
            <a:extLst>
              <a:ext uri="{FF2B5EF4-FFF2-40B4-BE49-F238E27FC236}">
                <a16:creationId xmlns:a16="http://schemas.microsoft.com/office/drawing/2014/main" id="{3459BA39-F0CB-4CF1-940C-BD304312D76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58938" y="3516354"/>
            <a:ext cx="432000" cy="432000"/>
          </a:xfrm>
          <a:prstGeom prst="rect">
            <a:avLst/>
          </a:prstGeom>
        </p:spPr>
      </p:pic>
      <p:pic>
        <p:nvPicPr>
          <p:cNvPr id="341" name="Grafik 340">
            <a:extLst>
              <a:ext uri="{FF2B5EF4-FFF2-40B4-BE49-F238E27FC236}">
                <a16:creationId xmlns:a16="http://schemas.microsoft.com/office/drawing/2014/main" id="{3B883278-28E7-44DD-ACE0-4B1709E415C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32006" y="3508920"/>
            <a:ext cx="432000" cy="432000"/>
          </a:xfrm>
          <a:prstGeom prst="rect">
            <a:avLst/>
          </a:prstGeom>
        </p:spPr>
      </p:pic>
      <p:pic>
        <p:nvPicPr>
          <p:cNvPr id="342" name="Grafik 341">
            <a:extLst>
              <a:ext uri="{FF2B5EF4-FFF2-40B4-BE49-F238E27FC236}">
                <a16:creationId xmlns:a16="http://schemas.microsoft.com/office/drawing/2014/main" id="{2AB73410-F6FB-4438-9953-D3AEC0A631A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311749" y="3492875"/>
            <a:ext cx="432000" cy="432000"/>
          </a:xfrm>
          <a:prstGeom prst="rect">
            <a:avLst/>
          </a:prstGeom>
        </p:spPr>
      </p:pic>
      <p:pic>
        <p:nvPicPr>
          <p:cNvPr id="343" name="Grafik 342">
            <a:extLst>
              <a:ext uri="{FF2B5EF4-FFF2-40B4-BE49-F238E27FC236}">
                <a16:creationId xmlns:a16="http://schemas.microsoft.com/office/drawing/2014/main" id="{BE86F932-1569-47B1-843C-58D18E1F542C}"/>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38675" y="3488683"/>
            <a:ext cx="1099236" cy="432000"/>
          </a:xfrm>
          <a:prstGeom prst="rect">
            <a:avLst/>
          </a:prstGeom>
        </p:spPr>
      </p:pic>
      <p:sp>
        <p:nvSpPr>
          <p:cNvPr id="3" name="Foliennummernplatzhalter 2">
            <a:extLst>
              <a:ext uri="{FF2B5EF4-FFF2-40B4-BE49-F238E27FC236}">
                <a16:creationId xmlns:a16="http://schemas.microsoft.com/office/drawing/2014/main" id="{515ADFCB-2AE0-417E-96A7-3C7020886472}"/>
              </a:ext>
            </a:extLst>
          </p:cNvPr>
          <p:cNvSpPr>
            <a:spLocks noGrp="1"/>
          </p:cNvSpPr>
          <p:nvPr>
            <p:ph type="sldNum" sz="quarter" idx="12"/>
          </p:nvPr>
        </p:nvSpPr>
        <p:spPr>
          <a:xfrm>
            <a:off x="11568287" y="6472517"/>
            <a:ext cx="330199" cy="147225"/>
          </a:xfrm>
        </p:spPr>
        <p:txBody>
          <a:bodyPr/>
          <a:lstStyle/>
          <a:p>
            <a:fld id="{0C7C1E0B-BD27-42F8-BC6B-2F0636970842}" type="slidenum">
              <a:rPr lang="de-DE" smtClean="0"/>
              <a:pPr/>
              <a:t>35</a:t>
            </a:fld>
            <a:endParaRPr lang="de-DE" dirty="0"/>
          </a:p>
        </p:txBody>
      </p:sp>
      <p:grpSp>
        <p:nvGrpSpPr>
          <p:cNvPr id="246" name="Gruppieren 245">
            <a:extLst>
              <a:ext uri="{FF2B5EF4-FFF2-40B4-BE49-F238E27FC236}">
                <a16:creationId xmlns:a16="http://schemas.microsoft.com/office/drawing/2014/main" id="{EBE69878-99F0-4797-A954-94B55DC221F0}"/>
              </a:ext>
            </a:extLst>
          </p:cNvPr>
          <p:cNvGrpSpPr/>
          <p:nvPr/>
        </p:nvGrpSpPr>
        <p:grpSpPr>
          <a:xfrm>
            <a:off x="9279636" y="1791326"/>
            <a:ext cx="419635" cy="289393"/>
            <a:chOff x="3362322" y="2255268"/>
            <a:chExt cx="419733" cy="289460"/>
          </a:xfrm>
        </p:grpSpPr>
        <p:sp>
          <p:nvSpPr>
            <p:cNvPr id="247" name="Lila Box">
              <a:extLst>
                <a:ext uri="{FF2B5EF4-FFF2-40B4-BE49-F238E27FC236}">
                  <a16:creationId xmlns:a16="http://schemas.microsoft.com/office/drawing/2014/main" id="{7DC23FB6-E728-4AE2-AEF2-827A3EEB6D41}"/>
                </a:ext>
              </a:extLst>
            </p:cNvPr>
            <p:cNvSpPr/>
            <p:nvPr/>
          </p:nvSpPr>
          <p:spPr bwMode="gray">
            <a:xfrm>
              <a:off x="3362322" y="2395539"/>
              <a:ext cx="29981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Latvia</a:t>
              </a:r>
            </a:p>
          </p:txBody>
        </p:sp>
        <p:pic>
          <p:nvPicPr>
            <p:cNvPr id="265" name="Grafik 264">
              <a:extLst>
                <a:ext uri="{FF2B5EF4-FFF2-40B4-BE49-F238E27FC236}">
                  <a16:creationId xmlns:a16="http://schemas.microsoft.com/office/drawing/2014/main" id="{63EFF73B-80D7-4777-9498-4BB23D71D5AB}"/>
                </a:ext>
              </a:extLst>
            </p:cNvPr>
            <p:cNvPicPr>
              <a:picLocks noChangeAspect="1"/>
            </p:cNvPicPr>
            <p:nvPr/>
          </p:nvPicPr>
          <p:blipFill>
            <a:blip r:embed="rId19"/>
            <a:srcRect/>
            <a:stretch/>
          </p:blipFill>
          <p:spPr>
            <a:xfrm>
              <a:off x="3362322" y="2255268"/>
              <a:ext cx="143256" cy="137286"/>
            </a:xfrm>
            <a:prstGeom prst="rect">
              <a:avLst/>
            </a:prstGeom>
            <a:solidFill>
              <a:schemeClr val="bg1"/>
            </a:solidFill>
          </p:spPr>
        </p:pic>
        <p:sp>
          <p:nvSpPr>
            <p:cNvPr id="266" name="Lila Box">
              <a:extLst>
                <a:ext uri="{FF2B5EF4-FFF2-40B4-BE49-F238E27FC236}">
                  <a16:creationId xmlns:a16="http://schemas.microsoft.com/office/drawing/2014/main" id="{AF8FF012-C0C1-458E-8185-16D760D2CF99}"/>
                </a:ext>
              </a:extLst>
            </p:cNvPr>
            <p:cNvSpPr/>
            <p:nvPr/>
          </p:nvSpPr>
          <p:spPr bwMode="gray">
            <a:xfrm>
              <a:off x="3362322" y="2485861"/>
              <a:ext cx="419733" cy="58867"/>
            </a:xfrm>
            <a:prstGeom prst="rect">
              <a:avLst/>
            </a:prstGeom>
            <a:solidFill>
              <a:sysClr val="window" lastClr="FFFFFF"/>
            </a:soli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1" u="none" strike="noStrike" cap="none" normalizeH="0" baseline="0" noProof="0">
                  <a:ln>
                    <a:noFill/>
                  </a:ln>
                  <a:solidFill>
                    <a:srgbClr val="791F82"/>
                  </a:solidFill>
                  <a:uLnTx/>
                  <a:uFillTx/>
                  <a:latin typeface="Tahoma" panose="020B0604030504040204" pitchFamily="34" charset="0"/>
                  <a:ea typeface="Tahoma" panose="020B0604030504040204" pitchFamily="34" charset="0"/>
                  <a:cs typeface="Tahoma" panose="020B0604030504040204" pitchFamily="34" charset="0"/>
                </a:rPr>
                <a:t>(expansion)</a:t>
              </a:r>
            </a:p>
          </p:txBody>
        </p:sp>
      </p:grpSp>
      <p:grpSp>
        <p:nvGrpSpPr>
          <p:cNvPr id="267" name="Gruppieren 266">
            <a:extLst>
              <a:ext uri="{FF2B5EF4-FFF2-40B4-BE49-F238E27FC236}">
                <a16:creationId xmlns:a16="http://schemas.microsoft.com/office/drawing/2014/main" id="{584C9308-975B-4E5C-A63D-787D2515238E}"/>
              </a:ext>
            </a:extLst>
          </p:cNvPr>
          <p:cNvGrpSpPr/>
          <p:nvPr/>
        </p:nvGrpSpPr>
        <p:grpSpPr>
          <a:xfrm>
            <a:off x="9308297" y="1393344"/>
            <a:ext cx="419635" cy="289393"/>
            <a:chOff x="3362322" y="2255268"/>
            <a:chExt cx="419733" cy="289460"/>
          </a:xfrm>
        </p:grpSpPr>
        <p:sp>
          <p:nvSpPr>
            <p:cNvPr id="270" name="Lila Box">
              <a:extLst>
                <a:ext uri="{FF2B5EF4-FFF2-40B4-BE49-F238E27FC236}">
                  <a16:creationId xmlns:a16="http://schemas.microsoft.com/office/drawing/2014/main" id="{69738CFF-4935-42FE-A7CF-0D1DE4EEA56B}"/>
                </a:ext>
              </a:extLst>
            </p:cNvPr>
            <p:cNvSpPr/>
            <p:nvPr/>
          </p:nvSpPr>
          <p:spPr bwMode="gray">
            <a:xfrm>
              <a:off x="3362322" y="2395539"/>
              <a:ext cx="29981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Estonia</a:t>
              </a:r>
            </a:p>
          </p:txBody>
        </p:sp>
        <p:pic>
          <p:nvPicPr>
            <p:cNvPr id="271" name="Grafik 270">
              <a:extLst>
                <a:ext uri="{FF2B5EF4-FFF2-40B4-BE49-F238E27FC236}">
                  <a16:creationId xmlns:a16="http://schemas.microsoft.com/office/drawing/2014/main" id="{7262FE1D-EB45-49BB-ACAB-B00CB2AF8F4A}"/>
                </a:ext>
              </a:extLst>
            </p:cNvPr>
            <p:cNvPicPr>
              <a:picLocks noChangeAspect="1"/>
            </p:cNvPicPr>
            <p:nvPr/>
          </p:nvPicPr>
          <p:blipFill>
            <a:blip r:embed="rId19"/>
            <a:srcRect/>
            <a:stretch/>
          </p:blipFill>
          <p:spPr>
            <a:xfrm>
              <a:off x="3362322" y="2255268"/>
              <a:ext cx="143256" cy="137286"/>
            </a:xfrm>
            <a:prstGeom prst="rect">
              <a:avLst/>
            </a:prstGeom>
            <a:solidFill>
              <a:schemeClr val="bg1"/>
            </a:solidFill>
          </p:spPr>
        </p:pic>
        <p:sp>
          <p:nvSpPr>
            <p:cNvPr id="273" name="Lila Box">
              <a:extLst>
                <a:ext uri="{FF2B5EF4-FFF2-40B4-BE49-F238E27FC236}">
                  <a16:creationId xmlns:a16="http://schemas.microsoft.com/office/drawing/2014/main" id="{D4E3F09C-709D-4D5F-AE5F-60EC8F9A0EB8}"/>
                </a:ext>
              </a:extLst>
            </p:cNvPr>
            <p:cNvSpPr/>
            <p:nvPr/>
          </p:nvSpPr>
          <p:spPr bwMode="gray">
            <a:xfrm>
              <a:off x="3362322" y="2485861"/>
              <a:ext cx="419733" cy="58867"/>
            </a:xfrm>
            <a:prstGeom prst="rect">
              <a:avLst/>
            </a:prstGeom>
            <a:solidFill>
              <a:sysClr val="window" lastClr="FFFFFF"/>
            </a:soli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1" u="none" strike="noStrike" cap="none" normalizeH="0" baseline="0" noProof="0">
                  <a:ln>
                    <a:noFill/>
                  </a:ln>
                  <a:solidFill>
                    <a:srgbClr val="791F82"/>
                  </a:solidFill>
                  <a:uLnTx/>
                  <a:uFillTx/>
                  <a:latin typeface="Tahoma" panose="020B0604030504040204" pitchFamily="34" charset="0"/>
                  <a:ea typeface="Tahoma" panose="020B0604030504040204" pitchFamily="34" charset="0"/>
                  <a:cs typeface="Tahoma" panose="020B0604030504040204" pitchFamily="34" charset="0"/>
                </a:rPr>
                <a:t>(expansion)</a:t>
              </a:r>
            </a:p>
          </p:txBody>
        </p:sp>
      </p:grpSp>
    </p:spTree>
    <p:extLst>
      <p:ext uri="{BB962C8B-B14F-4D97-AF65-F5344CB8AC3E}">
        <p14:creationId xmlns:p14="http://schemas.microsoft.com/office/powerpoint/2010/main" val="215317059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1" name="Object 230" hidden="1"/>
          <p:cNvGraphicFramePr>
            <a:graphicFrameLocks noChangeAspect="1"/>
          </p:cNvGraphicFramePr>
          <p:nvPr>
            <p:custDataLst>
              <p:tags r:id="rId2"/>
            </p:custDataLst>
          </p:nvPr>
        </p:nvGraphicFramePr>
        <p:xfrm>
          <a:off x="5997" y="4068"/>
          <a:ext cx="1586" cy="1586"/>
        </p:xfrm>
        <a:graphic>
          <a:graphicData uri="http://schemas.openxmlformats.org/presentationml/2006/ole">
            <mc:AlternateContent xmlns:mc="http://schemas.openxmlformats.org/markup-compatibility/2006">
              <mc:Choice xmlns:v="urn:schemas-microsoft-com:vml" Requires="v">
                <p:oleObj spid="_x0000_s19458" name="think-cell Folie" r:id="rId14" imgW="473" imgH="473" progId="TCLayout.ActiveDocument.1">
                  <p:embed/>
                </p:oleObj>
              </mc:Choice>
              <mc:Fallback>
                <p:oleObj name="think-cell Folie" r:id="rId14" imgW="473" imgH="473" progId="TCLayout.ActiveDocument.1">
                  <p:embed/>
                  <p:pic>
                    <p:nvPicPr>
                      <p:cNvPr id="231" name="Object 230" hidden="1"/>
                      <p:cNvPicPr/>
                      <p:nvPr/>
                    </p:nvPicPr>
                    <p:blipFill>
                      <a:blip r:embed="rId15"/>
                      <a:stretch>
                        <a:fillRect/>
                      </a:stretch>
                    </p:blipFill>
                    <p:spPr>
                      <a:xfrm>
                        <a:off x="5997" y="4068"/>
                        <a:ext cx="1586" cy="1586"/>
                      </a:xfrm>
                      <a:prstGeom prst="rect">
                        <a:avLst/>
                      </a:prstGeom>
                    </p:spPr>
                  </p:pic>
                </p:oleObj>
              </mc:Fallback>
            </mc:AlternateContent>
          </a:graphicData>
        </a:graphic>
      </p:graphicFrame>
      <p:sp>
        <p:nvSpPr>
          <p:cNvPr id="8" name="Rectangle 7" hidden="1"/>
          <p:cNvSpPr/>
          <p:nvPr>
            <p:custDataLst>
              <p:tags r:id="rId3"/>
            </p:custDataLst>
          </p:nvPr>
        </p:nvSpPr>
        <p:spPr bwMode="auto">
          <a:xfrm>
            <a:off x="4409" y="2482"/>
            <a:ext cx="158634" cy="1586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e-DE" sz="1000" dirty="0">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18495" y="408749"/>
            <a:ext cx="11131989" cy="792466"/>
          </a:xfrm>
        </p:spPr>
        <p:txBody>
          <a:bodyPr/>
          <a:lstStyle/>
          <a:p>
            <a:r>
              <a:rPr lang="de-DE" err="1"/>
              <a:t>Shoring</a:t>
            </a:r>
            <a:r>
              <a:rPr lang="de-DE"/>
              <a:t> CENTER SIT</a:t>
            </a:r>
          </a:p>
        </p:txBody>
      </p:sp>
      <p:sp>
        <p:nvSpPr>
          <p:cNvPr id="3" name="Subtitle 2"/>
          <p:cNvSpPr>
            <a:spLocks noGrp="1"/>
          </p:cNvSpPr>
          <p:nvPr>
            <p:ph type="subTitle" idx="1"/>
          </p:nvPr>
        </p:nvSpPr>
        <p:spPr>
          <a:xfrm>
            <a:off x="409577" y="399163"/>
            <a:ext cx="11348418" cy="766636"/>
          </a:xfrm>
        </p:spPr>
        <p:txBody>
          <a:bodyPr/>
          <a:lstStyle/>
          <a:p>
            <a:r>
              <a:rPr lang="de-DE" dirty="0" err="1"/>
              <a:t>Current</a:t>
            </a:r>
            <a:r>
              <a:rPr lang="de-DE" dirty="0"/>
              <a:t> IT </a:t>
            </a:r>
            <a:r>
              <a:rPr lang="de-DE" dirty="0" err="1"/>
              <a:t>Shoring</a:t>
            </a:r>
            <a:r>
              <a:rPr lang="de-DE" dirty="0"/>
              <a:t> </a:t>
            </a:r>
            <a:r>
              <a:rPr lang="de-DE" dirty="0" err="1"/>
              <a:t>Map</a:t>
            </a:r>
            <a:endParaRPr lang="de-DE" dirty="0"/>
          </a:p>
        </p:txBody>
      </p:sp>
      <p:sp>
        <p:nvSpPr>
          <p:cNvPr id="9" name="Freeform 9"/>
          <p:cNvSpPr>
            <a:spLocks/>
          </p:cNvSpPr>
          <p:nvPr/>
        </p:nvSpPr>
        <p:spPr bwMode="auto">
          <a:xfrm>
            <a:off x="9648426" y="5411040"/>
            <a:ext cx="208234" cy="121792"/>
          </a:xfrm>
          <a:custGeom>
            <a:avLst/>
            <a:gdLst/>
            <a:ahLst/>
            <a:cxnLst>
              <a:cxn ang="0">
                <a:pos x="54" y="3"/>
              </a:cxn>
              <a:cxn ang="0">
                <a:pos x="26" y="13"/>
              </a:cxn>
              <a:cxn ang="0">
                <a:pos x="14" y="19"/>
              </a:cxn>
              <a:cxn ang="0">
                <a:pos x="4" y="22"/>
              </a:cxn>
              <a:cxn ang="0">
                <a:pos x="5" y="31"/>
              </a:cxn>
              <a:cxn ang="0">
                <a:pos x="14" y="36"/>
              </a:cxn>
              <a:cxn ang="0">
                <a:pos x="21" y="36"/>
              </a:cxn>
              <a:cxn ang="0">
                <a:pos x="35" y="28"/>
              </a:cxn>
              <a:cxn ang="0">
                <a:pos x="45" y="21"/>
              </a:cxn>
              <a:cxn ang="0">
                <a:pos x="51" y="9"/>
              </a:cxn>
              <a:cxn ang="0">
                <a:pos x="54" y="3"/>
              </a:cxn>
            </a:cxnLst>
            <a:rect l="0" t="0" r="r" b="b"/>
            <a:pathLst>
              <a:path w="59" h="39">
                <a:moveTo>
                  <a:pt x="54" y="3"/>
                </a:moveTo>
                <a:cubicBezTo>
                  <a:pt x="50" y="6"/>
                  <a:pt x="39" y="16"/>
                  <a:pt x="26" y="13"/>
                </a:cubicBezTo>
                <a:cubicBezTo>
                  <a:pt x="12" y="9"/>
                  <a:pt x="22" y="20"/>
                  <a:pt x="14" y="19"/>
                </a:cubicBezTo>
                <a:cubicBezTo>
                  <a:pt x="7" y="17"/>
                  <a:pt x="8" y="24"/>
                  <a:pt x="4" y="22"/>
                </a:cubicBezTo>
                <a:cubicBezTo>
                  <a:pt x="0" y="21"/>
                  <a:pt x="2" y="23"/>
                  <a:pt x="5" y="31"/>
                </a:cubicBezTo>
                <a:cubicBezTo>
                  <a:pt x="5" y="34"/>
                  <a:pt x="9" y="36"/>
                  <a:pt x="14" y="36"/>
                </a:cubicBezTo>
                <a:cubicBezTo>
                  <a:pt x="19" y="35"/>
                  <a:pt x="21" y="39"/>
                  <a:pt x="21" y="36"/>
                </a:cubicBezTo>
                <a:cubicBezTo>
                  <a:pt x="22" y="33"/>
                  <a:pt x="32" y="35"/>
                  <a:pt x="35" y="28"/>
                </a:cubicBezTo>
                <a:cubicBezTo>
                  <a:pt x="39" y="22"/>
                  <a:pt x="51" y="27"/>
                  <a:pt x="45" y="21"/>
                </a:cubicBezTo>
                <a:cubicBezTo>
                  <a:pt x="40" y="16"/>
                  <a:pt x="44" y="15"/>
                  <a:pt x="51" y="9"/>
                </a:cubicBezTo>
                <a:cubicBezTo>
                  <a:pt x="59" y="2"/>
                  <a:pt x="58" y="0"/>
                  <a:pt x="54" y="3"/>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10" name="Freeform 11"/>
          <p:cNvSpPr>
            <a:spLocks/>
          </p:cNvSpPr>
          <p:nvPr/>
        </p:nvSpPr>
        <p:spPr bwMode="auto">
          <a:xfrm>
            <a:off x="9163172" y="4038122"/>
            <a:ext cx="314210" cy="346921"/>
          </a:xfrm>
          <a:custGeom>
            <a:avLst/>
            <a:gdLst/>
            <a:ahLst/>
            <a:cxnLst>
              <a:cxn ang="0">
                <a:pos x="83" y="75"/>
              </a:cxn>
              <a:cxn ang="0">
                <a:pos x="78" y="60"/>
              </a:cxn>
              <a:cxn ang="0">
                <a:pos x="70" y="44"/>
              </a:cxn>
              <a:cxn ang="0">
                <a:pos x="63" y="32"/>
              </a:cxn>
              <a:cxn ang="0">
                <a:pos x="61" y="21"/>
              </a:cxn>
              <a:cxn ang="0">
                <a:pos x="48" y="14"/>
              </a:cxn>
              <a:cxn ang="0">
                <a:pos x="21" y="4"/>
              </a:cxn>
              <a:cxn ang="0">
                <a:pos x="0" y="12"/>
              </a:cxn>
              <a:cxn ang="0">
                <a:pos x="23" y="39"/>
              </a:cxn>
              <a:cxn ang="0">
                <a:pos x="35" y="58"/>
              </a:cxn>
              <a:cxn ang="0">
                <a:pos x="37" y="95"/>
              </a:cxn>
              <a:cxn ang="0">
                <a:pos x="39" y="111"/>
              </a:cxn>
              <a:cxn ang="0">
                <a:pos x="47" y="105"/>
              </a:cxn>
              <a:cxn ang="0">
                <a:pos x="58" y="81"/>
              </a:cxn>
              <a:cxn ang="0">
                <a:pos x="65" y="75"/>
              </a:cxn>
              <a:cxn ang="0">
                <a:pos x="79" y="78"/>
              </a:cxn>
              <a:cxn ang="0">
                <a:pos x="83" y="75"/>
              </a:cxn>
            </a:cxnLst>
            <a:rect l="0" t="0" r="r" b="b"/>
            <a:pathLst>
              <a:path w="89" h="111">
                <a:moveTo>
                  <a:pt x="83" y="75"/>
                </a:moveTo>
                <a:cubicBezTo>
                  <a:pt x="78" y="70"/>
                  <a:pt x="86" y="65"/>
                  <a:pt x="78" y="60"/>
                </a:cubicBezTo>
                <a:cubicBezTo>
                  <a:pt x="69" y="55"/>
                  <a:pt x="75" y="43"/>
                  <a:pt x="70" y="44"/>
                </a:cubicBezTo>
                <a:cubicBezTo>
                  <a:pt x="65" y="45"/>
                  <a:pt x="60" y="38"/>
                  <a:pt x="63" y="32"/>
                </a:cubicBezTo>
                <a:cubicBezTo>
                  <a:pt x="66" y="26"/>
                  <a:pt x="66" y="19"/>
                  <a:pt x="61" y="21"/>
                </a:cubicBezTo>
                <a:cubicBezTo>
                  <a:pt x="56" y="23"/>
                  <a:pt x="55" y="13"/>
                  <a:pt x="48" y="14"/>
                </a:cubicBezTo>
                <a:cubicBezTo>
                  <a:pt x="41" y="16"/>
                  <a:pt x="27" y="0"/>
                  <a:pt x="21" y="4"/>
                </a:cubicBezTo>
                <a:cubicBezTo>
                  <a:pt x="16" y="8"/>
                  <a:pt x="4" y="4"/>
                  <a:pt x="0" y="12"/>
                </a:cubicBezTo>
                <a:cubicBezTo>
                  <a:pt x="13" y="7"/>
                  <a:pt x="16" y="36"/>
                  <a:pt x="23" y="39"/>
                </a:cubicBezTo>
                <a:cubicBezTo>
                  <a:pt x="26" y="42"/>
                  <a:pt x="20" y="41"/>
                  <a:pt x="35" y="58"/>
                </a:cubicBezTo>
                <a:cubicBezTo>
                  <a:pt x="47" y="70"/>
                  <a:pt x="34" y="84"/>
                  <a:pt x="37" y="95"/>
                </a:cubicBezTo>
                <a:cubicBezTo>
                  <a:pt x="40" y="107"/>
                  <a:pt x="34" y="105"/>
                  <a:pt x="39" y="111"/>
                </a:cubicBezTo>
                <a:cubicBezTo>
                  <a:pt x="42" y="108"/>
                  <a:pt x="48" y="111"/>
                  <a:pt x="47" y="105"/>
                </a:cubicBezTo>
                <a:cubicBezTo>
                  <a:pt x="46" y="99"/>
                  <a:pt x="64" y="90"/>
                  <a:pt x="58" y="81"/>
                </a:cubicBezTo>
                <a:cubicBezTo>
                  <a:pt x="54" y="77"/>
                  <a:pt x="60" y="70"/>
                  <a:pt x="65" y="75"/>
                </a:cubicBezTo>
                <a:cubicBezTo>
                  <a:pt x="69" y="80"/>
                  <a:pt x="75" y="75"/>
                  <a:pt x="79" y="78"/>
                </a:cubicBezTo>
                <a:cubicBezTo>
                  <a:pt x="84" y="80"/>
                  <a:pt x="89" y="79"/>
                  <a:pt x="83" y="75"/>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11" name="Freeform 12"/>
          <p:cNvSpPr>
            <a:spLocks/>
          </p:cNvSpPr>
          <p:nvPr/>
        </p:nvSpPr>
        <p:spPr bwMode="auto">
          <a:xfrm>
            <a:off x="8607260" y="4062112"/>
            <a:ext cx="829215" cy="536989"/>
          </a:xfrm>
          <a:custGeom>
            <a:avLst/>
            <a:gdLst/>
            <a:ahLst/>
            <a:cxnLst>
              <a:cxn ang="0">
                <a:pos x="219" y="106"/>
              </a:cxn>
              <a:cxn ang="0">
                <a:pos x="210" y="111"/>
              </a:cxn>
              <a:cxn ang="0">
                <a:pos x="196" y="104"/>
              </a:cxn>
              <a:cxn ang="0">
                <a:pos x="194" y="88"/>
              </a:cxn>
              <a:cxn ang="0">
                <a:pos x="192" y="51"/>
              </a:cxn>
              <a:cxn ang="0">
                <a:pos x="180" y="32"/>
              </a:cxn>
              <a:cxn ang="0">
                <a:pos x="157" y="5"/>
              </a:cxn>
              <a:cxn ang="0">
                <a:pos x="136" y="16"/>
              </a:cxn>
              <a:cxn ang="0">
                <a:pos x="119" y="23"/>
              </a:cxn>
              <a:cxn ang="0">
                <a:pos x="103" y="16"/>
              </a:cxn>
              <a:cxn ang="0">
                <a:pos x="84" y="15"/>
              </a:cxn>
              <a:cxn ang="0">
                <a:pos x="70" y="12"/>
              </a:cxn>
              <a:cxn ang="0">
                <a:pos x="65" y="15"/>
              </a:cxn>
              <a:cxn ang="0">
                <a:pos x="48" y="25"/>
              </a:cxn>
              <a:cxn ang="0">
                <a:pos x="39" y="41"/>
              </a:cxn>
              <a:cxn ang="0">
                <a:pos x="33" y="54"/>
              </a:cxn>
              <a:cxn ang="0">
                <a:pos x="19" y="76"/>
              </a:cxn>
              <a:cxn ang="0">
                <a:pos x="13" y="75"/>
              </a:cxn>
              <a:cxn ang="0">
                <a:pos x="11" y="78"/>
              </a:cxn>
              <a:cxn ang="0">
                <a:pos x="0" y="80"/>
              </a:cxn>
              <a:cxn ang="0">
                <a:pos x="13" y="97"/>
              </a:cxn>
              <a:cxn ang="0">
                <a:pos x="30" y="117"/>
              </a:cxn>
              <a:cxn ang="0">
                <a:pos x="44" y="135"/>
              </a:cxn>
              <a:cxn ang="0">
                <a:pos x="55" y="130"/>
              </a:cxn>
              <a:cxn ang="0">
                <a:pos x="60" y="146"/>
              </a:cxn>
              <a:cxn ang="0">
                <a:pos x="64" y="160"/>
              </a:cxn>
              <a:cxn ang="0">
                <a:pos x="86" y="162"/>
              </a:cxn>
              <a:cxn ang="0">
                <a:pos x="109" y="162"/>
              </a:cxn>
              <a:cxn ang="0">
                <a:pos x="138" y="162"/>
              </a:cxn>
              <a:cxn ang="0">
                <a:pos x="174" y="152"/>
              </a:cxn>
              <a:cxn ang="0">
                <a:pos x="191" y="158"/>
              </a:cxn>
              <a:cxn ang="0">
                <a:pos x="205" y="163"/>
              </a:cxn>
              <a:cxn ang="0">
                <a:pos x="226" y="126"/>
              </a:cxn>
              <a:cxn ang="0">
                <a:pos x="234" y="111"/>
              </a:cxn>
              <a:cxn ang="0">
                <a:pos x="219" y="106"/>
              </a:cxn>
            </a:cxnLst>
            <a:rect l="0" t="0" r="r" b="b"/>
            <a:pathLst>
              <a:path w="234" h="172">
                <a:moveTo>
                  <a:pt x="219" y="106"/>
                </a:moveTo>
                <a:cubicBezTo>
                  <a:pt x="214" y="111"/>
                  <a:pt x="211" y="107"/>
                  <a:pt x="210" y="111"/>
                </a:cubicBezTo>
                <a:cubicBezTo>
                  <a:pt x="208" y="114"/>
                  <a:pt x="203" y="113"/>
                  <a:pt x="196" y="104"/>
                </a:cubicBezTo>
                <a:cubicBezTo>
                  <a:pt x="191" y="98"/>
                  <a:pt x="197" y="100"/>
                  <a:pt x="194" y="88"/>
                </a:cubicBezTo>
                <a:cubicBezTo>
                  <a:pt x="191" y="77"/>
                  <a:pt x="204" y="63"/>
                  <a:pt x="192" y="51"/>
                </a:cubicBezTo>
                <a:cubicBezTo>
                  <a:pt x="177" y="34"/>
                  <a:pt x="183" y="35"/>
                  <a:pt x="180" y="32"/>
                </a:cubicBezTo>
                <a:cubicBezTo>
                  <a:pt x="173" y="29"/>
                  <a:pt x="170" y="0"/>
                  <a:pt x="157" y="5"/>
                </a:cubicBezTo>
                <a:cubicBezTo>
                  <a:pt x="145" y="6"/>
                  <a:pt x="151" y="14"/>
                  <a:pt x="136" y="16"/>
                </a:cubicBezTo>
                <a:cubicBezTo>
                  <a:pt x="122" y="17"/>
                  <a:pt x="124" y="17"/>
                  <a:pt x="119" y="23"/>
                </a:cubicBezTo>
                <a:cubicBezTo>
                  <a:pt x="113" y="29"/>
                  <a:pt x="111" y="13"/>
                  <a:pt x="103" y="16"/>
                </a:cubicBezTo>
                <a:cubicBezTo>
                  <a:pt x="95" y="18"/>
                  <a:pt x="97" y="14"/>
                  <a:pt x="84" y="15"/>
                </a:cubicBezTo>
                <a:cubicBezTo>
                  <a:pt x="75" y="15"/>
                  <a:pt x="74" y="7"/>
                  <a:pt x="70" y="12"/>
                </a:cubicBezTo>
                <a:cubicBezTo>
                  <a:pt x="67" y="17"/>
                  <a:pt x="68" y="12"/>
                  <a:pt x="65" y="15"/>
                </a:cubicBezTo>
                <a:cubicBezTo>
                  <a:pt x="55" y="28"/>
                  <a:pt x="54" y="17"/>
                  <a:pt x="48" y="25"/>
                </a:cubicBezTo>
                <a:cubicBezTo>
                  <a:pt x="42" y="31"/>
                  <a:pt x="48" y="31"/>
                  <a:pt x="39" y="41"/>
                </a:cubicBezTo>
                <a:cubicBezTo>
                  <a:pt x="31" y="49"/>
                  <a:pt x="37" y="46"/>
                  <a:pt x="33" y="54"/>
                </a:cubicBezTo>
                <a:cubicBezTo>
                  <a:pt x="29" y="61"/>
                  <a:pt x="22" y="76"/>
                  <a:pt x="19" y="76"/>
                </a:cubicBezTo>
                <a:cubicBezTo>
                  <a:pt x="17" y="77"/>
                  <a:pt x="16" y="74"/>
                  <a:pt x="13" y="75"/>
                </a:cubicBezTo>
                <a:cubicBezTo>
                  <a:pt x="9" y="76"/>
                  <a:pt x="15" y="77"/>
                  <a:pt x="11" y="78"/>
                </a:cubicBezTo>
                <a:cubicBezTo>
                  <a:pt x="6" y="79"/>
                  <a:pt x="1" y="79"/>
                  <a:pt x="0" y="80"/>
                </a:cubicBezTo>
                <a:cubicBezTo>
                  <a:pt x="6" y="90"/>
                  <a:pt x="14" y="90"/>
                  <a:pt x="13" y="97"/>
                </a:cubicBezTo>
                <a:cubicBezTo>
                  <a:pt x="10" y="112"/>
                  <a:pt x="36" y="108"/>
                  <a:pt x="30" y="117"/>
                </a:cubicBezTo>
                <a:cubicBezTo>
                  <a:pt x="26" y="122"/>
                  <a:pt x="31" y="132"/>
                  <a:pt x="44" y="135"/>
                </a:cubicBezTo>
                <a:cubicBezTo>
                  <a:pt x="54" y="138"/>
                  <a:pt x="49" y="127"/>
                  <a:pt x="55" y="130"/>
                </a:cubicBezTo>
                <a:cubicBezTo>
                  <a:pt x="74" y="140"/>
                  <a:pt x="45" y="132"/>
                  <a:pt x="60" y="146"/>
                </a:cubicBezTo>
                <a:cubicBezTo>
                  <a:pt x="79" y="154"/>
                  <a:pt x="58" y="155"/>
                  <a:pt x="64" y="160"/>
                </a:cubicBezTo>
                <a:cubicBezTo>
                  <a:pt x="71" y="165"/>
                  <a:pt x="74" y="155"/>
                  <a:pt x="86" y="162"/>
                </a:cubicBezTo>
                <a:cubicBezTo>
                  <a:pt x="97" y="169"/>
                  <a:pt x="100" y="161"/>
                  <a:pt x="109" y="162"/>
                </a:cubicBezTo>
                <a:cubicBezTo>
                  <a:pt x="118" y="163"/>
                  <a:pt x="126" y="172"/>
                  <a:pt x="138" y="162"/>
                </a:cubicBezTo>
                <a:cubicBezTo>
                  <a:pt x="147" y="154"/>
                  <a:pt x="167" y="145"/>
                  <a:pt x="174" y="152"/>
                </a:cubicBezTo>
                <a:cubicBezTo>
                  <a:pt x="179" y="158"/>
                  <a:pt x="184" y="148"/>
                  <a:pt x="191" y="158"/>
                </a:cubicBezTo>
                <a:cubicBezTo>
                  <a:pt x="195" y="164"/>
                  <a:pt x="200" y="162"/>
                  <a:pt x="205" y="163"/>
                </a:cubicBezTo>
                <a:cubicBezTo>
                  <a:pt x="206" y="139"/>
                  <a:pt x="213" y="129"/>
                  <a:pt x="226" y="126"/>
                </a:cubicBezTo>
                <a:cubicBezTo>
                  <a:pt x="233" y="124"/>
                  <a:pt x="233" y="118"/>
                  <a:pt x="234" y="111"/>
                </a:cubicBezTo>
                <a:cubicBezTo>
                  <a:pt x="230" y="103"/>
                  <a:pt x="222" y="104"/>
                  <a:pt x="219" y="106"/>
                </a:cubicBezTo>
                <a:close/>
              </a:path>
            </a:pathLst>
          </a:custGeom>
          <a:solidFill>
            <a:schemeClr val="accent1"/>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12" name="Freeform 13"/>
          <p:cNvSpPr>
            <a:spLocks/>
          </p:cNvSpPr>
          <p:nvPr/>
        </p:nvSpPr>
        <p:spPr bwMode="auto">
          <a:xfrm>
            <a:off x="9112969" y="4735655"/>
            <a:ext cx="275164" cy="232511"/>
          </a:xfrm>
          <a:custGeom>
            <a:avLst/>
            <a:gdLst/>
            <a:ahLst/>
            <a:cxnLst>
              <a:cxn ang="0">
                <a:pos x="61" y="28"/>
              </a:cxn>
              <a:cxn ang="0">
                <a:pos x="49" y="8"/>
              </a:cxn>
              <a:cxn ang="0">
                <a:pos x="39" y="10"/>
              </a:cxn>
              <a:cxn ang="0">
                <a:pos x="24" y="6"/>
              </a:cxn>
              <a:cxn ang="0">
                <a:pos x="13" y="10"/>
              </a:cxn>
              <a:cxn ang="0">
                <a:pos x="7" y="17"/>
              </a:cxn>
              <a:cxn ang="0">
                <a:pos x="10" y="32"/>
              </a:cxn>
              <a:cxn ang="0">
                <a:pos x="0" y="50"/>
              </a:cxn>
              <a:cxn ang="0">
                <a:pos x="17" y="55"/>
              </a:cxn>
              <a:cxn ang="0">
                <a:pos x="4" y="67"/>
              </a:cxn>
              <a:cxn ang="0">
                <a:pos x="14" y="61"/>
              </a:cxn>
              <a:cxn ang="0">
                <a:pos x="34" y="47"/>
              </a:cxn>
              <a:cxn ang="0">
                <a:pos x="49" y="41"/>
              </a:cxn>
              <a:cxn ang="0">
                <a:pos x="71" y="39"/>
              </a:cxn>
              <a:cxn ang="0">
                <a:pos x="61" y="28"/>
              </a:cxn>
            </a:cxnLst>
            <a:rect l="0" t="0" r="r" b="b"/>
            <a:pathLst>
              <a:path w="77" h="75">
                <a:moveTo>
                  <a:pt x="61" y="28"/>
                </a:moveTo>
                <a:cubicBezTo>
                  <a:pt x="49" y="21"/>
                  <a:pt x="48" y="17"/>
                  <a:pt x="49" y="8"/>
                </a:cubicBezTo>
                <a:cubicBezTo>
                  <a:pt x="43" y="8"/>
                  <a:pt x="45" y="10"/>
                  <a:pt x="39" y="10"/>
                </a:cubicBezTo>
                <a:cubicBezTo>
                  <a:pt x="34" y="10"/>
                  <a:pt x="31" y="0"/>
                  <a:pt x="24" y="6"/>
                </a:cubicBezTo>
                <a:cubicBezTo>
                  <a:pt x="18" y="13"/>
                  <a:pt x="15" y="2"/>
                  <a:pt x="13" y="10"/>
                </a:cubicBezTo>
                <a:cubicBezTo>
                  <a:pt x="12" y="17"/>
                  <a:pt x="8" y="10"/>
                  <a:pt x="7" y="17"/>
                </a:cubicBezTo>
                <a:cubicBezTo>
                  <a:pt x="16" y="22"/>
                  <a:pt x="17" y="29"/>
                  <a:pt x="10" y="32"/>
                </a:cubicBezTo>
                <a:cubicBezTo>
                  <a:pt x="3" y="35"/>
                  <a:pt x="8" y="45"/>
                  <a:pt x="0" y="50"/>
                </a:cubicBezTo>
                <a:cubicBezTo>
                  <a:pt x="0" y="62"/>
                  <a:pt x="27" y="49"/>
                  <a:pt x="17" y="55"/>
                </a:cubicBezTo>
                <a:cubicBezTo>
                  <a:pt x="8" y="61"/>
                  <a:pt x="4" y="60"/>
                  <a:pt x="4" y="67"/>
                </a:cubicBezTo>
                <a:cubicBezTo>
                  <a:pt x="3" y="75"/>
                  <a:pt x="7" y="67"/>
                  <a:pt x="14" y="61"/>
                </a:cubicBezTo>
                <a:cubicBezTo>
                  <a:pt x="25" y="51"/>
                  <a:pt x="28" y="57"/>
                  <a:pt x="34" y="47"/>
                </a:cubicBezTo>
                <a:cubicBezTo>
                  <a:pt x="42" y="31"/>
                  <a:pt x="41" y="47"/>
                  <a:pt x="49" y="41"/>
                </a:cubicBezTo>
                <a:cubicBezTo>
                  <a:pt x="56" y="35"/>
                  <a:pt x="66" y="48"/>
                  <a:pt x="71" y="39"/>
                </a:cubicBezTo>
                <a:cubicBezTo>
                  <a:pt x="77" y="30"/>
                  <a:pt x="73" y="35"/>
                  <a:pt x="61" y="28"/>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13" name="Freeform 14"/>
          <p:cNvSpPr>
            <a:spLocks/>
          </p:cNvSpPr>
          <p:nvPr/>
        </p:nvSpPr>
        <p:spPr bwMode="auto">
          <a:xfrm>
            <a:off x="8884287" y="2729791"/>
            <a:ext cx="431340" cy="280487"/>
          </a:xfrm>
          <a:custGeom>
            <a:avLst/>
            <a:gdLst/>
            <a:ahLst/>
            <a:cxnLst>
              <a:cxn ang="0">
                <a:pos x="114" y="10"/>
              </a:cxn>
              <a:cxn ang="0">
                <a:pos x="108" y="24"/>
              </a:cxn>
              <a:cxn ang="0">
                <a:pos x="100" y="45"/>
              </a:cxn>
              <a:cxn ang="0">
                <a:pos x="103" y="65"/>
              </a:cxn>
              <a:cxn ang="0">
                <a:pos x="98" y="85"/>
              </a:cxn>
              <a:cxn ang="0">
                <a:pos x="82" y="85"/>
              </a:cxn>
              <a:cxn ang="0">
                <a:pos x="63" y="74"/>
              </a:cxn>
              <a:cxn ang="0">
                <a:pos x="45" y="65"/>
              </a:cxn>
              <a:cxn ang="0">
                <a:pos x="22" y="73"/>
              </a:cxn>
              <a:cxn ang="0">
                <a:pos x="21" y="55"/>
              </a:cxn>
              <a:cxn ang="0">
                <a:pos x="4" y="46"/>
              </a:cxn>
              <a:cxn ang="0">
                <a:pos x="2" y="26"/>
              </a:cxn>
              <a:cxn ang="0">
                <a:pos x="16" y="15"/>
              </a:cxn>
              <a:cxn ang="0">
                <a:pos x="43" y="9"/>
              </a:cxn>
              <a:cxn ang="0">
                <a:pos x="58" y="4"/>
              </a:cxn>
              <a:cxn ang="0">
                <a:pos x="87" y="10"/>
              </a:cxn>
              <a:cxn ang="0">
                <a:pos x="114" y="10"/>
              </a:cxn>
            </a:cxnLst>
            <a:rect l="0" t="0" r="r" b="b"/>
            <a:pathLst>
              <a:path w="122" h="90">
                <a:moveTo>
                  <a:pt x="114" y="10"/>
                </a:moveTo>
                <a:cubicBezTo>
                  <a:pt x="122" y="19"/>
                  <a:pt x="108" y="12"/>
                  <a:pt x="108" y="24"/>
                </a:cubicBezTo>
                <a:cubicBezTo>
                  <a:pt x="107" y="36"/>
                  <a:pt x="93" y="29"/>
                  <a:pt x="100" y="45"/>
                </a:cubicBezTo>
                <a:cubicBezTo>
                  <a:pt x="108" y="61"/>
                  <a:pt x="93" y="50"/>
                  <a:pt x="103" y="65"/>
                </a:cubicBezTo>
                <a:cubicBezTo>
                  <a:pt x="114" y="80"/>
                  <a:pt x="102" y="68"/>
                  <a:pt x="98" y="85"/>
                </a:cubicBezTo>
                <a:cubicBezTo>
                  <a:pt x="91" y="90"/>
                  <a:pt x="92" y="80"/>
                  <a:pt x="82" y="85"/>
                </a:cubicBezTo>
                <a:cubicBezTo>
                  <a:pt x="72" y="90"/>
                  <a:pt x="68" y="74"/>
                  <a:pt x="63" y="74"/>
                </a:cubicBezTo>
                <a:cubicBezTo>
                  <a:pt x="54" y="73"/>
                  <a:pt x="53" y="66"/>
                  <a:pt x="45" y="65"/>
                </a:cubicBezTo>
                <a:cubicBezTo>
                  <a:pt x="36" y="63"/>
                  <a:pt x="37" y="69"/>
                  <a:pt x="22" y="73"/>
                </a:cubicBezTo>
                <a:cubicBezTo>
                  <a:pt x="26" y="57"/>
                  <a:pt x="32" y="48"/>
                  <a:pt x="21" y="55"/>
                </a:cubicBezTo>
                <a:cubicBezTo>
                  <a:pt x="11" y="62"/>
                  <a:pt x="7" y="52"/>
                  <a:pt x="4" y="46"/>
                </a:cubicBezTo>
                <a:cubicBezTo>
                  <a:pt x="0" y="40"/>
                  <a:pt x="0" y="35"/>
                  <a:pt x="2" y="26"/>
                </a:cubicBezTo>
                <a:cubicBezTo>
                  <a:pt x="4" y="17"/>
                  <a:pt x="13" y="21"/>
                  <a:pt x="16" y="15"/>
                </a:cubicBezTo>
                <a:cubicBezTo>
                  <a:pt x="18" y="9"/>
                  <a:pt x="31" y="7"/>
                  <a:pt x="43" y="9"/>
                </a:cubicBezTo>
                <a:cubicBezTo>
                  <a:pt x="55" y="10"/>
                  <a:pt x="44" y="0"/>
                  <a:pt x="58" y="4"/>
                </a:cubicBezTo>
                <a:cubicBezTo>
                  <a:pt x="71" y="7"/>
                  <a:pt x="78" y="4"/>
                  <a:pt x="87" y="10"/>
                </a:cubicBezTo>
                <a:cubicBezTo>
                  <a:pt x="96" y="15"/>
                  <a:pt x="105" y="13"/>
                  <a:pt x="114" y="10"/>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14" name="Freeform 15"/>
          <p:cNvSpPr>
            <a:spLocks/>
          </p:cNvSpPr>
          <p:nvPr/>
        </p:nvSpPr>
        <p:spPr bwMode="auto">
          <a:xfrm>
            <a:off x="8659320" y="2927241"/>
            <a:ext cx="656307" cy="295252"/>
          </a:xfrm>
          <a:custGeom>
            <a:avLst/>
            <a:gdLst/>
            <a:ahLst/>
            <a:cxnLst>
              <a:cxn ang="0">
                <a:pos x="172" y="50"/>
              </a:cxn>
              <a:cxn ang="0">
                <a:pos x="172" y="37"/>
              </a:cxn>
              <a:cxn ang="0">
                <a:pos x="161" y="22"/>
              </a:cxn>
              <a:cxn ang="0">
                <a:pos x="145" y="22"/>
              </a:cxn>
              <a:cxn ang="0">
                <a:pos x="126" y="11"/>
              </a:cxn>
              <a:cxn ang="0">
                <a:pos x="108" y="2"/>
              </a:cxn>
              <a:cxn ang="0">
                <a:pos x="85" y="10"/>
              </a:cxn>
              <a:cxn ang="0">
                <a:pos x="79" y="42"/>
              </a:cxn>
              <a:cxn ang="0">
                <a:pos x="49" y="24"/>
              </a:cxn>
              <a:cxn ang="0">
                <a:pos x="37" y="16"/>
              </a:cxn>
              <a:cxn ang="0">
                <a:pos x="17" y="25"/>
              </a:cxn>
              <a:cxn ang="0">
                <a:pos x="13" y="38"/>
              </a:cxn>
              <a:cxn ang="0">
                <a:pos x="4" y="53"/>
              </a:cxn>
              <a:cxn ang="0">
                <a:pos x="3" y="79"/>
              </a:cxn>
              <a:cxn ang="0">
                <a:pos x="50" y="67"/>
              </a:cxn>
              <a:cxn ang="0">
                <a:pos x="83" y="71"/>
              </a:cxn>
              <a:cxn ang="0">
                <a:pos x="101" y="65"/>
              </a:cxn>
              <a:cxn ang="0">
                <a:pos x="111" y="75"/>
              </a:cxn>
              <a:cxn ang="0">
                <a:pos x="142" y="95"/>
              </a:cxn>
              <a:cxn ang="0">
                <a:pos x="167" y="87"/>
              </a:cxn>
              <a:cxn ang="0">
                <a:pos x="180" y="77"/>
              </a:cxn>
              <a:cxn ang="0">
                <a:pos x="178" y="60"/>
              </a:cxn>
              <a:cxn ang="0">
                <a:pos x="172" y="50"/>
              </a:cxn>
            </a:cxnLst>
            <a:rect l="0" t="0" r="r" b="b"/>
            <a:pathLst>
              <a:path w="185" h="95">
                <a:moveTo>
                  <a:pt x="172" y="50"/>
                </a:moveTo>
                <a:cubicBezTo>
                  <a:pt x="167" y="51"/>
                  <a:pt x="169" y="39"/>
                  <a:pt x="172" y="37"/>
                </a:cubicBezTo>
                <a:cubicBezTo>
                  <a:pt x="178" y="31"/>
                  <a:pt x="168" y="30"/>
                  <a:pt x="161" y="22"/>
                </a:cubicBezTo>
                <a:cubicBezTo>
                  <a:pt x="154" y="27"/>
                  <a:pt x="155" y="17"/>
                  <a:pt x="145" y="22"/>
                </a:cubicBezTo>
                <a:cubicBezTo>
                  <a:pt x="135" y="27"/>
                  <a:pt x="131" y="11"/>
                  <a:pt x="126" y="11"/>
                </a:cubicBezTo>
                <a:cubicBezTo>
                  <a:pt x="117" y="10"/>
                  <a:pt x="116" y="3"/>
                  <a:pt x="108" y="2"/>
                </a:cubicBezTo>
                <a:cubicBezTo>
                  <a:pt x="99" y="0"/>
                  <a:pt x="100" y="6"/>
                  <a:pt x="85" y="10"/>
                </a:cubicBezTo>
                <a:cubicBezTo>
                  <a:pt x="82" y="22"/>
                  <a:pt x="97" y="36"/>
                  <a:pt x="79" y="42"/>
                </a:cubicBezTo>
                <a:cubicBezTo>
                  <a:pt x="54" y="50"/>
                  <a:pt x="61" y="29"/>
                  <a:pt x="49" y="24"/>
                </a:cubicBezTo>
                <a:cubicBezTo>
                  <a:pt x="36" y="20"/>
                  <a:pt x="48" y="12"/>
                  <a:pt x="37" y="16"/>
                </a:cubicBezTo>
                <a:cubicBezTo>
                  <a:pt x="25" y="20"/>
                  <a:pt x="19" y="22"/>
                  <a:pt x="17" y="25"/>
                </a:cubicBezTo>
                <a:cubicBezTo>
                  <a:pt x="14" y="32"/>
                  <a:pt x="11" y="32"/>
                  <a:pt x="13" y="38"/>
                </a:cubicBezTo>
                <a:cubicBezTo>
                  <a:pt x="16" y="45"/>
                  <a:pt x="7" y="43"/>
                  <a:pt x="4" y="53"/>
                </a:cubicBezTo>
                <a:cubicBezTo>
                  <a:pt x="0" y="63"/>
                  <a:pt x="3" y="71"/>
                  <a:pt x="3" y="79"/>
                </a:cubicBezTo>
                <a:cubicBezTo>
                  <a:pt x="27" y="65"/>
                  <a:pt x="31" y="65"/>
                  <a:pt x="50" y="67"/>
                </a:cubicBezTo>
                <a:cubicBezTo>
                  <a:pt x="68" y="68"/>
                  <a:pt x="70" y="67"/>
                  <a:pt x="83" y="71"/>
                </a:cubicBezTo>
                <a:cubicBezTo>
                  <a:pt x="97" y="75"/>
                  <a:pt x="95" y="63"/>
                  <a:pt x="101" y="65"/>
                </a:cubicBezTo>
                <a:cubicBezTo>
                  <a:pt x="107" y="67"/>
                  <a:pt x="98" y="75"/>
                  <a:pt x="111" y="75"/>
                </a:cubicBezTo>
                <a:cubicBezTo>
                  <a:pt x="125" y="75"/>
                  <a:pt x="129" y="89"/>
                  <a:pt x="142" y="95"/>
                </a:cubicBezTo>
                <a:cubicBezTo>
                  <a:pt x="157" y="83"/>
                  <a:pt x="162" y="95"/>
                  <a:pt x="167" y="87"/>
                </a:cubicBezTo>
                <a:cubicBezTo>
                  <a:pt x="172" y="80"/>
                  <a:pt x="171" y="79"/>
                  <a:pt x="180" y="77"/>
                </a:cubicBezTo>
                <a:cubicBezTo>
                  <a:pt x="180" y="77"/>
                  <a:pt x="185" y="68"/>
                  <a:pt x="178" y="60"/>
                </a:cubicBezTo>
                <a:cubicBezTo>
                  <a:pt x="170" y="52"/>
                  <a:pt x="176" y="49"/>
                  <a:pt x="172" y="50"/>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15" name="Freeform 16"/>
          <p:cNvSpPr>
            <a:spLocks/>
          </p:cNvSpPr>
          <p:nvPr/>
        </p:nvSpPr>
        <p:spPr bwMode="auto">
          <a:xfrm>
            <a:off x="8672336" y="3122841"/>
            <a:ext cx="515005" cy="324776"/>
          </a:xfrm>
          <a:custGeom>
            <a:avLst/>
            <a:gdLst/>
            <a:ahLst/>
            <a:cxnLst>
              <a:cxn ang="0">
                <a:pos x="139" y="32"/>
              </a:cxn>
              <a:cxn ang="0">
                <a:pos x="108" y="12"/>
              </a:cxn>
              <a:cxn ang="0">
                <a:pos x="98" y="2"/>
              </a:cxn>
              <a:cxn ang="0">
                <a:pos x="80" y="8"/>
              </a:cxn>
              <a:cxn ang="0">
                <a:pos x="47" y="4"/>
              </a:cxn>
              <a:cxn ang="0">
                <a:pos x="0" y="16"/>
              </a:cxn>
              <a:cxn ang="0">
                <a:pos x="3" y="31"/>
              </a:cxn>
              <a:cxn ang="0">
                <a:pos x="7" y="48"/>
              </a:cxn>
              <a:cxn ang="0">
                <a:pos x="42" y="58"/>
              </a:cxn>
              <a:cxn ang="0">
                <a:pos x="44" y="80"/>
              </a:cxn>
              <a:cxn ang="0">
                <a:pos x="62" y="97"/>
              </a:cxn>
              <a:cxn ang="0">
                <a:pos x="98" y="89"/>
              </a:cxn>
              <a:cxn ang="0">
                <a:pos x="117" y="89"/>
              </a:cxn>
              <a:cxn ang="0">
                <a:pos x="117" y="68"/>
              </a:cxn>
              <a:cxn ang="0">
                <a:pos x="141" y="49"/>
              </a:cxn>
              <a:cxn ang="0">
                <a:pos x="139" y="32"/>
              </a:cxn>
            </a:cxnLst>
            <a:rect l="0" t="0" r="r" b="b"/>
            <a:pathLst>
              <a:path w="146" h="104">
                <a:moveTo>
                  <a:pt x="139" y="32"/>
                </a:moveTo>
                <a:cubicBezTo>
                  <a:pt x="126" y="26"/>
                  <a:pt x="122" y="12"/>
                  <a:pt x="108" y="12"/>
                </a:cubicBezTo>
                <a:cubicBezTo>
                  <a:pt x="95" y="12"/>
                  <a:pt x="104" y="4"/>
                  <a:pt x="98" y="2"/>
                </a:cubicBezTo>
                <a:cubicBezTo>
                  <a:pt x="92" y="0"/>
                  <a:pt x="94" y="12"/>
                  <a:pt x="80" y="8"/>
                </a:cubicBezTo>
                <a:cubicBezTo>
                  <a:pt x="67" y="4"/>
                  <a:pt x="65" y="5"/>
                  <a:pt x="47" y="4"/>
                </a:cubicBezTo>
                <a:cubicBezTo>
                  <a:pt x="28" y="2"/>
                  <a:pt x="24" y="2"/>
                  <a:pt x="0" y="16"/>
                </a:cubicBezTo>
                <a:cubicBezTo>
                  <a:pt x="0" y="24"/>
                  <a:pt x="0" y="27"/>
                  <a:pt x="3" y="31"/>
                </a:cubicBezTo>
                <a:cubicBezTo>
                  <a:pt x="7" y="36"/>
                  <a:pt x="7" y="43"/>
                  <a:pt x="7" y="48"/>
                </a:cubicBezTo>
                <a:cubicBezTo>
                  <a:pt x="40" y="62"/>
                  <a:pt x="30" y="49"/>
                  <a:pt x="42" y="58"/>
                </a:cubicBezTo>
                <a:cubicBezTo>
                  <a:pt x="51" y="64"/>
                  <a:pt x="40" y="66"/>
                  <a:pt x="44" y="80"/>
                </a:cubicBezTo>
                <a:cubicBezTo>
                  <a:pt x="50" y="79"/>
                  <a:pt x="65" y="88"/>
                  <a:pt x="62" y="97"/>
                </a:cubicBezTo>
                <a:cubicBezTo>
                  <a:pt x="80" y="93"/>
                  <a:pt x="82" y="104"/>
                  <a:pt x="98" y="89"/>
                </a:cubicBezTo>
                <a:cubicBezTo>
                  <a:pt x="115" y="74"/>
                  <a:pt x="110" y="94"/>
                  <a:pt x="117" y="89"/>
                </a:cubicBezTo>
                <a:cubicBezTo>
                  <a:pt x="125" y="83"/>
                  <a:pt x="109" y="82"/>
                  <a:pt x="117" y="68"/>
                </a:cubicBezTo>
                <a:cubicBezTo>
                  <a:pt x="130" y="48"/>
                  <a:pt x="136" y="60"/>
                  <a:pt x="141" y="49"/>
                </a:cubicBezTo>
                <a:cubicBezTo>
                  <a:pt x="146" y="39"/>
                  <a:pt x="130" y="53"/>
                  <a:pt x="139" y="32"/>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endParaRPr lang="de-DE" sz="1800">
              <a:solidFill>
                <a:srgbClr val="000000"/>
              </a:solidFill>
              <a:latin typeface="Arial" charset="0"/>
              <a:ea typeface="ＭＳ Ｐゴシック"/>
            </a:endParaRPr>
          </a:p>
        </p:txBody>
      </p:sp>
      <p:sp>
        <p:nvSpPr>
          <p:cNvPr id="16" name="Freeform 17"/>
          <p:cNvSpPr>
            <a:spLocks/>
          </p:cNvSpPr>
          <p:nvPr/>
        </p:nvSpPr>
        <p:spPr bwMode="auto">
          <a:xfrm>
            <a:off x="8832230" y="3163438"/>
            <a:ext cx="884991" cy="586812"/>
          </a:xfrm>
          <a:custGeom>
            <a:avLst/>
            <a:gdLst/>
            <a:ahLst/>
            <a:cxnLst>
              <a:cxn ang="0">
                <a:pos x="237" y="95"/>
              </a:cxn>
              <a:cxn ang="0">
                <a:pos x="221" y="84"/>
              </a:cxn>
              <a:cxn ang="0">
                <a:pos x="205" y="64"/>
              </a:cxn>
              <a:cxn ang="0">
                <a:pos x="199" y="46"/>
              </a:cxn>
              <a:cxn ang="0">
                <a:pos x="199" y="28"/>
              </a:cxn>
              <a:cxn ang="0">
                <a:pos x="191" y="17"/>
              </a:cxn>
              <a:cxn ang="0">
                <a:pos x="168" y="16"/>
              </a:cxn>
              <a:cxn ang="0">
                <a:pos x="153" y="7"/>
              </a:cxn>
              <a:cxn ang="0">
                <a:pos x="131" y="1"/>
              </a:cxn>
              <a:cxn ang="0">
                <a:pos x="118" y="11"/>
              </a:cxn>
              <a:cxn ang="0">
                <a:pos x="93" y="19"/>
              </a:cxn>
              <a:cxn ang="0">
                <a:pos x="95" y="36"/>
              </a:cxn>
              <a:cxn ang="0">
                <a:pos x="71" y="55"/>
              </a:cxn>
              <a:cxn ang="0">
                <a:pos x="71" y="76"/>
              </a:cxn>
              <a:cxn ang="0">
                <a:pos x="52" y="76"/>
              </a:cxn>
              <a:cxn ang="0">
                <a:pos x="16" y="84"/>
              </a:cxn>
              <a:cxn ang="0">
                <a:pos x="23" y="133"/>
              </a:cxn>
              <a:cxn ang="0">
                <a:pos x="11" y="149"/>
              </a:cxn>
              <a:cxn ang="0">
                <a:pos x="19" y="175"/>
              </a:cxn>
              <a:cxn ang="0">
                <a:pos x="27" y="170"/>
              </a:cxn>
              <a:cxn ang="0">
                <a:pos x="53" y="158"/>
              </a:cxn>
              <a:cxn ang="0">
                <a:pos x="100" y="165"/>
              </a:cxn>
              <a:cxn ang="0">
                <a:pos x="122" y="170"/>
              </a:cxn>
              <a:cxn ang="0">
                <a:pos x="149" y="173"/>
              </a:cxn>
              <a:cxn ang="0">
                <a:pos x="163" y="179"/>
              </a:cxn>
              <a:cxn ang="0">
                <a:pos x="183" y="179"/>
              </a:cxn>
              <a:cxn ang="0">
                <a:pos x="191" y="174"/>
              </a:cxn>
              <a:cxn ang="0">
                <a:pos x="220" y="152"/>
              </a:cxn>
              <a:cxn ang="0">
                <a:pos x="211" y="123"/>
              </a:cxn>
              <a:cxn ang="0">
                <a:pos x="220" y="113"/>
              </a:cxn>
              <a:cxn ang="0">
                <a:pos x="240" y="108"/>
              </a:cxn>
              <a:cxn ang="0">
                <a:pos x="237" y="95"/>
              </a:cxn>
            </a:cxnLst>
            <a:rect l="0" t="0" r="r" b="b"/>
            <a:pathLst>
              <a:path w="250" h="188">
                <a:moveTo>
                  <a:pt x="237" y="95"/>
                </a:moveTo>
                <a:cubicBezTo>
                  <a:pt x="237" y="85"/>
                  <a:pt x="213" y="96"/>
                  <a:pt x="221" y="84"/>
                </a:cubicBezTo>
                <a:cubicBezTo>
                  <a:pt x="227" y="76"/>
                  <a:pt x="209" y="82"/>
                  <a:pt x="205" y="64"/>
                </a:cubicBezTo>
                <a:cubicBezTo>
                  <a:pt x="203" y="50"/>
                  <a:pt x="190" y="53"/>
                  <a:pt x="199" y="46"/>
                </a:cubicBezTo>
                <a:cubicBezTo>
                  <a:pt x="208" y="39"/>
                  <a:pt x="194" y="40"/>
                  <a:pt x="199" y="28"/>
                </a:cubicBezTo>
                <a:cubicBezTo>
                  <a:pt x="204" y="16"/>
                  <a:pt x="194" y="22"/>
                  <a:pt x="191" y="17"/>
                </a:cubicBezTo>
                <a:cubicBezTo>
                  <a:pt x="187" y="12"/>
                  <a:pt x="181" y="9"/>
                  <a:pt x="168" y="16"/>
                </a:cubicBezTo>
                <a:cubicBezTo>
                  <a:pt x="155" y="23"/>
                  <a:pt x="169" y="3"/>
                  <a:pt x="153" y="7"/>
                </a:cubicBezTo>
                <a:cubicBezTo>
                  <a:pt x="138" y="10"/>
                  <a:pt x="148" y="0"/>
                  <a:pt x="131" y="1"/>
                </a:cubicBezTo>
                <a:cubicBezTo>
                  <a:pt x="122" y="3"/>
                  <a:pt x="123" y="4"/>
                  <a:pt x="118" y="11"/>
                </a:cubicBezTo>
                <a:cubicBezTo>
                  <a:pt x="113" y="19"/>
                  <a:pt x="108" y="7"/>
                  <a:pt x="93" y="19"/>
                </a:cubicBezTo>
                <a:cubicBezTo>
                  <a:pt x="84" y="40"/>
                  <a:pt x="100" y="26"/>
                  <a:pt x="95" y="36"/>
                </a:cubicBezTo>
                <a:cubicBezTo>
                  <a:pt x="90" y="47"/>
                  <a:pt x="84" y="35"/>
                  <a:pt x="71" y="55"/>
                </a:cubicBezTo>
                <a:cubicBezTo>
                  <a:pt x="63" y="69"/>
                  <a:pt x="79" y="70"/>
                  <a:pt x="71" y="76"/>
                </a:cubicBezTo>
                <a:cubicBezTo>
                  <a:pt x="64" y="81"/>
                  <a:pt x="69" y="61"/>
                  <a:pt x="52" y="76"/>
                </a:cubicBezTo>
                <a:cubicBezTo>
                  <a:pt x="36" y="91"/>
                  <a:pt x="34" y="80"/>
                  <a:pt x="16" y="84"/>
                </a:cubicBezTo>
                <a:cubicBezTo>
                  <a:pt x="24" y="110"/>
                  <a:pt x="33" y="129"/>
                  <a:pt x="23" y="133"/>
                </a:cubicBezTo>
                <a:cubicBezTo>
                  <a:pt x="13" y="137"/>
                  <a:pt x="0" y="146"/>
                  <a:pt x="11" y="149"/>
                </a:cubicBezTo>
                <a:cubicBezTo>
                  <a:pt x="28" y="153"/>
                  <a:pt x="12" y="165"/>
                  <a:pt x="19" y="175"/>
                </a:cubicBezTo>
                <a:cubicBezTo>
                  <a:pt x="19" y="175"/>
                  <a:pt x="21" y="168"/>
                  <a:pt x="27" y="170"/>
                </a:cubicBezTo>
                <a:cubicBezTo>
                  <a:pt x="36" y="174"/>
                  <a:pt x="23" y="162"/>
                  <a:pt x="53" y="158"/>
                </a:cubicBezTo>
                <a:cubicBezTo>
                  <a:pt x="83" y="155"/>
                  <a:pt x="90" y="166"/>
                  <a:pt x="100" y="165"/>
                </a:cubicBezTo>
                <a:cubicBezTo>
                  <a:pt x="111" y="165"/>
                  <a:pt x="103" y="171"/>
                  <a:pt x="122" y="170"/>
                </a:cubicBezTo>
                <a:cubicBezTo>
                  <a:pt x="153" y="170"/>
                  <a:pt x="136" y="183"/>
                  <a:pt x="149" y="173"/>
                </a:cubicBezTo>
                <a:cubicBezTo>
                  <a:pt x="161" y="163"/>
                  <a:pt x="155" y="184"/>
                  <a:pt x="163" y="179"/>
                </a:cubicBezTo>
                <a:cubicBezTo>
                  <a:pt x="169" y="176"/>
                  <a:pt x="180" y="176"/>
                  <a:pt x="183" y="179"/>
                </a:cubicBezTo>
                <a:cubicBezTo>
                  <a:pt x="191" y="188"/>
                  <a:pt x="191" y="186"/>
                  <a:pt x="191" y="174"/>
                </a:cubicBezTo>
                <a:cubicBezTo>
                  <a:pt x="191" y="161"/>
                  <a:pt x="200" y="151"/>
                  <a:pt x="220" y="152"/>
                </a:cubicBezTo>
                <a:cubicBezTo>
                  <a:pt x="209" y="136"/>
                  <a:pt x="224" y="135"/>
                  <a:pt x="211" y="123"/>
                </a:cubicBezTo>
                <a:cubicBezTo>
                  <a:pt x="206" y="118"/>
                  <a:pt x="211" y="107"/>
                  <a:pt x="220" y="113"/>
                </a:cubicBezTo>
                <a:cubicBezTo>
                  <a:pt x="231" y="121"/>
                  <a:pt x="234" y="113"/>
                  <a:pt x="240" y="108"/>
                </a:cubicBezTo>
                <a:cubicBezTo>
                  <a:pt x="250" y="100"/>
                  <a:pt x="236" y="102"/>
                  <a:pt x="237" y="95"/>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17" name="Freeform 19"/>
          <p:cNvSpPr>
            <a:spLocks/>
          </p:cNvSpPr>
          <p:nvPr/>
        </p:nvSpPr>
        <p:spPr bwMode="auto">
          <a:xfrm>
            <a:off x="6405940" y="3755786"/>
            <a:ext cx="1167595" cy="972484"/>
          </a:xfrm>
          <a:custGeom>
            <a:avLst/>
            <a:gdLst/>
            <a:ahLst/>
            <a:cxnLst>
              <a:cxn ang="0">
                <a:pos x="295" y="130"/>
              </a:cxn>
              <a:cxn ang="0">
                <a:pos x="284" y="147"/>
              </a:cxn>
              <a:cxn ang="0">
                <a:pos x="271" y="173"/>
              </a:cxn>
              <a:cxn ang="0">
                <a:pos x="284" y="166"/>
              </a:cxn>
              <a:cxn ang="0">
                <a:pos x="294" y="185"/>
              </a:cxn>
              <a:cxn ang="0">
                <a:pos x="290" y="219"/>
              </a:cxn>
              <a:cxn ang="0">
                <a:pos x="311" y="246"/>
              </a:cxn>
              <a:cxn ang="0">
                <a:pos x="288" y="274"/>
              </a:cxn>
              <a:cxn ang="0">
                <a:pos x="255" y="279"/>
              </a:cxn>
              <a:cxn ang="0">
                <a:pos x="229" y="272"/>
              </a:cxn>
              <a:cxn ang="0">
                <a:pos x="199" y="285"/>
              </a:cxn>
              <a:cxn ang="0">
                <a:pos x="185" y="308"/>
              </a:cxn>
              <a:cxn ang="0">
                <a:pos x="158" y="299"/>
              </a:cxn>
              <a:cxn ang="0">
                <a:pos x="120" y="295"/>
              </a:cxn>
              <a:cxn ang="0">
                <a:pos x="88" y="280"/>
              </a:cxn>
              <a:cxn ang="0">
                <a:pos x="89" y="247"/>
              </a:cxn>
              <a:cxn ang="0">
                <a:pos x="92" y="226"/>
              </a:cxn>
              <a:cxn ang="0">
                <a:pos x="96" y="199"/>
              </a:cxn>
              <a:cxn ang="0">
                <a:pos x="95" y="195"/>
              </a:cxn>
              <a:cxn ang="0">
                <a:pos x="93" y="174"/>
              </a:cxn>
              <a:cxn ang="0">
                <a:pos x="71" y="149"/>
              </a:cxn>
              <a:cxn ang="0">
                <a:pos x="65" y="138"/>
              </a:cxn>
              <a:cxn ang="0">
                <a:pos x="55" y="129"/>
              </a:cxn>
              <a:cxn ang="0">
                <a:pos x="35" y="121"/>
              </a:cxn>
              <a:cxn ang="0">
                <a:pos x="8" y="111"/>
              </a:cxn>
              <a:cxn ang="0">
                <a:pos x="8" y="103"/>
              </a:cxn>
              <a:cxn ang="0">
                <a:pos x="4" y="97"/>
              </a:cxn>
              <a:cxn ang="0">
                <a:pos x="25" y="86"/>
              </a:cxn>
              <a:cxn ang="0">
                <a:pos x="42" y="80"/>
              </a:cxn>
              <a:cxn ang="0">
                <a:pos x="63" y="88"/>
              </a:cxn>
              <a:cxn ang="0">
                <a:pos x="75" y="86"/>
              </a:cxn>
              <a:cxn ang="0">
                <a:pos x="84" y="80"/>
              </a:cxn>
              <a:cxn ang="0">
                <a:pos x="75" y="52"/>
              </a:cxn>
              <a:cxn ang="0">
                <a:pos x="94" y="63"/>
              </a:cxn>
              <a:cxn ang="0">
                <a:pos x="128" y="59"/>
              </a:cxn>
              <a:cxn ang="0">
                <a:pos x="157" y="35"/>
              </a:cxn>
              <a:cxn ang="0">
                <a:pos x="161" y="25"/>
              </a:cxn>
              <a:cxn ang="0">
                <a:pos x="184" y="0"/>
              </a:cxn>
              <a:cxn ang="0">
                <a:pos x="212" y="24"/>
              </a:cxn>
              <a:cxn ang="0">
                <a:pos x="242" y="34"/>
              </a:cxn>
              <a:cxn ang="0">
                <a:pos x="265" y="57"/>
              </a:cxn>
              <a:cxn ang="0">
                <a:pos x="290" y="68"/>
              </a:cxn>
              <a:cxn ang="0">
                <a:pos x="322" y="76"/>
              </a:cxn>
            </a:cxnLst>
            <a:rect l="0" t="0" r="r" b="b"/>
            <a:pathLst>
              <a:path w="330" h="312">
                <a:moveTo>
                  <a:pt x="308" y="126"/>
                </a:moveTo>
                <a:cubicBezTo>
                  <a:pt x="301" y="133"/>
                  <a:pt x="299" y="127"/>
                  <a:pt x="295" y="130"/>
                </a:cubicBezTo>
                <a:cubicBezTo>
                  <a:pt x="291" y="134"/>
                  <a:pt x="299" y="134"/>
                  <a:pt x="292" y="138"/>
                </a:cubicBezTo>
                <a:cubicBezTo>
                  <a:pt x="285" y="141"/>
                  <a:pt x="293" y="144"/>
                  <a:pt x="284" y="147"/>
                </a:cubicBezTo>
                <a:cubicBezTo>
                  <a:pt x="277" y="150"/>
                  <a:pt x="286" y="154"/>
                  <a:pt x="276" y="159"/>
                </a:cubicBezTo>
                <a:cubicBezTo>
                  <a:pt x="269" y="163"/>
                  <a:pt x="277" y="169"/>
                  <a:pt x="271" y="173"/>
                </a:cubicBezTo>
                <a:cubicBezTo>
                  <a:pt x="266" y="177"/>
                  <a:pt x="269" y="180"/>
                  <a:pt x="275" y="177"/>
                </a:cubicBezTo>
                <a:cubicBezTo>
                  <a:pt x="280" y="174"/>
                  <a:pt x="274" y="168"/>
                  <a:pt x="284" y="166"/>
                </a:cubicBezTo>
                <a:cubicBezTo>
                  <a:pt x="293" y="165"/>
                  <a:pt x="289" y="175"/>
                  <a:pt x="288" y="177"/>
                </a:cubicBezTo>
                <a:cubicBezTo>
                  <a:pt x="287" y="179"/>
                  <a:pt x="293" y="176"/>
                  <a:pt x="294" y="185"/>
                </a:cubicBezTo>
                <a:cubicBezTo>
                  <a:pt x="285" y="198"/>
                  <a:pt x="304" y="199"/>
                  <a:pt x="298" y="206"/>
                </a:cubicBezTo>
                <a:cubicBezTo>
                  <a:pt x="292" y="213"/>
                  <a:pt x="278" y="210"/>
                  <a:pt x="290" y="219"/>
                </a:cubicBezTo>
                <a:cubicBezTo>
                  <a:pt x="306" y="229"/>
                  <a:pt x="288" y="229"/>
                  <a:pt x="293" y="240"/>
                </a:cubicBezTo>
                <a:cubicBezTo>
                  <a:pt x="297" y="251"/>
                  <a:pt x="309" y="243"/>
                  <a:pt x="311" y="246"/>
                </a:cubicBezTo>
                <a:cubicBezTo>
                  <a:pt x="314" y="249"/>
                  <a:pt x="306" y="257"/>
                  <a:pt x="307" y="261"/>
                </a:cubicBezTo>
                <a:cubicBezTo>
                  <a:pt x="301" y="265"/>
                  <a:pt x="287" y="271"/>
                  <a:pt x="288" y="274"/>
                </a:cubicBezTo>
                <a:cubicBezTo>
                  <a:pt x="289" y="281"/>
                  <a:pt x="269" y="285"/>
                  <a:pt x="265" y="282"/>
                </a:cubicBezTo>
                <a:cubicBezTo>
                  <a:pt x="260" y="276"/>
                  <a:pt x="259" y="285"/>
                  <a:pt x="255" y="279"/>
                </a:cubicBezTo>
                <a:cubicBezTo>
                  <a:pt x="251" y="273"/>
                  <a:pt x="250" y="272"/>
                  <a:pt x="241" y="274"/>
                </a:cubicBezTo>
                <a:cubicBezTo>
                  <a:pt x="232" y="276"/>
                  <a:pt x="239" y="272"/>
                  <a:pt x="229" y="272"/>
                </a:cubicBezTo>
                <a:cubicBezTo>
                  <a:pt x="219" y="272"/>
                  <a:pt x="229" y="260"/>
                  <a:pt x="213" y="273"/>
                </a:cubicBezTo>
                <a:cubicBezTo>
                  <a:pt x="207" y="278"/>
                  <a:pt x="199" y="276"/>
                  <a:pt x="199" y="285"/>
                </a:cubicBezTo>
                <a:cubicBezTo>
                  <a:pt x="200" y="295"/>
                  <a:pt x="197" y="291"/>
                  <a:pt x="199" y="305"/>
                </a:cubicBezTo>
                <a:cubicBezTo>
                  <a:pt x="186" y="304"/>
                  <a:pt x="193" y="312"/>
                  <a:pt x="185" y="308"/>
                </a:cubicBezTo>
                <a:cubicBezTo>
                  <a:pt x="177" y="304"/>
                  <a:pt x="179" y="312"/>
                  <a:pt x="165" y="303"/>
                </a:cubicBezTo>
                <a:cubicBezTo>
                  <a:pt x="165" y="301"/>
                  <a:pt x="163" y="297"/>
                  <a:pt x="158" y="299"/>
                </a:cubicBezTo>
                <a:cubicBezTo>
                  <a:pt x="132" y="283"/>
                  <a:pt x="144" y="298"/>
                  <a:pt x="135" y="296"/>
                </a:cubicBezTo>
                <a:cubicBezTo>
                  <a:pt x="124" y="293"/>
                  <a:pt x="124" y="299"/>
                  <a:pt x="120" y="295"/>
                </a:cubicBezTo>
                <a:cubicBezTo>
                  <a:pt x="115" y="289"/>
                  <a:pt x="109" y="296"/>
                  <a:pt x="106" y="291"/>
                </a:cubicBezTo>
                <a:cubicBezTo>
                  <a:pt x="102" y="282"/>
                  <a:pt x="87" y="287"/>
                  <a:pt x="88" y="280"/>
                </a:cubicBezTo>
                <a:cubicBezTo>
                  <a:pt x="89" y="274"/>
                  <a:pt x="83" y="278"/>
                  <a:pt x="79" y="273"/>
                </a:cubicBezTo>
                <a:cubicBezTo>
                  <a:pt x="84" y="271"/>
                  <a:pt x="88" y="267"/>
                  <a:pt x="89" y="247"/>
                </a:cubicBezTo>
                <a:cubicBezTo>
                  <a:pt x="91" y="228"/>
                  <a:pt x="92" y="231"/>
                  <a:pt x="94" y="229"/>
                </a:cubicBezTo>
                <a:cubicBezTo>
                  <a:pt x="96" y="228"/>
                  <a:pt x="94" y="224"/>
                  <a:pt x="92" y="226"/>
                </a:cubicBezTo>
                <a:cubicBezTo>
                  <a:pt x="90" y="228"/>
                  <a:pt x="90" y="227"/>
                  <a:pt x="92" y="217"/>
                </a:cubicBezTo>
                <a:cubicBezTo>
                  <a:pt x="93" y="206"/>
                  <a:pt x="96" y="199"/>
                  <a:pt x="96" y="199"/>
                </a:cubicBezTo>
                <a:cubicBezTo>
                  <a:pt x="103" y="201"/>
                  <a:pt x="106" y="219"/>
                  <a:pt x="105" y="212"/>
                </a:cubicBezTo>
                <a:cubicBezTo>
                  <a:pt x="104" y="205"/>
                  <a:pt x="106" y="201"/>
                  <a:pt x="95" y="195"/>
                </a:cubicBezTo>
                <a:cubicBezTo>
                  <a:pt x="84" y="189"/>
                  <a:pt x="93" y="194"/>
                  <a:pt x="95" y="186"/>
                </a:cubicBezTo>
                <a:cubicBezTo>
                  <a:pt x="97" y="175"/>
                  <a:pt x="90" y="179"/>
                  <a:pt x="93" y="174"/>
                </a:cubicBezTo>
                <a:cubicBezTo>
                  <a:pt x="95" y="170"/>
                  <a:pt x="92" y="174"/>
                  <a:pt x="83" y="168"/>
                </a:cubicBezTo>
                <a:cubicBezTo>
                  <a:pt x="74" y="163"/>
                  <a:pt x="66" y="153"/>
                  <a:pt x="71" y="149"/>
                </a:cubicBezTo>
                <a:cubicBezTo>
                  <a:pt x="73" y="147"/>
                  <a:pt x="74" y="144"/>
                  <a:pt x="69" y="143"/>
                </a:cubicBezTo>
                <a:cubicBezTo>
                  <a:pt x="63" y="143"/>
                  <a:pt x="74" y="137"/>
                  <a:pt x="65" y="138"/>
                </a:cubicBezTo>
                <a:cubicBezTo>
                  <a:pt x="56" y="138"/>
                  <a:pt x="59" y="135"/>
                  <a:pt x="61" y="132"/>
                </a:cubicBezTo>
                <a:cubicBezTo>
                  <a:pt x="63" y="129"/>
                  <a:pt x="60" y="128"/>
                  <a:pt x="55" y="129"/>
                </a:cubicBezTo>
                <a:cubicBezTo>
                  <a:pt x="46" y="131"/>
                  <a:pt x="54" y="124"/>
                  <a:pt x="48" y="126"/>
                </a:cubicBezTo>
                <a:cubicBezTo>
                  <a:pt x="42" y="127"/>
                  <a:pt x="42" y="123"/>
                  <a:pt x="35" y="121"/>
                </a:cubicBezTo>
                <a:cubicBezTo>
                  <a:pt x="28" y="118"/>
                  <a:pt x="22" y="116"/>
                  <a:pt x="18" y="118"/>
                </a:cubicBezTo>
                <a:cubicBezTo>
                  <a:pt x="11" y="121"/>
                  <a:pt x="16" y="116"/>
                  <a:pt x="8" y="111"/>
                </a:cubicBezTo>
                <a:cubicBezTo>
                  <a:pt x="0" y="107"/>
                  <a:pt x="18" y="109"/>
                  <a:pt x="16" y="106"/>
                </a:cubicBezTo>
                <a:cubicBezTo>
                  <a:pt x="14" y="102"/>
                  <a:pt x="9" y="106"/>
                  <a:pt x="8" y="103"/>
                </a:cubicBezTo>
                <a:cubicBezTo>
                  <a:pt x="8" y="100"/>
                  <a:pt x="17" y="100"/>
                  <a:pt x="13" y="99"/>
                </a:cubicBezTo>
                <a:cubicBezTo>
                  <a:pt x="9" y="97"/>
                  <a:pt x="5" y="101"/>
                  <a:pt x="4" y="97"/>
                </a:cubicBezTo>
                <a:cubicBezTo>
                  <a:pt x="3" y="94"/>
                  <a:pt x="6" y="89"/>
                  <a:pt x="16" y="88"/>
                </a:cubicBezTo>
                <a:cubicBezTo>
                  <a:pt x="26" y="87"/>
                  <a:pt x="20" y="83"/>
                  <a:pt x="25" y="86"/>
                </a:cubicBezTo>
                <a:cubicBezTo>
                  <a:pt x="31" y="89"/>
                  <a:pt x="35" y="87"/>
                  <a:pt x="34" y="84"/>
                </a:cubicBezTo>
                <a:cubicBezTo>
                  <a:pt x="33" y="79"/>
                  <a:pt x="37" y="84"/>
                  <a:pt x="42" y="80"/>
                </a:cubicBezTo>
                <a:cubicBezTo>
                  <a:pt x="48" y="76"/>
                  <a:pt x="50" y="87"/>
                  <a:pt x="53" y="91"/>
                </a:cubicBezTo>
                <a:cubicBezTo>
                  <a:pt x="56" y="95"/>
                  <a:pt x="59" y="90"/>
                  <a:pt x="63" y="88"/>
                </a:cubicBezTo>
                <a:cubicBezTo>
                  <a:pt x="69" y="84"/>
                  <a:pt x="64" y="91"/>
                  <a:pt x="70" y="89"/>
                </a:cubicBezTo>
                <a:cubicBezTo>
                  <a:pt x="76" y="88"/>
                  <a:pt x="72" y="86"/>
                  <a:pt x="75" y="86"/>
                </a:cubicBezTo>
                <a:cubicBezTo>
                  <a:pt x="78" y="86"/>
                  <a:pt x="75" y="91"/>
                  <a:pt x="83" y="90"/>
                </a:cubicBezTo>
                <a:cubicBezTo>
                  <a:pt x="91" y="89"/>
                  <a:pt x="81" y="87"/>
                  <a:pt x="84" y="80"/>
                </a:cubicBezTo>
                <a:cubicBezTo>
                  <a:pt x="85" y="76"/>
                  <a:pt x="82" y="64"/>
                  <a:pt x="78" y="63"/>
                </a:cubicBezTo>
                <a:cubicBezTo>
                  <a:pt x="73" y="60"/>
                  <a:pt x="79" y="57"/>
                  <a:pt x="75" y="52"/>
                </a:cubicBezTo>
                <a:cubicBezTo>
                  <a:pt x="72" y="47"/>
                  <a:pt x="79" y="53"/>
                  <a:pt x="87" y="51"/>
                </a:cubicBezTo>
                <a:cubicBezTo>
                  <a:pt x="94" y="48"/>
                  <a:pt x="89" y="64"/>
                  <a:pt x="94" y="63"/>
                </a:cubicBezTo>
                <a:cubicBezTo>
                  <a:pt x="107" y="60"/>
                  <a:pt x="114" y="68"/>
                  <a:pt x="120" y="64"/>
                </a:cubicBezTo>
                <a:cubicBezTo>
                  <a:pt x="126" y="61"/>
                  <a:pt x="132" y="60"/>
                  <a:pt x="128" y="59"/>
                </a:cubicBezTo>
                <a:cubicBezTo>
                  <a:pt x="124" y="58"/>
                  <a:pt x="117" y="53"/>
                  <a:pt x="135" y="46"/>
                </a:cubicBezTo>
                <a:cubicBezTo>
                  <a:pt x="152" y="38"/>
                  <a:pt x="156" y="39"/>
                  <a:pt x="157" y="35"/>
                </a:cubicBezTo>
                <a:cubicBezTo>
                  <a:pt x="159" y="32"/>
                  <a:pt x="164" y="34"/>
                  <a:pt x="161" y="30"/>
                </a:cubicBezTo>
                <a:cubicBezTo>
                  <a:pt x="158" y="26"/>
                  <a:pt x="163" y="28"/>
                  <a:pt x="161" y="25"/>
                </a:cubicBezTo>
                <a:cubicBezTo>
                  <a:pt x="159" y="22"/>
                  <a:pt x="161" y="20"/>
                  <a:pt x="160" y="13"/>
                </a:cubicBezTo>
                <a:cubicBezTo>
                  <a:pt x="159" y="5"/>
                  <a:pt x="166" y="3"/>
                  <a:pt x="184" y="0"/>
                </a:cubicBezTo>
                <a:cubicBezTo>
                  <a:pt x="191" y="23"/>
                  <a:pt x="198" y="6"/>
                  <a:pt x="202" y="17"/>
                </a:cubicBezTo>
                <a:cubicBezTo>
                  <a:pt x="205" y="26"/>
                  <a:pt x="209" y="18"/>
                  <a:pt x="212" y="24"/>
                </a:cubicBezTo>
                <a:cubicBezTo>
                  <a:pt x="214" y="29"/>
                  <a:pt x="224" y="25"/>
                  <a:pt x="226" y="36"/>
                </a:cubicBezTo>
                <a:cubicBezTo>
                  <a:pt x="228" y="52"/>
                  <a:pt x="236" y="32"/>
                  <a:pt x="242" y="34"/>
                </a:cubicBezTo>
                <a:cubicBezTo>
                  <a:pt x="245" y="36"/>
                  <a:pt x="236" y="44"/>
                  <a:pt x="247" y="48"/>
                </a:cubicBezTo>
                <a:cubicBezTo>
                  <a:pt x="256" y="51"/>
                  <a:pt x="254" y="61"/>
                  <a:pt x="265" y="57"/>
                </a:cubicBezTo>
                <a:cubicBezTo>
                  <a:pt x="271" y="60"/>
                  <a:pt x="275" y="59"/>
                  <a:pt x="279" y="58"/>
                </a:cubicBezTo>
                <a:cubicBezTo>
                  <a:pt x="288" y="61"/>
                  <a:pt x="285" y="68"/>
                  <a:pt x="290" y="68"/>
                </a:cubicBezTo>
                <a:cubicBezTo>
                  <a:pt x="296" y="67"/>
                  <a:pt x="292" y="73"/>
                  <a:pt x="300" y="71"/>
                </a:cubicBezTo>
                <a:cubicBezTo>
                  <a:pt x="309" y="69"/>
                  <a:pt x="314" y="73"/>
                  <a:pt x="322" y="76"/>
                </a:cubicBezTo>
                <a:cubicBezTo>
                  <a:pt x="330" y="80"/>
                  <a:pt x="307" y="85"/>
                  <a:pt x="308" y="126"/>
                </a:cubicBezTo>
                <a:close/>
              </a:path>
            </a:pathLst>
          </a:custGeom>
          <a:solidFill>
            <a:schemeClr val="accent1"/>
          </a:solidFill>
          <a:ln w="6350" cap="rnd" cmpd="sng">
            <a:solidFill>
              <a:schemeClr val="bg2">
                <a:lumMod val="50000"/>
              </a:schemeClr>
            </a:solidFill>
            <a:prstDash val="solid"/>
            <a:round/>
            <a:headEnd type="none" w="med" len="med"/>
            <a:tailEnd type="none" w="med" len="med"/>
          </a:ln>
          <a:effectLst/>
        </p:spPr>
        <p:txBody>
          <a:bodyPr/>
          <a:lstStyle/>
          <a:p>
            <a:endParaRPr lang="de-DE" sz="1800">
              <a:solidFill>
                <a:srgbClr val="000000"/>
              </a:solidFill>
              <a:latin typeface="Arial" charset="0"/>
              <a:ea typeface="ＭＳ Ｐゴシック"/>
            </a:endParaRPr>
          </a:p>
        </p:txBody>
      </p:sp>
      <p:sp>
        <p:nvSpPr>
          <p:cNvPr id="18" name="Freeform 21"/>
          <p:cNvSpPr>
            <a:spLocks/>
          </p:cNvSpPr>
          <p:nvPr/>
        </p:nvSpPr>
        <p:spPr bwMode="auto">
          <a:xfrm>
            <a:off x="7579111" y="4645233"/>
            <a:ext cx="98538" cy="180840"/>
          </a:xfrm>
          <a:custGeom>
            <a:avLst/>
            <a:gdLst/>
            <a:ahLst/>
            <a:cxnLst>
              <a:cxn ang="0">
                <a:pos x="23" y="11"/>
              </a:cxn>
              <a:cxn ang="0">
                <a:pos x="23" y="2"/>
              </a:cxn>
              <a:cxn ang="0">
                <a:pos x="18" y="12"/>
              </a:cxn>
              <a:cxn ang="0">
                <a:pos x="6" y="17"/>
              </a:cxn>
              <a:cxn ang="0">
                <a:pos x="4" y="39"/>
              </a:cxn>
              <a:cxn ang="0">
                <a:pos x="5" y="43"/>
              </a:cxn>
              <a:cxn ang="0">
                <a:pos x="7" y="46"/>
              </a:cxn>
              <a:cxn ang="0">
                <a:pos x="8" y="52"/>
              </a:cxn>
              <a:cxn ang="0">
                <a:pos x="16" y="58"/>
              </a:cxn>
              <a:cxn ang="0">
                <a:pos x="19" y="52"/>
              </a:cxn>
              <a:cxn ang="0">
                <a:pos x="22" y="40"/>
              </a:cxn>
              <a:cxn ang="0">
                <a:pos x="26" y="25"/>
              </a:cxn>
              <a:cxn ang="0">
                <a:pos x="23" y="11"/>
              </a:cxn>
            </a:cxnLst>
            <a:rect l="0" t="0" r="r" b="b"/>
            <a:pathLst>
              <a:path w="27" h="58">
                <a:moveTo>
                  <a:pt x="23" y="11"/>
                </a:moveTo>
                <a:cubicBezTo>
                  <a:pt x="24" y="7"/>
                  <a:pt x="25" y="3"/>
                  <a:pt x="23" y="2"/>
                </a:cubicBezTo>
                <a:cubicBezTo>
                  <a:pt x="18" y="0"/>
                  <a:pt x="23" y="14"/>
                  <a:pt x="18" y="12"/>
                </a:cubicBezTo>
                <a:cubicBezTo>
                  <a:pt x="11" y="9"/>
                  <a:pt x="9" y="18"/>
                  <a:pt x="6" y="17"/>
                </a:cubicBezTo>
                <a:cubicBezTo>
                  <a:pt x="2" y="16"/>
                  <a:pt x="0" y="40"/>
                  <a:pt x="4" y="39"/>
                </a:cubicBezTo>
                <a:cubicBezTo>
                  <a:pt x="8" y="39"/>
                  <a:pt x="7" y="41"/>
                  <a:pt x="5" y="43"/>
                </a:cubicBezTo>
                <a:cubicBezTo>
                  <a:pt x="3" y="45"/>
                  <a:pt x="4" y="45"/>
                  <a:pt x="7" y="46"/>
                </a:cubicBezTo>
                <a:cubicBezTo>
                  <a:pt x="13" y="47"/>
                  <a:pt x="3" y="49"/>
                  <a:pt x="8" y="52"/>
                </a:cubicBezTo>
                <a:cubicBezTo>
                  <a:pt x="17" y="56"/>
                  <a:pt x="13" y="58"/>
                  <a:pt x="16" y="58"/>
                </a:cubicBezTo>
                <a:cubicBezTo>
                  <a:pt x="20" y="58"/>
                  <a:pt x="16" y="53"/>
                  <a:pt x="19" y="52"/>
                </a:cubicBezTo>
                <a:cubicBezTo>
                  <a:pt x="22" y="50"/>
                  <a:pt x="22" y="46"/>
                  <a:pt x="22" y="40"/>
                </a:cubicBezTo>
                <a:cubicBezTo>
                  <a:pt x="22" y="34"/>
                  <a:pt x="27" y="37"/>
                  <a:pt x="26" y="25"/>
                </a:cubicBezTo>
                <a:cubicBezTo>
                  <a:pt x="25" y="13"/>
                  <a:pt x="23" y="15"/>
                  <a:pt x="23" y="11"/>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19" name="Freeform 23"/>
          <p:cNvSpPr>
            <a:spLocks/>
          </p:cNvSpPr>
          <p:nvPr/>
        </p:nvSpPr>
        <p:spPr bwMode="auto">
          <a:xfrm>
            <a:off x="7346706" y="4119318"/>
            <a:ext cx="418327" cy="232511"/>
          </a:xfrm>
          <a:custGeom>
            <a:avLst/>
            <a:gdLst/>
            <a:ahLst/>
            <a:cxnLst>
              <a:cxn ang="0">
                <a:pos x="114" y="35"/>
              </a:cxn>
              <a:cxn ang="0">
                <a:pos x="105" y="36"/>
              </a:cxn>
              <a:cxn ang="0">
                <a:pos x="92" y="30"/>
              </a:cxn>
              <a:cxn ang="0">
                <a:pos x="92" y="12"/>
              </a:cxn>
              <a:cxn ang="0">
                <a:pos x="79" y="8"/>
              </a:cxn>
              <a:cxn ang="0">
                <a:pos x="67" y="3"/>
              </a:cxn>
              <a:cxn ang="0">
                <a:pos x="60" y="10"/>
              </a:cxn>
              <a:cxn ang="0">
                <a:pos x="42" y="10"/>
              </a:cxn>
              <a:cxn ang="0">
                <a:pos x="29" y="14"/>
              </a:cxn>
              <a:cxn ang="0">
                <a:pos x="26" y="22"/>
              </a:cxn>
              <a:cxn ang="0">
                <a:pos x="18" y="31"/>
              </a:cxn>
              <a:cxn ang="0">
                <a:pos x="10" y="43"/>
              </a:cxn>
              <a:cxn ang="0">
                <a:pos x="5" y="57"/>
              </a:cxn>
              <a:cxn ang="0">
                <a:pos x="9" y="61"/>
              </a:cxn>
              <a:cxn ang="0">
                <a:pos x="18" y="50"/>
              </a:cxn>
              <a:cxn ang="0">
                <a:pos x="22" y="61"/>
              </a:cxn>
              <a:cxn ang="0">
                <a:pos x="28" y="69"/>
              </a:cxn>
              <a:cxn ang="0">
                <a:pos x="39" y="69"/>
              </a:cxn>
              <a:cxn ang="0">
                <a:pos x="54" y="66"/>
              </a:cxn>
              <a:cxn ang="0">
                <a:pos x="57" y="55"/>
              </a:cxn>
              <a:cxn ang="0">
                <a:pos x="65" y="50"/>
              </a:cxn>
              <a:cxn ang="0">
                <a:pos x="69" y="62"/>
              </a:cxn>
              <a:cxn ang="0">
                <a:pos x="80" y="73"/>
              </a:cxn>
              <a:cxn ang="0">
                <a:pos x="82" y="61"/>
              </a:cxn>
              <a:cxn ang="0">
                <a:pos x="87" y="49"/>
              </a:cxn>
              <a:cxn ang="0">
                <a:pos x="96" y="55"/>
              </a:cxn>
              <a:cxn ang="0">
                <a:pos x="106" y="58"/>
              </a:cxn>
              <a:cxn ang="0">
                <a:pos x="105" y="45"/>
              </a:cxn>
              <a:cxn ang="0">
                <a:pos x="115" y="48"/>
              </a:cxn>
              <a:cxn ang="0">
                <a:pos x="114" y="35"/>
              </a:cxn>
            </a:cxnLst>
            <a:rect l="0" t="0" r="r" b="b"/>
            <a:pathLst>
              <a:path w="118" h="75">
                <a:moveTo>
                  <a:pt x="114" y="35"/>
                </a:moveTo>
                <a:cubicBezTo>
                  <a:pt x="113" y="26"/>
                  <a:pt x="111" y="36"/>
                  <a:pt x="105" y="36"/>
                </a:cubicBezTo>
                <a:cubicBezTo>
                  <a:pt x="99" y="36"/>
                  <a:pt x="107" y="28"/>
                  <a:pt x="92" y="30"/>
                </a:cubicBezTo>
                <a:cubicBezTo>
                  <a:pt x="85" y="31"/>
                  <a:pt x="98" y="19"/>
                  <a:pt x="92" y="12"/>
                </a:cubicBezTo>
                <a:cubicBezTo>
                  <a:pt x="90" y="10"/>
                  <a:pt x="84" y="6"/>
                  <a:pt x="79" y="8"/>
                </a:cubicBezTo>
                <a:cubicBezTo>
                  <a:pt x="73" y="9"/>
                  <a:pt x="74" y="0"/>
                  <a:pt x="67" y="3"/>
                </a:cubicBezTo>
                <a:cubicBezTo>
                  <a:pt x="61" y="6"/>
                  <a:pt x="69" y="11"/>
                  <a:pt x="60" y="10"/>
                </a:cubicBezTo>
                <a:cubicBezTo>
                  <a:pt x="51" y="9"/>
                  <a:pt x="51" y="13"/>
                  <a:pt x="42" y="10"/>
                </a:cubicBezTo>
                <a:cubicBezTo>
                  <a:pt x="35" y="17"/>
                  <a:pt x="33" y="11"/>
                  <a:pt x="29" y="14"/>
                </a:cubicBezTo>
                <a:cubicBezTo>
                  <a:pt x="25" y="18"/>
                  <a:pt x="33" y="18"/>
                  <a:pt x="26" y="22"/>
                </a:cubicBezTo>
                <a:cubicBezTo>
                  <a:pt x="19" y="25"/>
                  <a:pt x="27" y="28"/>
                  <a:pt x="18" y="31"/>
                </a:cubicBezTo>
                <a:cubicBezTo>
                  <a:pt x="11" y="34"/>
                  <a:pt x="20" y="38"/>
                  <a:pt x="10" y="43"/>
                </a:cubicBezTo>
                <a:cubicBezTo>
                  <a:pt x="3" y="47"/>
                  <a:pt x="11" y="53"/>
                  <a:pt x="5" y="57"/>
                </a:cubicBezTo>
                <a:cubicBezTo>
                  <a:pt x="0" y="61"/>
                  <a:pt x="3" y="64"/>
                  <a:pt x="9" y="61"/>
                </a:cubicBezTo>
                <a:cubicBezTo>
                  <a:pt x="14" y="58"/>
                  <a:pt x="8" y="52"/>
                  <a:pt x="18" y="50"/>
                </a:cubicBezTo>
                <a:cubicBezTo>
                  <a:pt x="27" y="49"/>
                  <a:pt x="23" y="59"/>
                  <a:pt x="22" y="61"/>
                </a:cubicBezTo>
                <a:cubicBezTo>
                  <a:pt x="21" y="63"/>
                  <a:pt x="27" y="60"/>
                  <a:pt x="28" y="69"/>
                </a:cubicBezTo>
                <a:cubicBezTo>
                  <a:pt x="30" y="69"/>
                  <a:pt x="33" y="73"/>
                  <a:pt x="39" y="69"/>
                </a:cubicBezTo>
                <a:cubicBezTo>
                  <a:pt x="46" y="64"/>
                  <a:pt x="45" y="72"/>
                  <a:pt x="54" y="66"/>
                </a:cubicBezTo>
                <a:cubicBezTo>
                  <a:pt x="63" y="59"/>
                  <a:pt x="53" y="57"/>
                  <a:pt x="57" y="55"/>
                </a:cubicBezTo>
                <a:cubicBezTo>
                  <a:pt x="62" y="52"/>
                  <a:pt x="65" y="46"/>
                  <a:pt x="65" y="50"/>
                </a:cubicBezTo>
                <a:cubicBezTo>
                  <a:pt x="65" y="54"/>
                  <a:pt x="63" y="59"/>
                  <a:pt x="69" y="62"/>
                </a:cubicBezTo>
                <a:cubicBezTo>
                  <a:pt x="75" y="65"/>
                  <a:pt x="76" y="75"/>
                  <a:pt x="80" y="73"/>
                </a:cubicBezTo>
                <a:cubicBezTo>
                  <a:pt x="83" y="71"/>
                  <a:pt x="76" y="66"/>
                  <a:pt x="82" y="61"/>
                </a:cubicBezTo>
                <a:cubicBezTo>
                  <a:pt x="88" y="57"/>
                  <a:pt x="83" y="49"/>
                  <a:pt x="87" y="49"/>
                </a:cubicBezTo>
                <a:cubicBezTo>
                  <a:pt x="91" y="48"/>
                  <a:pt x="91" y="58"/>
                  <a:pt x="96" y="55"/>
                </a:cubicBezTo>
                <a:cubicBezTo>
                  <a:pt x="102" y="50"/>
                  <a:pt x="102" y="59"/>
                  <a:pt x="106" y="58"/>
                </a:cubicBezTo>
                <a:cubicBezTo>
                  <a:pt x="110" y="57"/>
                  <a:pt x="103" y="48"/>
                  <a:pt x="105" y="45"/>
                </a:cubicBezTo>
                <a:cubicBezTo>
                  <a:pt x="107" y="43"/>
                  <a:pt x="111" y="51"/>
                  <a:pt x="115" y="48"/>
                </a:cubicBezTo>
                <a:cubicBezTo>
                  <a:pt x="118" y="45"/>
                  <a:pt x="110" y="44"/>
                  <a:pt x="114" y="35"/>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20" name="Freeform 24"/>
          <p:cNvSpPr>
            <a:spLocks/>
          </p:cNvSpPr>
          <p:nvPr/>
        </p:nvSpPr>
        <p:spPr bwMode="auto">
          <a:xfrm>
            <a:off x="7647903" y="3973537"/>
            <a:ext cx="689773" cy="322931"/>
          </a:xfrm>
          <a:custGeom>
            <a:avLst/>
            <a:gdLst/>
            <a:ahLst/>
            <a:cxnLst>
              <a:cxn ang="0">
                <a:pos x="190" y="18"/>
              </a:cxn>
              <a:cxn ang="0">
                <a:pos x="175" y="14"/>
              </a:cxn>
              <a:cxn ang="0">
                <a:pos x="149" y="8"/>
              </a:cxn>
              <a:cxn ang="0">
                <a:pos x="141" y="9"/>
              </a:cxn>
              <a:cxn ang="0">
                <a:pos x="123" y="21"/>
              </a:cxn>
              <a:cxn ang="0">
                <a:pos x="113" y="14"/>
              </a:cxn>
              <a:cxn ang="0">
                <a:pos x="102" y="25"/>
              </a:cxn>
              <a:cxn ang="0">
                <a:pos x="89" y="34"/>
              </a:cxn>
              <a:cxn ang="0">
                <a:pos x="90" y="48"/>
              </a:cxn>
              <a:cxn ang="0">
                <a:pos x="94" y="59"/>
              </a:cxn>
              <a:cxn ang="0">
                <a:pos x="83" y="54"/>
              </a:cxn>
              <a:cxn ang="0">
                <a:pos x="72" y="53"/>
              </a:cxn>
              <a:cxn ang="0">
                <a:pos x="57" y="56"/>
              </a:cxn>
              <a:cxn ang="0">
                <a:pos x="42" y="60"/>
              </a:cxn>
              <a:cxn ang="0">
                <a:pos x="31" y="57"/>
              </a:cxn>
              <a:cxn ang="0">
                <a:pos x="25" y="66"/>
              </a:cxn>
              <a:cxn ang="0">
                <a:pos x="7" y="58"/>
              </a:cxn>
              <a:cxn ang="0">
                <a:pos x="7" y="76"/>
              </a:cxn>
              <a:cxn ang="0">
                <a:pos x="20" y="82"/>
              </a:cxn>
              <a:cxn ang="0">
                <a:pos x="29" y="81"/>
              </a:cxn>
              <a:cxn ang="0">
                <a:pos x="42" y="86"/>
              </a:cxn>
              <a:cxn ang="0">
                <a:pos x="49" y="77"/>
              </a:cxn>
              <a:cxn ang="0">
                <a:pos x="66" y="76"/>
              </a:cxn>
              <a:cxn ang="0">
                <a:pos x="71" y="79"/>
              </a:cxn>
              <a:cxn ang="0">
                <a:pos x="74" y="83"/>
              </a:cxn>
              <a:cxn ang="0">
                <a:pos x="109" y="94"/>
              </a:cxn>
              <a:cxn ang="0">
                <a:pos x="124" y="96"/>
              </a:cxn>
              <a:cxn ang="0">
                <a:pos x="134" y="96"/>
              </a:cxn>
              <a:cxn ang="0">
                <a:pos x="149" y="90"/>
              </a:cxn>
              <a:cxn ang="0">
                <a:pos x="160" y="88"/>
              </a:cxn>
              <a:cxn ang="0">
                <a:pos x="166" y="85"/>
              </a:cxn>
              <a:cxn ang="0">
                <a:pos x="170" y="81"/>
              </a:cxn>
              <a:cxn ang="0">
                <a:pos x="178" y="73"/>
              </a:cxn>
              <a:cxn ang="0">
                <a:pos x="177" y="65"/>
              </a:cxn>
              <a:cxn ang="0">
                <a:pos x="183" y="59"/>
              </a:cxn>
              <a:cxn ang="0">
                <a:pos x="177" y="52"/>
              </a:cxn>
              <a:cxn ang="0">
                <a:pos x="191" y="52"/>
              </a:cxn>
              <a:cxn ang="0">
                <a:pos x="194" y="40"/>
              </a:cxn>
              <a:cxn ang="0">
                <a:pos x="190" y="18"/>
              </a:cxn>
            </a:cxnLst>
            <a:rect l="0" t="0" r="r" b="b"/>
            <a:pathLst>
              <a:path w="195" h="103">
                <a:moveTo>
                  <a:pt x="190" y="18"/>
                </a:moveTo>
                <a:cubicBezTo>
                  <a:pt x="189" y="18"/>
                  <a:pt x="182" y="10"/>
                  <a:pt x="175" y="14"/>
                </a:cubicBezTo>
                <a:cubicBezTo>
                  <a:pt x="168" y="18"/>
                  <a:pt x="156" y="6"/>
                  <a:pt x="149" y="8"/>
                </a:cubicBezTo>
                <a:cubicBezTo>
                  <a:pt x="143" y="9"/>
                  <a:pt x="141" y="0"/>
                  <a:pt x="141" y="9"/>
                </a:cubicBezTo>
                <a:cubicBezTo>
                  <a:pt x="141" y="18"/>
                  <a:pt x="132" y="18"/>
                  <a:pt x="123" y="21"/>
                </a:cubicBezTo>
                <a:cubicBezTo>
                  <a:pt x="114" y="24"/>
                  <a:pt x="120" y="16"/>
                  <a:pt x="113" y="14"/>
                </a:cubicBezTo>
                <a:cubicBezTo>
                  <a:pt x="110" y="28"/>
                  <a:pt x="103" y="16"/>
                  <a:pt x="102" y="25"/>
                </a:cubicBezTo>
                <a:cubicBezTo>
                  <a:pt x="102" y="34"/>
                  <a:pt x="96" y="27"/>
                  <a:pt x="89" y="34"/>
                </a:cubicBezTo>
                <a:cubicBezTo>
                  <a:pt x="81" y="40"/>
                  <a:pt x="96" y="45"/>
                  <a:pt x="90" y="48"/>
                </a:cubicBezTo>
                <a:cubicBezTo>
                  <a:pt x="85" y="52"/>
                  <a:pt x="98" y="54"/>
                  <a:pt x="94" y="59"/>
                </a:cubicBezTo>
                <a:cubicBezTo>
                  <a:pt x="90" y="64"/>
                  <a:pt x="87" y="52"/>
                  <a:pt x="83" y="54"/>
                </a:cubicBezTo>
                <a:cubicBezTo>
                  <a:pt x="78" y="57"/>
                  <a:pt x="76" y="46"/>
                  <a:pt x="72" y="53"/>
                </a:cubicBezTo>
                <a:cubicBezTo>
                  <a:pt x="67" y="59"/>
                  <a:pt x="64" y="50"/>
                  <a:pt x="57" y="56"/>
                </a:cubicBezTo>
                <a:cubicBezTo>
                  <a:pt x="51" y="62"/>
                  <a:pt x="45" y="66"/>
                  <a:pt x="42" y="60"/>
                </a:cubicBezTo>
                <a:cubicBezTo>
                  <a:pt x="38" y="55"/>
                  <a:pt x="37" y="58"/>
                  <a:pt x="31" y="57"/>
                </a:cubicBezTo>
                <a:cubicBezTo>
                  <a:pt x="26" y="55"/>
                  <a:pt x="32" y="64"/>
                  <a:pt x="25" y="66"/>
                </a:cubicBezTo>
                <a:cubicBezTo>
                  <a:pt x="21" y="67"/>
                  <a:pt x="18" y="50"/>
                  <a:pt x="7" y="58"/>
                </a:cubicBezTo>
                <a:cubicBezTo>
                  <a:pt x="13" y="65"/>
                  <a:pt x="0" y="77"/>
                  <a:pt x="7" y="76"/>
                </a:cubicBezTo>
                <a:cubicBezTo>
                  <a:pt x="22" y="74"/>
                  <a:pt x="14" y="82"/>
                  <a:pt x="20" y="82"/>
                </a:cubicBezTo>
                <a:cubicBezTo>
                  <a:pt x="26" y="82"/>
                  <a:pt x="28" y="72"/>
                  <a:pt x="29" y="81"/>
                </a:cubicBezTo>
                <a:cubicBezTo>
                  <a:pt x="36" y="81"/>
                  <a:pt x="37" y="87"/>
                  <a:pt x="42" y="86"/>
                </a:cubicBezTo>
                <a:cubicBezTo>
                  <a:pt x="46" y="85"/>
                  <a:pt x="43" y="78"/>
                  <a:pt x="49" y="77"/>
                </a:cubicBezTo>
                <a:cubicBezTo>
                  <a:pt x="55" y="76"/>
                  <a:pt x="57" y="79"/>
                  <a:pt x="66" y="76"/>
                </a:cubicBezTo>
                <a:cubicBezTo>
                  <a:pt x="78" y="72"/>
                  <a:pt x="70" y="76"/>
                  <a:pt x="71" y="79"/>
                </a:cubicBezTo>
                <a:cubicBezTo>
                  <a:pt x="71" y="81"/>
                  <a:pt x="75" y="80"/>
                  <a:pt x="74" y="83"/>
                </a:cubicBezTo>
                <a:cubicBezTo>
                  <a:pt x="73" y="87"/>
                  <a:pt x="85" y="91"/>
                  <a:pt x="109" y="94"/>
                </a:cubicBezTo>
                <a:cubicBezTo>
                  <a:pt x="119" y="96"/>
                  <a:pt x="117" y="98"/>
                  <a:pt x="124" y="96"/>
                </a:cubicBezTo>
                <a:cubicBezTo>
                  <a:pt x="131" y="95"/>
                  <a:pt x="128" y="103"/>
                  <a:pt x="134" y="96"/>
                </a:cubicBezTo>
                <a:cubicBezTo>
                  <a:pt x="139" y="90"/>
                  <a:pt x="140" y="89"/>
                  <a:pt x="149" y="90"/>
                </a:cubicBezTo>
                <a:cubicBezTo>
                  <a:pt x="158" y="92"/>
                  <a:pt x="153" y="87"/>
                  <a:pt x="160" y="88"/>
                </a:cubicBezTo>
                <a:cubicBezTo>
                  <a:pt x="167" y="89"/>
                  <a:pt x="167" y="90"/>
                  <a:pt x="166" y="85"/>
                </a:cubicBezTo>
                <a:cubicBezTo>
                  <a:pt x="166" y="81"/>
                  <a:pt x="168" y="81"/>
                  <a:pt x="170" y="81"/>
                </a:cubicBezTo>
                <a:cubicBezTo>
                  <a:pt x="171" y="80"/>
                  <a:pt x="177" y="74"/>
                  <a:pt x="178" y="73"/>
                </a:cubicBezTo>
                <a:cubicBezTo>
                  <a:pt x="180" y="72"/>
                  <a:pt x="177" y="72"/>
                  <a:pt x="177" y="65"/>
                </a:cubicBezTo>
                <a:cubicBezTo>
                  <a:pt x="176" y="60"/>
                  <a:pt x="181" y="63"/>
                  <a:pt x="183" y="59"/>
                </a:cubicBezTo>
                <a:cubicBezTo>
                  <a:pt x="185" y="55"/>
                  <a:pt x="176" y="53"/>
                  <a:pt x="177" y="52"/>
                </a:cubicBezTo>
                <a:cubicBezTo>
                  <a:pt x="180" y="50"/>
                  <a:pt x="187" y="53"/>
                  <a:pt x="191" y="52"/>
                </a:cubicBezTo>
                <a:cubicBezTo>
                  <a:pt x="195" y="52"/>
                  <a:pt x="190" y="45"/>
                  <a:pt x="194" y="40"/>
                </a:cubicBezTo>
                <a:cubicBezTo>
                  <a:pt x="181" y="26"/>
                  <a:pt x="188" y="27"/>
                  <a:pt x="190" y="18"/>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21" name="Freeform 25"/>
          <p:cNvSpPr>
            <a:spLocks/>
          </p:cNvSpPr>
          <p:nvPr/>
        </p:nvSpPr>
        <p:spPr bwMode="auto">
          <a:xfrm>
            <a:off x="7885883" y="3750252"/>
            <a:ext cx="596812" cy="297096"/>
          </a:xfrm>
          <a:custGeom>
            <a:avLst/>
            <a:gdLst/>
            <a:ahLst/>
            <a:cxnLst>
              <a:cxn ang="0">
                <a:pos x="155" y="41"/>
              </a:cxn>
              <a:cxn ang="0">
                <a:pos x="141" y="39"/>
              </a:cxn>
              <a:cxn ang="0">
                <a:pos x="136" y="31"/>
              </a:cxn>
              <a:cxn ang="0">
                <a:pos x="122" y="29"/>
              </a:cxn>
              <a:cxn ang="0">
                <a:pos x="109" y="31"/>
              </a:cxn>
              <a:cxn ang="0">
                <a:pos x="110" y="19"/>
              </a:cxn>
              <a:cxn ang="0">
                <a:pos x="90" y="13"/>
              </a:cxn>
              <a:cxn ang="0">
                <a:pos x="71" y="8"/>
              </a:cxn>
              <a:cxn ang="0">
                <a:pos x="57" y="4"/>
              </a:cxn>
              <a:cxn ang="0">
                <a:pos x="48" y="12"/>
              </a:cxn>
              <a:cxn ang="0">
                <a:pos x="19" y="27"/>
              </a:cxn>
              <a:cxn ang="0">
                <a:pos x="9" y="40"/>
              </a:cxn>
              <a:cxn ang="0">
                <a:pos x="20" y="63"/>
              </a:cxn>
              <a:cxn ang="0">
                <a:pos x="46" y="86"/>
              </a:cxn>
              <a:cxn ang="0">
                <a:pos x="56" y="93"/>
              </a:cxn>
              <a:cxn ang="0">
                <a:pos x="74" y="81"/>
              </a:cxn>
              <a:cxn ang="0">
                <a:pos x="82" y="80"/>
              </a:cxn>
              <a:cxn ang="0">
                <a:pos x="108" y="86"/>
              </a:cxn>
              <a:cxn ang="0">
                <a:pos x="123" y="90"/>
              </a:cxn>
              <a:cxn ang="0">
                <a:pos x="143" y="82"/>
              </a:cxn>
              <a:cxn ang="0">
                <a:pos x="169" y="59"/>
              </a:cxn>
              <a:cxn ang="0">
                <a:pos x="155" y="41"/>
              </a:cxn>
            </a:cxnLst>
            <a:rect l="0" t="0" r="r" b="b"/>
            <a:pathLst>
              <a:path w="169" h="96">
                <a:moveTo>
                  <a:pt x="155" y="41"/>
                </a:moveTo>
                <a:cubicBezTo>
                  <a:pt x="144" y="37"/>
                  <a:pt x="147" y="44"/>
                  <a:pt x="141" y="39"/>
                </a:cubicBezTo>
                <a:cubicBezTo>
                  <a:pt x="136" y="34"/>
                  <a:pt x="144" y="33"/>
                  <a:pt x="136" y="31"/>
                </a:cubicBezTo>
                <a:cubicBezTo>
                  <a:pt x="128" y="29"/>
                  <a:pt x="118" y="24"/>
                  <a:pt x="122" y="29"/>
                </a:cubicBezTo>
                <a:cubicBezTo>
                  <a:pt x="125" y="33"/>
                  <a:pt x="121" y="44"/>
                  <a:pt x="109" y="31"/>
                </a:cubicBezTo>
                <a:cubicBezTo>
                  <a:pt x="98" y="19"/>
                  <a:pt x="113" y="23"/>
                  <a:pt x="110" y="19"/>
                </a:cubicBezTo>
                <a:cubicBezTo>
                  <a:pt x="106" y="14"/>
                  <a:pt x="106" y="20"/>
                  <a:pt x="90" y="13"/>
                </a:cubicBezTo>
                <a:cubicBezTo>
                  <a:pt x="74" y="6"/>
                  <a:pt x="84" y="0"/>
                  <a:pt x="71" y="8"/>
                </a:cubicBezTo>
                <a:cubicBezTo>
                  <a:pt x="63" y="13"/>
                  <a:pt x="61" y="2"/>
                  <a:pt x="57" y="4"/>
                </a:cubicBezTo>
                <a:cubicBezTo>
                  <a:pt x="53" y="6"/>
                  <a:pt x="63" y="9"/>
                  <a:pt x="48" y="12"/>
                </a:cubicBezTo>
                <a:cubicBezTo>
                  <a:pt x="33" y="16"/>
                  <a:pt x="32" y="23"/>
                  <a:pt x="19" y="27"/>
                </a:cubicBezTo>
                <a:cubicBezTo>
                  <a:pt x="6" y="31"/>
                  <a:pt x="0" y="32"/>
                  <a:pt x="9" y="40"/>
                </a:cubicBezTo>
                <a:cubicBezTo>
                  <a:pt x="18" y="49"/>
                  <a:pt x="1" y="54"/>
                  <a:pt x="20" y="63"/>
                </a:cubicBezTo>
                <a:cubicBezTo>
                  <a:pt x="30" y="67"/>
                  <a:pt x="29" y="73"/>
                  <a:pt x="46" y="86"/>
                </a:cubicBezTo>
                <a:cubicBezTo>
                  <a:pt x="53" y="88"/>
                  <a:pt x="47" y="96"/>
                  <a:pt x="56" y="93"/>
                </a:cubicBezTo>
                <a:cubicBezTo>
                  <a:pt x="65" y="90"/>
                  <a:pt x="74" y="90"/>
                  <a:pt x="74" y="81"/>
                </a:cubicBezTo>
                <a:cubicBezTo>
                  <a:pt x="74" y="72"/>
                  <a:pt x="76" y="81"/>
                  <a:pt x="82" y="80"/>
                </a:cubicBezTo>
                <a:cubicBezTo>
                  <a:pt x="89" y="78"/>
                  <a:pt x="101" y="90"/>
                  <a:pt x="108" y="86"/>
                </a:cubicBezTo>
                <a:cubicBezTo>
                  <a:pt x="115" y="82"/>
                  <a:pt x="122" y="90"/>
                  <a:pt x="123" y="90"/>
                </a:cubicBezTo>
                <a:cubicBezTo>
                  <a:pt x="129" y="77"/>
                  <a:pt x="135" y="87"/>
                  <a:pt x="143" y="82"/>
                </a:cubicBezTo>
                <a:cubicBezTo>
                  <a:pt x="156" y="75"/>
                  <a:pt x="143" y="68"/>
                  <a:pt x="169" y="59"/>
                </a:cubicBezTo>
                <a:cubicBezTo>
                  <a:pt x="167" y="52"/>
                  <a:pt x="165" y="45"/>
                  <a:pt x="155" y="41"/>
                </a:cubicBezTo>
                <a:close/>
              </a:path>
            </a:pathLst>
          </a:custGeom>
          <a:solidFill>
            <a:schemeClr val="accent1"/>
          </a:solidFill>
          <a:ln w="6350" cap="rnd" cmpd="sng">
            <a:solidFill>
              <a:schemeClr val="bg2">
                <a:lumMod val="50000"/>
              </a:schemeClr>
            </a:solidFill>
            <a:prstDash val="solid"/>
            <a:round/>
            <a:headEnd type="none" w="med" len="med"/>
            <a:tailEnd type="none" w="med" len="med"/>
          </a:ln>
          <a:effectLst/>
        </p:spPr>
        <p:txBody>
          <a:bodyPr/>
          <a:lstStyle/>
          <a:p>
            <a:endParaRPr lang="de-DE" sz="1800">
              <a:solidFill>
                <a:srgbClr val="000000"/>
              </a:solidFill>
              <a:latin typeface="Arial" charset="0"/>
              <a:ea typeface="ＭＳ Ｐゴシック"/>
            </a:endParaRPr>
          </a:p>
        </p:txBody>
      </p:sp>
      <p:sp>
        <p:nvSpPr>
          <p:cNvPr id="22" name="Freeform 26"/>
          <p:cNvSpPr>
            <a:spLocks/>
          </p:cNvSpPr>
          <p:nvPr/>
        </p:nvSpPr>
        <p:spPr bwMode="auto">
          <a:xfrm>
            <a:off x="8779901" y="4512659"/>
            <a:ext cx="552705" cy="338091"/>
          </a:xfrm>
          <a:custGeom>
            <a:avLst/>
            <a:gdLst>
              <a:gd name="T0" fmla="*/ 472667 w 156"/>
              <a:gd name="T1" fmla="*/ 23563 h 108"/>
              <a:gd name="T2" fmla="*/ 336539 w 156"/>
              <a:gd name="T3" fmla="*/ 57223 h 108"/>
              <a:gd name="T4" fmla="*/ 226880 w 156"/>
              <a:gd name="T5" fmla="*/ 57223 h 108"/>
              <a:gd name="T6" fmla="*/ 139909 w 156"/>
              <a:gd name="T7" fmla="*/ 57223 h 108"/>
              <a:gd name="T8" fmla="*/ 56720 w 156"/>
              <a:gd name="T9" fmla="*/ 50491 h 108"/>
              <a:gd name="T10" fmla="*/ 41595 w 156"/>
              <a:gd name="T11" fmla="*/ 3366 h 108"/>
              <a:gd name="T12" fmla="*/ 15125 w 156"/>
              <a:gd name="T13" fmla="*/ 60590 h 108"/>
              <a:gd name="T14" fmla="*/ 60501 w 156"/>
              <a:gd name="T15" fmla="*/ 141376 h 108"/>
              <a:gd name="T16" fmla="*/ 18907 w 156"/>
              <a:gd name="T17" fmla="*/ 175036 h 108"/>
              <a:gd name="T18" fmla="*/ 11344 w 156"/>
              <a:gd name="T19" fmla="*/ 225528 h 108"/>
              <a:gd name="T20" fmla="*/ 64283 w 156"/>
              <a:gd name="T21" fmla="*/ 272653 h 108"/>
              <a:gd name="T22" fmla="*/ 64283 w 156"/>
              <a:gd name="T23" fmla="*/ 336608 h 108"/>
              <a:gd name="T24" fmla="*/ 117221 w 156"/>
              <a:gd name="T25" fmla="*/ 333242 h 108"/>
              <a:gd name="T26" fmla="*/ 192848 w 156"/>
              <a:gd name="T27" fmla="*/ 316412 h 108"/>
              <a:gd name="T28" fmla="*/ 223099 w 156"/>
              <a:gd name="T29" fmla="*/ 323144 h 108"/>
              <a:gd name="T30" fmla="*/ 264693 w 156"/>
              <a:gd name="T31" fmla="*/ 336608 h 108"/>
              <a:gd name="T32" fmla="*/ 344101 w 156"/>
              <a:gd name="T33" fmla="*/ 339974 h 108"/>
              <a:gd name="T34" fmla="*/ 381915 w 156"/>
              <a:gd name="T35" fmla="*/ 296215 h 108"/>
              <a:gd name="T36" fmla="*/ 404603 w 156"/>
              <a:gd name="T37" fmla="*/ 272653 h 108"/>
              <a:gd name="T38" fmla="*/ 446197 w 156"/>
              <a:gd name="T39" fmla="*/ 259188 h 108"/>
              <a:gd name="T40" fmla="*/ 502917 w 156"/>
              <a:gd name="T41" fmla="*/ 272653 h 108"/>
              <a:gd name="T42" fmla="*/ 540731 w 156"/>
              <a:gd name="T43" fmla="*/ 265921 h 108"/>
              <a:gd name="T44" fmla="*/ 510480 w 156"/>
              <a:gd name="T45" fmla="*/ 225528 h 108"/>
              <a:gd name="T46" fmla="*/ 502917 w 156"/>
              <a:gd name="T47" fmla="*/ 191867 h 108"/>
              <a:gd name="T48" fmla="*/ 536949 w 156"/>
              <a:gd name="T49" fmla="*/ 114447 h 108"/>
              <a:gd name="T50" fmla="*/ 589888 w 156"/>
              <a:gd name="T51" fmla="*/ 60590 h 108"/>
              <a:gd name="T52" fmla="*/ 536949 w 156"/>
              <a:gd name="T53" fmla="*/ 43759 h 108"/>
              <a:gd name="T54" fmla="*/ 472667 w 156"/>
              <a:gd name="T55" fmla="*/ 23563 h 10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56"/>
              <a:gd name="T85" fmla="*/ 0 h 108"/>
              <a:gd name="T86" fmla="*/ 156 w 156"/>
              <a:gd name="T87" fmla="*/ 108 h 10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56" h="108">
                <a:moveTo>
                  <a:pt x="125" y="7"/>
                </a:moveTo>
                <a:cubicBezTo>
                  <a:pt x="118" y="0"/>
                  <a:pt x="98" y="9"/>
                  <a:pt x="89" y="17"/>
                </a:cubicBezTo>
                <a:cubicBezTo>
                  <a:pt x="77" y="27"/>
                  <a:pt x="69" y="18"/>
                  <a:pt x="60" y="17"/>
                </a:cubicBezTo>
                <a:cubicBezTo>
                  <a:pt x="51" y="16"/>
                  <a:pt x="48" y="24"/>
                  <a:pt x="37" y="17"/>
                </a:cubicBezTo>
                <a:cubicBezTo>
                  <a:pt x="25" y="10"/>
                  <a:pt x="22" y="20"/>
                  <a:pt x="15" y="15"/>
                </a:cubicBezTo>
                <a:cubicBezTo>
                  <a:pt x="9" y="10"/>
                  <a:pt x="30" y="9"/>
                  <a:pt x="11" y="1"/>
                </a:cubicBezTo>
                <a:cubicBezTo>
                  <a:pt x="10" y="13"/>
                  <a:pt x="0" y="4"/>
                  <a:pt x="4" y="18"/>
                </a:cubicBezTo>
                <a:cubicBezTo>
                  <a:pt x="9" y="38"/>
                  <a:pt x="23" y="32"/>
                  <a:pt x="16" y="42"/>
                </a:cubicBezTo>
                <a:cubicBezTo>
                  <a:pt x="10" y="52"/>
                  <a:pt x="4" y="44"/>
                  <a:pt x="5" y="52"/>
                </a:cubicBezTo>
                <a:cubicBezTo>
                  <a:pt x="5" y="60"/>
                  <a:pt x="12" y="62"/>
                  <a:pt x="3" y="67"/>
                </a:cubicBezTo>
                <a:cubicBezTo>
                  <a:pt x="7" y="77"/>
                  <a:pt x="13" y="74"/>
                  <a:pt x="17" y="81"/>
                </a:cubicBezTo>
                <a:cubicBezTo>
                  <a:pt x="20" y="89"/>
                  <a:pt x="16" y="95"/>
                  <a:pt x="17" y="100"/>
                </a:cubicBezTo>
                <a:cubicBezTo>
                  <a:pt x="26" y="106"/>
                  <a:pt x="21" y="96"/>
                  <a:pt x="31" y="99"/>
                </a:cubicBezTo>
                <a:cubicBezTo>
                  <a:pt x="41" y="101"/>
                  <a:pt x="47" y="90"/>
                  <a:pt x="51" y="94"/>
                </a:cubicBezTo>
                <a:cubicBezTo>
                  <a:pt x="55" y="97"/>
                  <a:pt x="55" y="88"/>
                  <a:pt x="59" y="96"/>
                </a:cubicBezTo>
                <a:cubicBezTo>
                  <a:pt x="64" y="104"/>
                  <a:pt x="64" y="93"/>
                  <a:pt x="70" y="100"/>
                </a:cubicBezTo>
                <a:cubicBezTo>
                  <a:pt x="76" y="108"/>
                  <a:pt x="80" y="102"/>
                  <a:pt x="91" y="101"/>
                </a:cubicBezTo>
                <a:cubicBezTo>
                  <a:pt x="103" y="101"/>
                  <a:pt x="87" y="82"/>
                  <a:pt x="101" y="88"/>
                </a:cubicBezTo>
                <a:cubicBezTo>
                  <a:pt x="102" y="81"/>
                  <a:pt x="106" y="88"/>
                  <a:pt x="107" y="81"/>
                </a:cubicBezTo>
                <a:cubicBezTo>
                  <a:pt x="109" y="73"/>
                  <a:pt x="112" y="84"/>
                  <a:pt x="118" y="77"/>
                </a:cubicBezTo>
                <a:cubicBezTo>
                  <a:pt x="125" y="71"/>
                  <a:pt x="128" y="81"/>
                  <a:pt x="133" y="81"/>
                </a:cubicBezTo>
                <a:cubicBezTo>
                  <a:pt x="139" y="81"/>
                  <a:pt x="137" y="79"/>
                  <a:pt x="143" y="79"/>
                </a:cubicBezTo>
                <a:cubicBezTo>
                  <a:pt x="143" y="70"/>
                  <a:pt x="134" y="75"/>
                  <a:pt x="135" y="67"/>
                </a:cubicBezTo>
                <a:cubicBezTo>
                  <a:pt x="137" y="60"/>
                  <a:pt x="119" y="66"/>
                  <a:pt x="133" y="57"/>
                </a:cubicBezTo>
                <a:cubicBezTo>
                  <a:pt x="146" y="48"/>
                  <a:pt x="134" y="46"/>
                  <a:pt x="142" y="34"/>
                </a:cubicBezTo>
                <a:cubicBezTo>
                  <a:pt x="149" y="22"/>
                  <a:pt x="156" y="42"/>
                  <a:pt x="156" y="18"/>
                </a:cubicBezTo>
                <a:cubicBezTo>
                  <a:pt x="151" y="17"/>
                  <a:pt x="146" y="19"/>
                  <a:pt x="142" y="13"/>
                </a:cubicBezTo>
                <a:cubicBezTo>
                  <a:pt x="135" y="3"/>
                  <a:pt x="130" y="13"/>
                  <a:pt x="125" y="7"/>
                </a:cubicBezTo>
                <a:close/>
              </a:path>
            </a:pathLst>
          </a:custGeom>
          <a:solidFill>
            <a:schemeClr val="accent1"/>
          </a:solidFill>
          <a:ln w="6350" cap="rnd" cmpd="sng">
            <a:solidFill>
              <a:schemeClr val="bg2">
                <a:lumMod val="50000"/>
              </a:schemeClr>
            </a:solidFill>
            <a:prstDash val="solid"/>
            <a:round/>
            <a:headEnd/>
            <a:tailEnd/>
          </a:ln>
        </p:spPr>
        <p:txBody>
          <a:bodyPr/>
          <a:lstStyle/>
          <a:p>
            <a:endParaRPr lang="de-DE" sz="1800">
              <a:solidFill>
                <a:srgbClr val="000000"/>
              </a:solidFill>
              <a:latin typeface="Arial" charset="0"/>
              <a:ea typeface="ＭＳ Ｐゴシック"/>
            </a:endParaRPr>
          </a:p>
        </p:txBody>
      </p:sp>
      <p:sp>
        <p:nvSpPr>
          <p:cNvPr id="23" name="Freeform 27"/>
          <p:cNvSpPr>
            <a:spLocks/>
          </p:cNvSpPr>
          <p:nvPr/>
        </p:nvSpPr>
        <p:spPr bwMode="auto">
          <a:xfrm>
            <a:off x="8481792" y="4304485"/>
            <a:ext cx="386732" cy="472440"/>
          </a:xfrm>
          <a:custGeom>
            <a:avLst/>
            <a:gdLst>
              <a:gd name="T0" fmla="*/ 333952 w 110"/>
              <a:gd name="T1" fmla="*/ 285960 h 151"/>
              <a:gd name="T2" fmla="*/ 360218 w 110"/>
              <a:gd name="T3" fmla="*/ 228768 h 151"/>
              <a:gd name="T4" fmla="*/ 341457 w 110"/>
              <a:gd name="T5" fmla="*/ 174940 h 151"/>
              <a:gd name="T6" fmla="*/ 300182 w 110"/>
              <a:gd name="T7" fmla="*/ 191762 h 151"/>
              <a:gd name="T8" fmla="*/ 247650 w 110"/>
              <a:gd name="T9" fmla="*/ 131205 h 151"/>
              <a:gd name="T10" fmla="*/ 183861 w 110"/>
              <a:gd name="T11" fmla="*/ 63921 h 151"/>
              <a:gd name="T12" fmla="*/ 135082 w 110"/>
              <a:gd name="T13" fmla="*/ 6728 h 151"/>
              <a:gd name="T14" fmla="*/ 71293 w 110"/>
              <a:gd name="T15" fmla="*/ 3364 h 151"/>
              <a:gd name="T16" fmla="*/ 0 w 110"/>
              <a:gd name="T17" fmla="*/ 30278 h 151"/>
              <a:gd name="T18" fmla="*/ 22514 w 110"/>
              <a:gd name="T19" fmla="*/ 97563 h 151"/>
              <a:gd name="T20" fmla="*/ 56284 w 110"/>
              <a:gd name="T21" fmla="*/ 117748 h 151"/>
              <a:gd name="T22" fmla="*/ 18761 w 110"/>
              <a:gd name="T23" fmla="*/ 154755 h 151"/>
              <a:gd name="T24" fmla="*/ 30018 w 110"/>
              <a:gd name="T25" fmla="*/ 201854 h 151"/>
              <a:gd name="T26" fmla="*/ 75045 w 110"/>
              <a:gd name="T27" fmla="*/ 259046 h 151"/>
              <a:gd name="T28" fmla="*/ 41275 w 110"/>
              <a:gd name="T29" fmla="*/ 255682 h 151"/>
              <a:gd name="T30" fmla="*/ 67541 w 110"/>
              <a:gd name="T31" fmla="*/ 306146 h 151"/>
              <a:gd name="T32" fmla="*/ 41275 w 110"/>
              <a:gd name="T33" fmla="*/ 312874 h 151"/>
              <a:gd name="T34" fmla="*/ 146339 w 110"/>
              <a:gd name="T35" fmla="*/ 386887 h 151"/>
              <a:gd name="T36" fmla="*/ 112568 w 110"/>
              <a:gd name="T37" fmla="*/ 410437 h 151"/>
              <a:gd name="T38" fmla="*/ 116320 w 110"/>
              <a:gd name="T39" fmla="*/ 423894 h 151"/>
              <a:gd name="T40" fmla="*/ 146339 w 110"/>
              <a:gd name="T41" fmla="*/ 454172 h 151"/>
              <a:gd name="T42" fmla="*/ 165100 w 110"/>
              <a:gd name="T43" fmla="*/ 501272 h 151"/>
              <a:gd name="T44" fmla="*/ 202623 w 110"/>
              <a:gd name="T45" fmla="*/ 470993 h 151"/>
              <a:gd name="T46" fmla="*/ 258907 w 110"/>
              <a:gd name="T47" fmla="*/ 457536 h 151"/>
              <a:gd name="T48" fmla="*/ 330200 w 110"/>
              <a:gd name="T49" fmla="*/ 450808 h 151"/>
              <a:gd name="T50" fmla="*/ 337705 w 110"/>
              <a:gd name="T51" fmla="*/ 400344 h 151"/>
              <a:gd name="T52" fmla="*/ 378980 w 110"/>
              <a:gd name="T53" fmla="*/ 366702 h 151"/>
              <a:gd name="T54" fmla="*/ 333952 w 110"/>
              <a:gd name="T55" fmla="*/ 285960 h 15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0"/>
              <a:gd name="T85" fmla="*/ 0 h 151"/>
              <a:gd name="T86" fmla="*/ 110 w 110"/>
              <a:gd name="T87" fmla="*/ 151 h 15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0" h="151">
                <a:moveTo>
                  <a:pt x="89" y="85"/>
                </a:moveTo>
                <a:cubicBezTo>
                  <a:pt x="85" y="71"/>
                  <a:pt x="95" y="80"/>
                  <a:pt x="96" y="68"/>
                </a:cubicBezTo>
                <a:cubicBezTo>
                  <a:pt x="81" y="54"/>
                  <a:pt x="110" y="62"/>
                  <a:pt x="91" y="52"/>
                </a:cubicBezTo>
                <a:cubicBezTo>
                  <a:pt x="85" y="49"/>
                  <a:pt x="90" y="60"/>
                  <a:pt x="80" y="57"/>
                </a:cubicBezTo>
                <a:cubicBezTo>
                  <a:pt x="67" y="54"/>
                  <a:pt x="62" y="44"/>
                  <a:pt x="66" y="39"/>
                </a:cubicBezTo>
                <a:cubicBezTo>
                  <a:pt x="72" y="30"/>
                  <a:pt x="46" y="34"/>
                  <a:pt x="49" y="19"/>
                </a:cubicBezTo>
                <a:cubicBezTo>
                  <a:pt x="50" y="12"/>
                  <a:pt x="42" y="12"/>
                  <a:pt x="36" y="2"/>
                </a:cubicBezTo>
                <a:cubicBezTo>
                  <a:pt x="26" y="1"/>
                  <a:pt x="23" y="0"/>
                  <a:pt x="19" y="1"/>
                </a:cubicBezTo>
                <a:cubicBezTo>
                  <a:pt x="15" y="1"/>
                  <a:pt x="12" y="6"/>
                  <a:pt x="0" y="9"/>
                </a:cubicBezTo>
                <a:cubicBezTo>
                  <a:pt x="5" y="14"/>
                  <a:pt x="3" y="26"/>
                  <a:pt x="6" y="29"/>
                </a:cubicBezTo>
                <a:cubicBezTo>
                  <a:pt x="13" y="36"/>
                  <a:pt x="17" y="31"/>
                  <a:pt x="15" y="35"/>
                </a:cubicBezTo>
                <a:cubicBezTo>
                  <a:pt x="13" y="38"/>
                  <a:pt x="7" y="34"/>
                  <a:pt x="5" y="46"/>
                </a:cubicBezTo>
                <a:cubicBezTo>
                  <a:pt x="17" y="43"/>
                  <a:pt x="15" y="43"/>
                  <a:pt x="8" y="60"/>
                </a:cubicBezTo>
                <a:cubicBezTo>
                  <a:pt x="5" y="66"/>
                  <a:pt x="23" y="74"/>
                  <a:pt x="20" y="77"/>
                </a:cubicBezTo>
                <a:cubicBezTo>
                  <a:pt x="16" y="80"/>
                  <a:pt x="12" y="74"/>
                  <a:pt x="11" y="76"/>
                </a:cubicBezTo>
                <a:cubicBezTo>
                  <a:pt x="10" y="76"/>
                  <a:pt x="21" y="87"/>
                  <a:pt x="18" y="91"/>
                </a:cubicBezTo>
                <a:cubicBezTo>
                  <a:pt x="16" y="93"/>
                  <a:pt x="15" y="86"/>
                  <a:pt x="11" y="93"/>
                </a:cubicBezTo>
                <a:cubicBezTo>
                  <a:pt x="18" y="105"/>
                  <a:pt x="38" y="111"/>
                  <a:pt x="39" y="115"/>
                </a:cubicBezTo>
                <a:cubicBezTo>
                  <a:pt x="40" y="119"/>
                  <a:pt x="24" y="119"/>
                  <a:pt x="30" y="122"/>
                </a:cubicBezTo>
                <a:cubicBezTo>
                  <a:pt x="33" y="123"/>
                  <a:pt x="29" y="123"/>
                  <a:pt x="31" y="126"/>
                </a:cubicBezTo>
                <a:cubicBezTo>
                  <a:pt x="37" y="128"/>
                  <a:pt x="31" y="133"/>
                  <a:pt x="39" y="135"/>
                </a:cubicBezTo>
                <a:cubicBezTo>
                  <a:pt x="46" y="138"/>
                  <a:pt x="44" y="143"/>
                  <a:pt x="44" y="149"/>
                </a:cubicBezTo>
                <a:cubicBezTo>
                  <a:pt x="51" y="151"/>
                  <a:pt x="43" y="143"/>
                  <a:pt x="54" y="140"/>
                </a:cubicBezTo>
                <a:cubicBezTo>
                  <a:pt x="65" y="137"/>
                  <a:pt x="60" y="135"/>
                  <a:pt x="69" y="136"/>
                </a:cubicBezTo>
                <a:cubicBezTo>
                  <a:pt x="78" y="138"/>
                  <a:pt x="80" y="132"/>
                  <a:pt x="88" y="134"/>
                </a:cubicBezTo>
                <a:cubicBezTo>
                  <a:pt x="97" y="129"/>
                  <a:pt x="90" y="127"/>
                  <a:pt x="90" y="119"/>
                </a:cubicBezTo>
                <a:cubicBezTo>
                  <a:pt x="89" y="111"/>
                  <a:pt x="95" y="119"/>
                  <a:pt x="101" y="109"/>
                </a:cubicBezTo>
                <a:cubicBezTo>
                  <a:pt x="108" y="99"/>
                  <a:pt x="94" y="105"/>
                  <a:pt x="89" y="85"/>
                </a:cubicBezTo>
                <a:close/>
              </a:path>
            </a:pathLst>
          </a:custGeom>
          <a:solidFill>
            <a:schemeClr val="accent1"/>
          </a:solidFill>
          <a:ln w="6350" cap="rnd" cmpd="sng">
            <a:solidFill>
              <a:schemeClr val="bg2">
                <a:lumMod val="50000"/>
              </a:schemeClr>
            </a:solidFill>
            <a:prstDash val="solid"/>
            <a:round/>
            <a:headEnd/>
            <a:tailEnd/>
          </a:ln>
        </p:spPr>
        <p:txBody>
          <a:bodyPr/>
          <a:lstStyle/>
          <a:p>
            <a:endParaRPr lang="de-DE" sz="1800">
              <a:solidFill>
                <a:srgbClr val="000000"/>
              </a:solidFill>
              <a:latin typeface="Arial" charset="0"/>
              <a:ea typeface="ＭＳ Ｐゴシック"/>
            </a:endParaRPr>
          </a:p>
        </p:txBody>
      </p:sp>
      <p:sp>
        <p:nvSpPr>
          <p:cNvPr id="24" name="Freeform 28"/>
          <p:cNvSpPr>
            <a:spLocks/>
          </p:cNvSpPr>
          <p:nvPr/>
        </p:nvSpPr>
        <p:spPr bwMode="auto">
          <a:xfrm>
            <a:off x="8616559" y="4717202"/>
            <a:ext cx="234263" cy="160543"/>
          </a:xfrm>
          <a:custGeom>
            <a:avLst/>
            <a:gdLst/>
            <a:ahLst/>
            <a:cxnLst>
              <a:cxn ang="0">
                <a:pos x="63" y="16"/>
              </a:cxn>
              <a:cxn ang="0">
                <a:pos x="49" y="2"/>
              </a:cxn>
              <a:cxn ang="0">
                <a:pos x="30" y="4"/>
              </a:cxn>
              <a:cxn ang="0">
                <a:pos x="15" y="8"/>
              </a:cxn>
              <a:cxn ang="0">
                <a:pos x="5" y="17"/>
              </a:cxn>
              <a:cxn ang="0">
                <a:pos x="3" y="28"/>
              </a:cxn>
              <a:cxn ang="0">
                <a:pos x="3" y="35"/>
              </a:cxn>
              <a:cxn ang="0">
                <a:pos x="12" y="49"/>
              </a:cxn>
              <a:cxn ang="0">
                <a:pos x="15" y="52"/>
              </a:cxn>
              <a:cxn ang="0">
                <a:pos x="46" y="42"/>
              </a:cxn>
              <a:cxn ang="0">
                <a:pos x="63" y="35"/>
              </a:cxn>
              <a:cxn ang="0">
                <a:pos x="63" y="16"/>
              </a:cxn>
            </a:cxnLst>
            <a:rect l="0" t="0" r="r" b="b"/>
            <a:pathLst>
              <a:path w="66" h="52">
                <a:moveTo>
                  <a:pt x="63" y="16"/>
                </a:moveTo>
                <a:cubicBezTo>
                  <a:pt x="59" y="9"/>
                  <a:pt x="53" y="12"/>
                  <a:pt x="49" y="2"/>
                </a:cubicBezTo>
                <a:cubicBezTo>
                  <a:pt x="41" y="0"/>
                  <a:pt x="39" y="6"/>
                  <a:pt x="30" y="4"/>
                </a:cubicBezTo>
                <a:cubicBezTo>
                  <a:pt x="21" y="3"/>
                  <a:pt x="26" y="5"/>
                  <a:pt x="15" y="8"/>
                </a:cubicBezTo>
                <a:cubicBezTo>
                  <a:pt x="4" y="11"/>
                  <a:pt x="12" y="19"/>
                  <a:pt x="5" y="17"/>
                </a:cubicBezTo>
                <a:cubicBezTo>
                  <a:pt x="3" y="24"/>
                  <a:pt x="6" y="25"/>
                  <a:pt x="3" y="28"/>
                </a:cubicBezTo>
                <a:cubicBezTo>
                  <a:pt x="0" y="31"/>
                  <a:pt x="6" y="31"/>
                  <a:pt x="3" y="35"/>
                </a:cubicBezTo>
                <a:cubicBezTo>
                  <a:pt x="1" y="39"/>
                  <a:pt x="10" y="52"/>
                  <a:pt x="12" y="49"/>
                </a:cubicBezTo>
                <a:cubicBezTo>
                  <a:pt x="14" y="47"/>
                  <a:pt x="14" y="50"/>
                  <a:pt x="15" y="52"/>
                </a:cubicBezTo>
                <a:cubicBezTo>
                  <a:pt x="50" y="50"/>
                  <a:pt x="30" y="38"/>
                  <a:pt x="46" y="42"/>
                </a:cubicBezTo>
                <a:cubicBezTo>
                  <a:pt x="63" y="47"/>
                  <a:pt x="56" y="36"/>
                  <a:pt x="63" y="35"/>
                </a:cubicBezTo>
                <a:cubicBezTo>
                  <a:pt x="62" y="30"/>
                  <a:pt x="66" y="24"/>
                  <a:pt x="63" y="16"/>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25" name="Freeform 29"/>
          <p:cNvSpPr>
            <a:spLocks/>
          </p:cNvSpPr>
          <p:nvPr/>
        </p:nvSpPr>
        <p:spPr bwMode="auto">
          <a:xfrm>
            <a:off x="8502742" y="4670628"/>
            <a:ext cx="178862" cy="332187"/>
          </a:xfrm>
          <a:custGeom>
            <a:avLst/>
            <a:gdLst>
              <a:gd name="T0" fmla="*/ 167988 w 50"/>
              <a:gd name="T1" fmla="*/ 213645 h 107"/>
              <a:gd name="T2" fmla="*/ 133627 w 50"/>
              <a:gd name="T3" fmla="*/ 166910 h 107"/>
              <a:gd name="T4" fmla="*/ 133627 w 50"/>
              <a:gd name="T5" fmla="*/ 143543 h 107"/>
              <a:gd name="T6" fmla="*/ 141263 w 50"/>
              <a:gd name="T7" fmla="*/ 106823 h 107"/>
              <a:gd name="T8" fmla="*/ 122173 w 50"/>
              <a:gd name="T9" fmla="*/ 60088 h 107"/>
              <a:gd name="T10" fmla="*/ 91630 w 50"/>
              <a:gd name="T11" fmla="*/ 30044 h 107"/>
              <a:gd name="T12" fmla="*/ 61087 w 50"/>
              <a:gd name="T13" fmla="*/ 23367 h 107"/>
              <a:gd name="T14" fmla="*/ 26725 w 50"/>
              <a:gd name="T15" fmla="*/ 63426 h 107"/>
              <a:gd name="T16" fmla="*/ 26725 w 50"/>
              <a:gd name="T17" fmla="*/ 106823 h 107"/>
              <a:gd name="T18" fmla="*/ 34361 w 50"/>
              <a:gd name="T19" fmla="*/ 206969 h 107"/>
              <a:gd name="T20" fmla="*/ 22908 w 50"/>
              <a:gd name="T21" fmla="*/ 257042 h 107"/>
              <a:gd name="T22" fmla="*/ 41997 w 50"/>
              <a:gd name="T23" fmla="*/ 293762 h 107"/>
              <a:gd name="T24" fmla="*/ 91630 w 50"/>
              <a:gd name="T25" fmla="*/ 357188 h 107"/>
              <a:gd name="T26" fmla="*/ 125991 w 50"/>
              <a:gd name="T27" fmla="*/ 340497 h 107"/>
              <a:gd name="T28" fmla="*/ 118356 w 50"/>
              <a:gd name="T29" fmla="*/ 320468 h 107"/>
              <a:gd name="T30" fmla="*/ 152717 w 50"/>
              <a:gd name="T31" fmla="*/ 297100 h 107"/>
              <a:gd name="T32" fmla="*/ 183260 w 50"/>
              <a:gd name="T33" fmla="*/ 257042 h 107"/>
              <a:gd name="T34" fmla="*/ 179442 w 50"/>
              <a:gd name="T35" fmla="*/ 223660 h 107"/>
              <a:gd name="T36" fmla="*/ 167988 w 50"/>
              <a:gd name="T37" fmla="*/ 213645 h 1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
              <a:gd name="T58" fmla="*/ 0 h 107"/>
              <a:gd name="T59" fmla="*/ 50 w 50"/>
              <a:gd name="T60" fmla="*/ 107 h 1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 h="107">
                <a:moveTo>
                  <a:pt x="44" y="64"/>
                </a:moveTo>
                <a:cubicBezTo>
                  <a:pt x="42" y="67"/>
                  <a:pt x="33" y="54"/>
                  <a:pt x="35" y="50"/>
                </a:cubicBezTo>
                <a:cubicBezTo>
                  <a:pt x="38" y="46"/>
                  <a:pt x="32" y="46"/>
                  <a:pt x="35" y="43"/>
                </a:cubicBezTo>
                <a:cubicBezTo>
                  <a:pt x="38" y="40"/>
                  <a:pt x="35" y="39"/>
                  <a:pt x="37" y="32"/>
                </a:cubicBezTo>
                <a:cubicBezTo>
                  <a:pt x="37" y="26"/>
                  <a:pt x="39" y="21"/>
                  <a:pt x="32" y="18"/>
                </a:cubicBezTo>
                <a:cubicBezTo>
                  <a:pt x="24" y="16"/>
                  <a:pt x="30" y="11"/>
                  <a:pt x="24" y="9"/>
                </a:cubicBezTo>
                <a:cubicBezTo>
                  <a:pt x="19" y="13"/>
                  <a:pt x="19" y="14"/>
                  <a:pt x="16" y="7"/>
                </a:cubicBezTo>
                <a:cubicBezTo>
                  <a:pt x="14" y="0"/>
                  <a:pt x="12" y="13"/>
                  <a:pt x="7" y="19"/>
                </a:cubicBezTo>
                <a:cubicBezTo>
                  <a:pt x="2" y="24"/>
                  <a:pt x="10" y="22"/>
                  <a:pt x="7" y="32"/>
                </a:cubicBezTo>
                <a:cubicBezTo>
                  <a:pt x="16" y="34"/>
                  <a:pt x="6" y="58"/>
                  <a:pt x="9" y="62"/>
                </a:cubicBezTo>
                <a:cubicBezTo>
                  <a:pt x="12" y="66"/>
                  <a:pt x="2" y="67"/>
                  <a:pt x="6" y="77"/>
                </a:cubicBezTo>
                <a:cubicBezTo>
                  <a:pt x="10" y="88"/>
                  <a:pt x="0" y="81"/>
                  <a:pt x="11" y="88"/>
                </a:cubicBezTo>
                <a:cubicBezTo>
                  <a:pt x="26" y="98"/>
                  <a:pt x="16" y="104"/>
                  <a:pt x="24" y="107"/>
                </a:cubicBezTo>
                <a:cubicBezTo>
                  <a:pt x="26" y="105"/>
                  <a:pt x="32" y="105"/>
                  <a:pt x="33" y="102"/>
                </a:cubicBezTo>
                <a:cubicBezTo>
                  <a:pt x="33" y="100"/>
                  <a:pt x="29" y="99"/>
                  <a:pt x="31" y="96"/>
                </a:cubicBezTo>
                <a:cubicBezTo>
                  <a:pt x="32" y="93"/>
                  <a:pt x="39" y="96"/>
                  <a:pt x="40" y="89"/>
                </a:cubicBezTo>
                <a:cubicBezTo>
                  <a:pt x="41" y="74"/>
                  <a:pt x="45" y="83"/>
                  <a:pt x="48" y="77"/>
                </a:cubicBezTo>
                <a:cubicBezTo>
                  <a:pt x="50" y="71"/>
                  <a:pt x="46" y="71"/>
                  <a:pt x="47" y="67"/>
                </a:cubicBezTo>
                <a:cubicBezTo>
                  <a:pt x="46" y="65"/>
                  <a:pt x="46" y="62"/>
                  <a:pt x="44" y="64"/>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endParaRPr lang="de-DE" sz="1800">
              <a:solidFill>
                <a:srgbClr val="000000"/>
              </a:solidFill>
              <a:latin typeface="Arial" charset="0"/>
              <a:ea typeface="ＭＳ Ｐゴシック"/>
            </a:endParaRPr>
          </a:p>
        </p:txBody>
      </p:sp>
      <p:sp>
        <p:nvSpPr>
          <p:cNvPr id="26" name="Freeform 32"/>
          <p:cNvSpPr>
            <a:spLocks/>
          </p:cNvSpPr>
          <p:nvPr/>
        </p:nvSpPr>
        <p:spPr bwMode="auto">
          <a:xfrm>
            <a:off x="8004826" y="4226239"/>
            <a:ext cx="275547" cy="168307"/>
          </a:xfrm>
          <a:custGeom>
            <a:avLst/>
            <a:gdLst>
              <a:gd name="T0" fmla="*/ 260152 w 78"/>
              <a:gd name="T1" fmla="*/ 0 h 54"/>
              <a:gd name="T2" fmla="*/ 245071 w 78"/>
              <a:gd name="T3" fmla="*/ 13406 h 54"/>
              <a:gd name="T4" fmla="*/ 222449 w 78"/>
              <a:gd name="T5" fmla="*/ 23460 h 54"/>
              <a:gd name="T6" fmla="*/ 180975 w 78"/>
              <a:gd name="T7" fmla="*/ 30163 h 54"/>
              <a:gd name="T8" fmla="*/ 124421 w 78"/>
              <a:gd name="T9" fmla="*/ 50271 h 54"/>
              <a:gd name="T10" fmla="*/ 86717 w 78"/>
              <a:gd name="T11" fmla="*/ 50271 h 54"/>
              <a:gd name="T12" fmla="*/ 30163 w 78"/>
              <a:gd name="T13" fmla="*/ 43568 h 54"/>
              <a:gd name="T14" fmla="*/ 3770 w 78"/>
              <a:gd name="T15" fmla="*/ 73731 h 54"/>
              <a:gd name="T16" fmla="*/ 22622 w 78"/>
              <a:gd name="T17" fmla="*/ 90488 h 54"/>
              <a:gd name="T18" fmla="*/ 26392 w 78"/>
              <a:gd name="T19" fmla="*/ 127353 h 54"/>
              <a:gd name="T20" fmla="*/ 30163 w 78"/>
              <a:gd name="T21" fmla="*/ 154164 h 54"/>
              <a:gd name="T22" fmla="*/ 15081 w 78"/>
              <a:gd name="T23" fmla="*/ 167569 h 54"/>
              <a:gd name="T24" fmla="*/ 120650 w 78"/>
              <a:gd name="T25" fmla="*/ 154164 h 54"/>
              <a:gd name="T26" fmla="*/ 150813 w 78"/>
              <a:gd name="T27" fmla="*/ 164218 h 54"/>
              <a:gd name="T28" fmla="*/ 180975 w 78"/>
              <a:gd name="T29" fmla="*/ 160867 h 54"/>
              <a:gd name="T30" fmla="*/ 218679 w 78"/>
              <a:gd name="T31" fmla="*/ 120650 h 54"/>
              <a:gd name="T32" fmla="*/ 207368 w 78"/>
              <a:gd name="T33" fmla="*/ 83785 h 54"/>
              <a:gd name="T34" fmla="*/ 267693 w 78"/>
              <a:gd name="T35" fmla="*/ 60325 h 54"/>
              <a:gd name="T36" fmla="*/ 267693 w 78"/>
              <a:gd name="T37" fmla="*/ 43568 h 54"/>
              <a:gd name="T38" fmla="*/ 294085 w 78"/>
              <a:gd name="T39" fmla="*/ 46919 h 54"/>
              <a:gd name="T40" fmla="*/ 260152 w 78"/>
              <a:gd name="T41" fmla="*/ 0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8"/>
              <a:gd name="T64" fmla="*/ 0 h 54"/>
              <a:gd name="T65" fmla="*/ 78 w 78"/>
              <a:gd name="T66" fmla="*/ 54 h 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8" h="54">
                <a:moveTo>
                  <a:pt x="69" y="0"/>
                </a:moveTo>
                <a:cubicBezTo>
                  <a:pt x="67" y="0"/>
                  <a:pt x="65" y="0"/>
                  <a:pt x="65" y="4"/>
                </a:cubicBezTo>
                <a:cubicBezTo>
                  <a:pt x="66" y="9"/>
                  <a:pt x="66" y="8"/>
                  <a:pt x="59" y="7"/>
                </a:cubicBezTo>
                <a:cubicBezTo>
                  <a:pt x="52" y="6"/>
                  <a:pt x="57" y="11"/>
                  <a:pt x="48" y="9"/>
                </a:cubicBezTo>
                <a:cubicBezTo>
                  <a:pt x="39" y="8"/>
                  <a:pt x="38" y="9"/>
                  <a:pt x="33" y="15"/>
                </a:cubicBezTo>
                <a:cubicBezTo>
                  <a:pt x="27" y="22"/>
                  <a:pt x="30" y="14"/>
                  <a:pt x="23" y="15"/>
                </a:cubicBezTo>
                <a:cubicBezTo>
                  <a:pt x="16" y="17"/>
                  <a:pt x="18" y="15"/>
                  <a:pt x="8" y="13"/>
                </a:cubicBezTo>
                <a:cubicBezTo>
                  <a:pt x="7" y="16"/>
                  <a:pt x="0" y="19"/>
                  <a:pt x="1" y="22"/>
                </a:cubicBezTo>
                <a:cubicBezTo>
                  <a:pt x="1" y="24"/>
                  <a:pt x="10" y="23"/>
                  <a:pt x="6" y="27"/>
                </a:cubicBezTo>
                <a:cubicBezTo>
                  <a:pt x="2" y="31"/>
                  <a:pt x="4" y="35"/>
                  <a:pt x="7" y="38"/>
                </a:cubicBezTo>
                <a:cubicBezTo>
                  <a:pt x="10" y="40"/>
                  <a:pt x="16" y="48"/>
                  <a:pt x="8" y="46"/>
                </a:cubicBezTo>
                <a:cubicBezTo>
                  <a:pt x="8" y="49"/>
                  <a:pt x="5" y="46"/>
                  <a:pt x="4" y="50"/>
                </a:cubicBezTo>
                <a:cubicBezTo>
                  <a:pt x="34" y="50"/>
                  <a:pt x="27" y="41"/>
                  <a:pt x="32" y="46"/>
                </a:cubicBezTo>
                <a:cubicBezTo>
                  <a:pt x="40" y="54"/>
                  <a:pt x="35" y="46"/>
                  <a:pt x="40" y="49"/>
                </a:cubicBezTo>
                <a:cubicBezTo>
                  <a:pt x="45" y="51"/>
                  <a:pt x="49" y="54"/>
                  <a:pt x="48" y="48"/>
                </a:cubicBezTo>
                <a:cubicBezTo>
                  <a:pt x="47" y="39"/>
                  <a:pt x="57" y="40"/>
                  <a:pt x="58" y="36"/>
                </a:cubicBezTo>
                <a:cubicBezTo>
                  <a:pt x="59" y="33"/>
                  <a:pt x="53" y="27"/>
                  <a:pt x="55" y="25"/>
                </a:cubicBezTo>
                <a:cubicBezTo>
                  <a:pt x="57" y="22"/>
                  <a:pt x="70" y="20"/>
                  <a:pt x="71" y="18"/>
                </a:cubicBezTo>
                <a:cubicBezTo>
                  <a:pt x="73" y="15"/>
                  <a:pt x="70" y="15"/>
                  <a:pt x="71" y="13"/>
                </a:cubicBezTo>
                <a:cubicBezTo>
                  <a:pt x="73" y="11"/>
                  <a:pt x="76" y="13"/>
                  <a:pt x="78" y="14"/>
                </a:cubicBezTo>
                <a:cubicBezTo>
                  <a:pt x="72" y="10"/>
                  <a:pt x="77" y="1"/>
                  <a:pt x="69" y="0"/>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endParaRPr lang="de-DE" sz="1800">
              <a:solidFill>
                <a:srgbClr val="000000"/>
              </a:solidFill>
              <a:latin typeface="Arial" charset="0"/>
              <a:ea typeface="ＭＳ Ｐゴシック"/>
            </a:endParaRPr>
          </a:p>
        </p:txBody>
      </p:sp>
      <p:sp>
        <p:nvSpPr>
          <p:cNvPr id="27" name="Freeform 33"/>
          <p:cNvSpPr>
            <a:spLocks/>
          </p:cNvSpPr>
          <p:nvPr/>
        </p:nvSpPr>
        <p:spPr bwMode="auto">
          <a:xfrm>
            <a:off x="8199802" y="4381259"/>
            <a:ext cx="360949" cy="315944"/>
          </a:xfrm>
          <a:custGeom>
            <a:avLst/>
            <a:gdLst>
              <a:gd name="T0" fmla="*/ 328581 w 102"/>
              <a:gd name="T1" fmla="*/ 117727 h 101"/>
              <a:gd name="T2" fmla="*/ 317251 w 102"/>
              <a:gd name="T3" fmla="*/ 70636 h 101"/>
              <a:gd name="T4" fmla="*/ 279483 w 102"/>
              <a:gd name="T5" fmla="*/ 43727 h 101"/>
              <a:gd name="T6" fmla="*/ 219054 w 102"/>
              <a:gd name="T7" fmla="*/ 43727 h 101"/>
              <a:gd name="T8" fmla="*/ 154849 w 102"/>
              <a:gd name="T9" fmla="*/ 37000 h 101"/>
              <a:gd name="T10" fmla="*/ 79313 w 102"/>
              <a:gd name="T11" fmla="*/ 37000 h 101"/>
              <a:gd name="T12" fmla="*/ 49098 w 102"/>
              <a:gd name="T13" fmla="*/ 40363 h 101"/>
              <a:gd name="T14" fmla="*/ 22661 w 102"/>
              <a:gd name="T15" fmla="*/ 84090 h 101"/>
              <a:gd name="T16" fmla="*/ 52875 w 102"/>
              <a:gd name="T17" fmla="*/ 127817 h 101"/>
              <a:gd name="T18" fmla="*/ 56652 w 102"/>
              <a:gd name="T19" fmla="*/ 147999 h 101"/>
              <a:gd name="T20" fmla="*/ 139741 w 102"/>
              <a:gd name="T21" fmla="*/ 225362 h 101"/>
              <a:gd name="T22" fmla="*/ 169956 w 102"/>
              <a:gd name="T23" fmla="*/ 262362 h 101"/>
              <a:gd name="T24" fmla="*/ 192617 w 102"/>
              <a:gd name="T25" fmla="*/ 292634 h 101"/>
              <a:gd name="T26" fmla="*/ 215277 w 102"/>
              <a:gd name="T27" fmla="*/ 306089 h 101"/>
              <a:gd name="T28" fmla="*/ 264376 w 102"/>
              <a:gd name="T29" fmla="*/ 339725 h 101"/>
              <a:gd name="T30" fmla="*/ 275706 w 102"/>
              <a:gd name="T31" fmla="*/ 292634 h 101"/>
              <a:gd name="T32" fmla="*/ 302144 w 102"/>
              <a:gd name="T33" fmla="*/ 248907 h 101"/>
              <a:gd name="T34" fmla="*/ 321028 w 102"/>
              <a:gd name="T35" fmla="*/ 262362 h 101"/>
              <a:gd name="T36" fmla="*/ 339911 w 102"/>
              <a:gd name="T37" fmla="*/ 228726 h 101"/>
              <a:gd name="T38" fmla="*/ 366349 w 102"/>
              <a:gd name="T39" fmla="*/ 221999 h 101"/>
              <a:gd name="T40" fmla="*/ 339911 w 102"/>
              <a:gd name="T41" fmla="*/ 171544 h 101"/>
              <a:gd name="T42" fmla="*/ 373903 w 102"/>
              <a:gd name="T43" fmla="*/ 174908 h 101"/>
              <a:gd name="T44" fmla="*/ 328581 w 102"/>
              <a:gd name="T45" fmla="*/ 117727 h 10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01"/>
              <a:gd name="T71" fmla="*/ 102 w 102"/>
              <a:gd name="T72" fmla="*/ 101 h 10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01">
                <a:moveTo>
                  <a:pt x="87" y="35"/>
                </a:moveTo>
                <a:cubicBezTo>
                  <a:pt x="94" y="18"/>
                  <a:pt x="96" y="18"/>
                  <a:pt x="84" y="21"/>
                </a:cubicBezTo>
                <a:cubicBezTo>
                  <a:pt x="75" y="22"/>
                  <a:pt x="78" y="11"/>
                  <a:pt x="74" y="13"/>
                </a:cubicBezTo>
                <a:cubicBezTo>
                  <a:pt x="69" y="15"/>
                  <a:pt x="63" y="8"/>
                  <a:pt x="58" y="13"/>
                </a:cubicBezTo>
                <a:cubicBezTo>
                  <a:pt x="52" y="18"/>
                  <a:pt x="45" y="9"/>
                  <a:pt x="41" y="11"/>
                </a:cubicBezTo>
                <a:cubicBezTo>
                  <a:pt x="37" y="13"/>
                  <a:pt x="25" y="5"/>
                  <a:pt x="21" y="11"/>
                </a:cubicBezTo>
                <a:cubicBezTo>
                  <a:pt x="17" y="17"/>
                  <a:pt x="19" y="19"/>
                  <a:pt x="13" y="12"/>
                </a:cubicBezTo>
                <a:cubicBezTo>
                  <a:pt x="3" y="0"/>
                  <a:pt x="0" y="22"/>
                  <a:pt x="6" y="25"/>
                </a:cubicBezTo>
                <a:cubicBezTo>
                  <a:pt x="11" y="27"/>
                  <a:pt x="11" y="36"/>
                  <a:pt x="14" y="38"/>
                </a:cubicBezTo>
                <a:cubicBezTo>
                  <a:pt x="18" y="40"/>
                  <a:pt x="10" y="44"/>
                  <a:pt x="15" y="44"/>
                </a:cubicBezTo>
                <a:cubicBezTo>
                  <a:pt x="20" y="45"/>
                  <a:pt x="31" y="65"/>
                  <a:pt x="37" y="67"/>
                </a:cubicBezTo>
                <a:cubicBezTo>
                  <a:pt x="42" y="70"/>
                  <a:pt x="38" y="74"/>
                  <a:pt x="45" y="78"/>
                </a:cubicBezTo>
                <a:cubicBezTo>
                  <a:pt x="51" y="82"/>
                  <a:pt x="52" y="84"/>
                  <a:pt x="51" y="87"/>
                </a:cubicBezTo>
                <a:cubicBezTo>
                  <a:pt x="50" y="89"/>
                  <a:pt x="54" y="87"/>
                  <a:pt x="57" y="91"/>
                </a:cubicBezTo>
                <a:cubicBezTo>
                  <a:pt x="59" y="95"/>
                  <a:pt x="67" y="97"/>
                  <a:pt x="70" y="101"/>
                </a:cubicBezTo>
                <a:cubicBezTo>
                  <a:pt x="77" y="95"/>
                  <a:pt x="65" y="92"/>
                  <a:pt x="73" y="87"/>
                </a:cubicBezTo>
                <a:cubicBezTo>
                  <a:pt x="80" y="82"/>
                  <a:pt x="76" y="77"/>
                  <a:pt x="80" y="74"/>
                </a:cubicBezTo>
                <a:cubicBezTo>
                  <a:pt x="83" y="72"/>
                  <a:pt x="84" y="79"/>
                  <a:pt x="85" y="78"/>
                </a:cubicBezTo>
                <a:cubicBezTo>
                  <a:pt x="89" y="74"/>
                  <a:pt x="75" y="62"/>
                  <a:pt x="90" y="68"/>
                </a:cubicBezTo>
                <a:cubicBezTo>
                  <a:pt x="94" y="61"/>
                  <a:pt x="95" y="68"/>
                  <a:pt x="97" y="66"/>
                </a:cubicBezTo>
                <a:cubicBezTo>
                  <a:pt x="100" y="62"/>
                  <a:pt x="89" y="51"/>
                  <a:pt x="90" y="51"/>
                </a:cubicBezTo>
                <a:cubicBezTo>
                  <a:pt x="91" y="49"/>
                  <a:pt x="95" y="55"/>
                  <a:pt x="99" y="52"/>
                </a:cubicBezTo>
                <a:cubicBezTo>
                  <a:pt x="102" y="49"/>
                  <a:pt x="84" y="41"/>
                  <a:pt x="87" y="35"/>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endParaRPr lang="de-DE" sz="1800">
              <a:solidFill>
                <a:srgbClr val="000000"/>
              </a:solidFill>
              <a:latin typeface="Arial" charset="0"/>
              <a:ea typeface="ＭＳ Ｐゴシック"/>
            </a:endParaRPr>
          </a:p>
        </p:txBody>
      </p:sp>
      <p:sp>
        <p:nvSpPr>
          <p:cNvPr id="28" name="Freeform 34"/>
          <p:cNvSpPr>
            <a:spLocks/>
          </p:cNvSpPr>
          <p:nvPr/>
        </p:nvSpPr>
        <p:spPr bwMode="auto">
          <a:xfrm>
            <a:off x="8428776" y="4575108"/>
            <a:ext cx="193360" cy="193760"/>
          </a:xfrm>
          <a:custGeom>
            <a:avLst/>
            <a:gdLst/>
            <a:ahLst/>
            <a:cxnLst>
              <a:cxn ang="0">
                <a:pos x="25" y="6"/>
              </a:cxn>
              <a:cxn ang="0">
                <a:pos x="20" y="16"/>
              </a:cxn>
              <a:cxn ang="0">
                <a:pos x="15" y="12"/>
              </a:cxn>
              <a:cxn ang="0">
                <a:pos x="8" y="25"/>
              </a:cxn>
              <a:cxn ang="0">
                <a:pos x="5" y="39"/>
              </a:cxn>
              <a:cxn ang="0">
                <a:pos x="12" y="47"/>
              </a:cxn>
              <a:cxn ang="0">
                <a:pos x="20" y="54"/>
              </a:cxn>
              <a:cxn ang="0">
                <a:pos x="28" y="62"/>
              </a:cxn>
              <a:cxn ang="0">
                <a:pos x="28" y="49"/>
              </a:cxn>
              <a:cxn ang="0">
                <a:pos x="37" y="37"/>
              </a:cxn>
              <a:cxn ang="0">
                <a:pos x="45" y="39"/>
              </a:cxn>
              <a:cxn ang="0">
                <a:pos x="44" y="35"/>
              </a:cxn>
              <a:cxn ang="0">
                <a:pos x="53" y="28"/>
              </a:cxn>
              <a:cxn ang="0">
                <a:pos x="25" y="6"/>
              </a:cxn>
            </a:cxnLst>
            <a:rect l="0" t="0" r="r" b="b"/>
            <a:pathLst>
              <a:path w="54" h="62">
                <a:moveTo>
                  <a:pt x="25" y="6"/>
                </a:moveTo>
                <a:cubicBezTo>
                  <a:pt x="10" y="0"/>
                  <a:pt x="24" y="12"/>
                  <a:pt x="20" y="16"/>
                </a:cubicBezTo>
                <a:cubicBezTo>
                  <a:pt x="19" y="17"/>
                  <a:pt x="18" y="10"/>
                  <a:pt x="15" y="12"/>
                </a:cubicBezTo>
                <a:cubicBezTo>
                  <a:pt x="11" y="15"/>
                  <a:pt x="15" y="20"/>
                  <a:pt x="8" y="25"/>
                </a:cubicBezTo>
                <a:cubicBezTo>
                  <a:pt x="0" y="30"/>
                  <a:pt x="12" y="33"/>
                  <a:pt x="5" y="39"/>
                </a:cubicBezTo>
                <a:cubicBezTo>
                  <a:pt x="6" y="44"/>
                  <a:pt x="16" y="40"/>
                  <a:pt x="12" y="47"/>
                </a:cubicBezTo>
                <a:cubicBezTo>
                  <a:pt x="15" y="49"/>
                  <a:pt x="18" y="47"/>
                  <a:pt x="20" y="54"/>
                </a:cubicBezTo>
                <a:cubicBezTo>
                  <a:pt x="21" y="61"/>
                  <a:pt x="19" y="60"/>
                  <a:pt x="28" y="62"/>
                </a:cubicBezTo>
                <a:cubicBezTo>
                  <a:pt x="31" y="52"/>
                  <a:pt x="23" y="54"/>
                  <a:pt x="28" y="49"/>
                </a:cubicBezTo>
                <a:cubicBezTo>
                  <a:pt x="33" y="43"/>
                  <a:pt x="35" y="30"/>
                  <a:pt x="37" y="37"/>
                </a:cubicBezTo>
                <a:cubicBezTo>
                  <a:pt x="40" y="44"/>
                  <a:pt x="40" y="43"/>
                  <a:pt x="45" y="39"/>
                </a:cubicBezTo>
                <a:cubicBezTo>
                  <a:pt x="43" y="36"/>
                  <a:pt x="47" y="36"/>
                  <a:pt x="44" y="35"/>
                </a:cubicBezTo>
                <a:cubicBezTo>
                  <a:pt x="38" y="32"/>
                  <a:pt x="54" y="32"/>
                  <a:pt x="53" y="28"/>
                </a:cubicBezTo>
                <a:cubicBezTo>
                  <a:pt x="52" y="24"/>
                  <a:pt x="32" y="18"/>
                  <a:pt x="25" y="6"/>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29" name="Freeform 35"/>
          <p:cNvSpPr>
            <a:spLocks noEditPoints="1"/>
          </p:cNvSpPr>
          <p:nvPr/>
        </p:nvSpPr>
        <p:spPr bwMode="auto">
          <a:xfrm>
            <a:off x="7530773" y="2965989"/>
            <a:ext cx="647010" cy="396744"/>
          </a:xfrm>
          <a:custGeom>
            <a:avLst/>
            <a:gdLst/>
            <a:ahLst/>
            <a:cxnLst>
              <a:cxn ang="0">
                <a:pos x="67" y="63"/>
              </a:cxn>
              <a:cxn ang="0">
                <a:pos x="60" y="58"/>
              </a:cxn>
              <a:cxn ang="0">
                <a:pos x="50" y="76"/>
              </a:cxn>
              <a:cxn ang="0">
                <a:pos x="40" y="89"/>
              </a:cxn>
              <a:cxn ang="0">
                <a:pos x="39" y="105"/>
              </a:cxn>
              <a:cxn ang="0">
                <a:pos x="48" y="112"/>
              </a:cxn>
              <a:cxn ang="0">
                <a:pos x="37" y="114"/>
              </a:cxn>
              <a:cxn ang="0">
                <a:pos x="17" y="111"/>
              </a:cxn>
              <a:cxn ang="0">
                <a:pos x="18" y="98"/>
              </a:cxn>
              <a:cxn ang="0">
                <a:pos x="7" y="89"/>
              </a:cxn>
              <a:cxn ang="0">
                <a:pos x="3" y="57"/>
              </a:cxn>
              <a:cxn ang="0">
                <a:pos x="53" y="7"/>
              </a:cxn>
              <a:cxn ang="0">
                <a:pos x="63" y="12"/>
              </a:cxn>
              <a:cxn ang="0">
                <a:pos x="58" y="34"/>
              </a:cxn>
              <a:cxn ang="0">
                <a:pos x="63" y="49"/>
              </a:cxn>
              <a:cxn ang="0">
                <a:pos x="167" y="96"/>
              </a:cxn>
              <a:cxn ang="0">
                <a:pos x="167" y="96"/>
              </a:cxn>
              <a:cxn ang="0">
                <a:pos x="79" y="19"/>
              </a:cxn>
              <a:cxn ang="0">
                <a:pos x="69" y="90"/>
              </a:cxn>
              <a:cxn ang="0">
                <a:pos x="60" y="85"/>
              </a:cxn>
              <a:cxn ang="0">
                <a:pos x="45" y="91"/>
              </a:cxn>
              <a:cxn ang="0">
                <a:pos x="54" y="100"/>
              </a:cxn>
              <a:cxn ang="0">
                <a:pos x="70" y="103"/>
              </a:cxn>
              <a:cxn ang="0">
                <a:pos x="65" y="79"/>
              </a:cxn>
              <a:cxn ang="0">
                <a:pos x="65" y="79"/>
              </a:cxn>
              <a:cxn ang="0">
                <a:pos x="65" y="117"/>
              </a:cxn>
              <a:cxn ang="0">
                <a:pos x="69" y="106"/>
              </a:cxn>
              <a:cxn ang="0">
                <a:pos x="83" y="110"/>
              </a:cxn>
              <a:cxn ang="0">
                <a:pos x="92" y="121"/>
              </a:cxn>
              <a:cxn ang="0">
                <a:pos x="91" y="112"/>
              </a:cxn>
              <a:cxn ang="0">
                <a:pos x="97" y="79"/>
              </a:cxn>
              <a:cxn ang="0">
                <a:pos x="93" y="71"/>
              </a:cxn>
              <a:cxn ang="0">
                <a:pos x="85" y="77"/>
              </a:cxn>
              <a:cxn ang="0">
                <a:pos x="78" y="86"/>
              </a:cxn>
              <a:cxn ang="0">
                <a:pos x="81" y="98"/>
              </a:cxn>
              <a:cxn ang="0">
                <a:pos x="94" y="102"/>
              </a:cxn>
              <a:cxn ang="0">
                <a:pos x="95" y="109"/>
              </a:cxn>
              <a:cxn ang="0">
                <a:pos x="100" y="124"/>
              </a:cxn>
              <a:cxn ang="0">
                <a:pos x="101" y="111"/>
              </a:cxn>
              <a:cxn ang="0">
                <a:pos x="104" y="103"/>
              </a:cxn>
              <a:cxn ang="0">
                <a:pos x="108" y="92"/>
              </a:cxn>
              <a:cxn ang="0">
                <a:pos x="115" y="70"/>
              </a:cxn>
              <a:cxn ang="0">
                <a:pos x="98" y="71"/>
              </a:cxn>
              <a:cxn ang="0">
                <a:pos x="112" y="106"/>
              </a:cxn>
            </a:cxnLst>
            <a:rect l="0" t="0" r="r" b="b"/>
            <a:pathLst>
              <a:path w="183" h="127">
                <a:moveTo>
                  <a:pt x="74" y="54"/>
                </a:moveTo>
                <a:cubicBezTo>
                  <a:pt x="72" y="59"/>
                  <a:pt x="70" y="65"/>
                  <a:pt x="67" y="63"/>
                </a:cubicBezTo>
                <a:cubicBezTo>
                  <a:pt x="65" y="61"/>
                  <a:pt x="66" y="67"/>
                  <a:pt x="62" y="64"/>
                </a:cubicBezTo>
                <a:cubicBezTo>
                  <a:pt x="58" y="61"/>
                  <a:pt x="66" y="57"/>
                  <a:pt x="60" y="58"/>
                </a:cubicBezTo>
                <a:cubicBezTo>
                  <a:pt x="53" y="58"/>
                  <a:pt x="59" y="72"/>
                  <a:pt x="56" y="75"/>
                </a:cubicBezTo>
                <a:cubicBezTo>
                  <a:pt x="53" y="78"/>
                  <a:pt x="44" y="70"/>
                  <a:pt x="50" y="76"/>
                </a:cubicBezTo>
                <a:cubicBezTo>
                  <a:pt x="55" y="82"/>
                  <a:pt x="44" y="80"/>
                  <a:pt x="47" y="83"/>
                </a:cubicBezTo>
                <a:cubicBezTo>
                  <a:pt x="49" y="85"/>
                  <a:pt x="38" y="86"/>
                  <a:pt x="40" y="89"/>
                </a:cubicBezTo>
                <a:cubicBezTo>
                  <a:pt x="42" y="92"/>
                  <a:pt x="39" y="93"/>
                  <a:pt x="43" y="96"/>
                </a:cubicBezTo>
                <a:cubicBezTo>
                  <a:pt x="46" y="100"/>
                  <a:pt x="36" y="101"/>
                  <a:pt x="39" y="105"/>
                </a:cubicBezTo>
                <a:cubicBezTo>
                  <a:pt x="42" y="109"/>
                  <a:pt x="42" y="102"/>
                  <a:pt x="49" y="106"/>
                </a:cubicBezTo>
                <a:cubicBezTo>
                  <a:pt x="56" y="111"/>
                  <a:pt x="49" y="114"/>
                  <a:pt x="48" y="112"/>
                </a:cubicBezTo>
                <a:cubicBezTo>
                  <a:pt x="47" y="110"/>
                  <a:pt x="45" y="113"/>
                  <a:pt x="43" y="113"/>
                </a:cubicBezTo>
                <a:cubicBezTo>
                  <a:pt x="40" y="112"/>
                  <a:pt x="43" y="108"/>
                  <a:pt x="37" y="114"/>
                </a:cubicBezTo>
                <a:cubicBezTo>
                  <a:pt x="35" y="114"/>
                  <a:pt x="33" y="113"/>
                  <a:pt x="27" y="112"/>
                </a:cubicBezTo>
                <a:cubicBezTo>
                  <a:pt x="21" y="111"/>
                  <a:pt x="22" y="112"/>
                  <a:pt x="17" y="111"/>
                </a:cubicBezTo>
                <a:cubicBezTo>
                  <a:pt x="19" y="94"/>
                  <a:pt x="12" y="111"/>
                  <a:pt x="13" y="102"/>
                </a:cubicBezTo>
                <a:cubicBezTo>
                  <a:pt x="14" y="93"/>
                  <a:pt x="18" y="108"/>
                  <a:pt x="18" y="98"/>
                </a:cubicBezTo>
                <a:cubicBezTo>
                  <a:pt x="18" y="88"/>
                  <a:pt x="14" y="93"/>
                  <a:pt x="11" y="89"/>
                </a:cubicBezTo>
                <a:cubicBezTo>
                  <a:pt x="8" y="85"/>
                  <a:pt x="11" y="94"/>
                  <a:pt x="7" y="89"/>
                </a:cubicBezTo>
                <a:cubicBezTo>
                  <a:pt x="3" y="84"/>
                  <a:pt x="0" y="90"/>
                  <a:pt x="4" y="82"/>
                </a:cubicBezTo>
                <a:cubicBezTo>
                  <a:pt x="8" y="74"/>
                  <a:pt x="2" y="73"/>
                  <a:pt x="3" y="57"/>
                </a:cubicBezTo>
                <a:cubicBezTo>
                  <a:pt x="5" y="41"/>
                  <a:pt x="9" y="25"/>
                  <a:pt x="26" y="25"/>
                </a:cubicBezTo>
                <a:cubicBezTo>
                  <a:pt x="47" y="26"/>
                  <a:pt x="44" y="8"/>
                  <a:pt x="53" y="7"/>
                </a:cubicBezTo>
                <a:cubicBezTo>
                  <a:pt x="62" y="7"/>
                  <a:pt x="63" y="0"/>
                  <a:pt x="65" y="2"/>
                </a:cubicBezTo>
                <a:cubicBezTo>
                  <a:pt x="68" y="3"/>
                  <a:pt x="60" y="5"/>
                  <a:pt x="63" y="12"/>
                </a:cubicBezTo>
                <a:cubicBezTo>
                  <a:pt x="66" y="18"/>
                  <a:pt x="64" y="22"/>
                  <a:pt x="62" y="24"/>
                </a:cubicBezTo>
                <a:cubicBezTo>
                  <a:pt x="59" y="27"/>
                  <a:pt x="60" y="29"/>
                  <a:pt x="58" y="34"/>
                </a:cubicBezTo>
                <a:cubicBezTo>
                  <a:pt x="56" y="39"/>
                  <a:pt x="63" y="41"/>
                  <a:pt x="59" y="45"/>
                </a:cubicBezTo>
                <a:cubicBezTo>
                  <a:pt x="56" y="50"/>
                  <a:pt x="59" y="46"/>
                  <a:pt x="63" y="49"/>
                </a:cubicBezTo>
                <a:cubicBezTo>
                  <a:pt x="64" y="50"/>
                  <a:pt x="77" y="49"/>
                  <a:pt x="74" y="54"/>
                </a:cubicBezTo>
                <a:close/>
                <a:moveTo>
                  <a:pt x="167" y="96"/>
                </a:moveTo>
                <a:cubicBezTo>
                  <a:pt x="165" y="98"/>
                  <a:pt x="169" y="110"/>
                  <a:pt x="176" y="107"/>
                </a:cubicBezTo>
                <a:cubicBezTo>
                  <a:pt x="183" y="105"/>
                  <a:pt x="171" y="94"/>
                  <a:pt x="167" y="96"/>
                </a:cubicBezTo>
                <a:close/>
                <a:moveTo>
                  <a:pt x="73" y="20"/>
                </a:moveTo>
                <a:cubicBezTo>
                  <a:pt x="72" y="22"/>
                  <a:pt x="77" y="21"/>
                  <a:pt x="79" y="19"/>
                </a:cubicBezTo>
                <a:cubicBezTo>
                  <a:pt x="81" y="16"/>
                  <a:pt x="73" y="17"/>
                  <a:pt x="73" y="20"/>
                </a:cubicBezTo>
                <a:close/>
                <a:moveTo>
                  <a:pt x="69" y="90"/>
                </a:moveTo>
                <a:cubicBezTo>
                  <a:pt x="70" y="88"/>
                  <a:pt x="65" y="83"/>
                  <a:pt x="65" y="86"/>
                </a:cubicBezTo>
                <a:cubicBezTo>
                  <a:pt x="65" y="89"/>
                  <a:pt x="64" y="88"/>
                  <a:pt x="60" y="85"/>
                </a:cubicBezTo>
                <a:cubicBezTo>
                  <a:pt x="57" y="83"/>
                  <a:pt x="50" y="88"/>
                  <a:pt x="47" y="87"/>
                </a:cubicBezTo>
                <a:cubicBezTo>
                  <a:pt x="44" y="86"/>
                  <a:pt x="42" y="89"/>
                  <a:pt x="45" y="91"/>
                </a:cubicBezTo>
                <a:cubicBezTo>
                  <a:pt x="48" y="94"/>
                  <a:pt x="48" y="94"/>
                  <a:pt x="49" y="99"/>
                </a:cubicBezTo>
                <a:cubicBezTo>
                  <a:pt x="51" y="104"/>
                  <a:pt x="52" y="99"/>
                  <a:pt x="54" y="100"/>
                </a:cubicBezTo>
                <a:cubicBezTo>
                  <a:pt x="56" y="102"/>
                  <a:pt x="51" y="103"/>
                  <a:pt x="56" y="105"/>
                </a:cubicBezTo>
                <a:cubicBezTo>
                  <a:pt x="62" y="106"/>
                  <a:pt x="66" y="107"/>
                  <a:pt x="70" y="103"/>
                </a:cubicBezTo>
                <a:cubicBezTo>
                  <a:pt x="74" y="99"/>
                  <a:pt x="68" y="92"/>
                  <a:pt x="69" y="90"/>
                </a:cubicBezTo>
                <a:close/>
                <a:moveTo>
                  <a:pt x="65" y="79"/>
                </a:moveTo>
                <a:cubicBezTo>
                  <a:pt x="66" y="79"/>
                  <a:pt x="68" y="76"/>
                  <a:pt x="66" y="72"/>
                </a:cubicBezTo>
                <a:cubicBezTo>
                  <a:pt x="64" y="68"/>
                  <a:pt x="63" y="77"/>
                  <a:pt x="65" y="79"/>
                </a:cubicBezTo>
                <a:close/>
                <a:moveTo>
                  <a:pt x="69" y="106"/>
                </a:moveTo>
                <a:cubicBezTo>
                  <a:pt x="67" y="110"/>
                  <a:pt x="64" y="114"/>
                  <a:pt x="65" y="117"/>
                </a:cubicBezTo>
                <a:cubicBezTo>
                  <a:pt x="67" y="121"/>
                  <a:pt x="70" y="110"/>
                  <a:pt x="72" y="106"/>
                </a:cubicBezTo>
                <a:cubicBezTo>
                  <a:pt x="73" y="103"/>
                  <a:pt x="71" y="102"/>
                  <a:pt x="69" y="106"/>
                </a:cubicBezTo>
                <a:close/>
                <a:moveTo>
                  <a:pt x="91" y="112"/>
                </a:moveTo>
                <a:cubicBezTo>
                  <a:pt x="91" y="115"/>
                  <a:pt x="89" y="113"/>
                  <a:pt x="83" y="110"/>
                </a:cubicBezTo>
                <a:cubicBezTo>
                  <a:pt x="76" y="106"/>
                  <a:pt x="76" y="111"/>
                  <a:pt x="76" y="115"/>
                </a:cubicBezTo>
                <a:cubicBezTo>
                  <a:pt x="76" y="117"/>
                  <a:pt x="87" y="121"/>
                  <a:pt x="92" y="121"/>
                </a:cubicBezTo>
                <a:cubicBezTo>
                  <a:pt x="98" y="121"/>
                  <a:pt x="97" y="119"/>
                  <a:pt x="95" y="116"/>
                </a:cubicBezTo>
                <a:cubicBezTo>
                  <a:pt x="93" y="112"/>
                  <a:pt x="91" y="110"/>
                  <a:pt x="91" y="112"/>
                </a:cubicBezTo>
                <a:close/>
                <a:moveTo>
                  <a:pt x="98" y="71"/>
                </a:moveTo>
                <a:cubicBezTo>
                  <a:pt x="100" y="74"/>
                  <a:pt x="98" y="74"/>
                  <a:pt x="97" y="79"/>
                </a:cubicBezTo>
                <a:cubicBezTo>
                  <a:pt x="96" y="83"/>
                  <a:pt x="93" y="81"/>
                  <a:pt x="94" y="77"/>
                </a:cubicBezTo>
                <a:cubicBezTo>
                  <a:pt x="95" y="73"/>
                  <a:pt x="96" y="69"/>
                  <a:pt x="93" y="71"/>
                </a:cubicBezTo>
                <a:cubicBezTo>
                  <a:pt x="89" y="73"/>
                  <a:pt x="84" y="68"/>
                  <a:pt x="82" y="70"/>
                </a:cubicBezTo>
                <a:cubicBezTo>
                  <a:pt x="80" y="71"/>
                  <a:pt x="92" y="72"/>
                  <a:pt x="85" y="77"/>
                </a:cubicBezTo>
                <a:cubicBezTo>
                  <a:pt x="80" y="82"/>
                  <a:pt x="76" y="77"/>
                  <a:pt x="72" y="79"/>
                </a:cubicBezTo>
                <a:cubicBezTo>
                  <a:pt x="69" y="81"/>
                  <a:pt x="80" y="84"/>
                  <a:pt x="78" y="86"/>
                </a:cubicBezTo>
                <a:cubicBezTo>
                  <a:pt x="76" y="89"/>
                  <a:pt x="83" y="90"/>
                  <a:pt x="79" y="93"/>
                </a:cubicBezTo>
                <a:cubicBezTo>
                  <a:pt x="75" y="96"/>
                  <a:pt x="81" y="94"/>
                  <a:pt x="81" y="98"/>
                </a:cubicBezTo>
                <a:cubicBezTo>
                  <a:pt x="81" y="102"/>
                  <a:pt x="85" y="98"/>
                  <a:pt x="88" y="100"/>
                </a:cubicBezTo>
                <a:cubicBezTo>
                  <a:pt x="90" y="101"/>
                  <a:pt x="93" y="98"/>
                  <a:pt x="94" y="102"/>
                </a:cubicBezTo>
                <a:cubicBezTo>
                  <a:pt x="95" y="106"/>
                  <a:pt x="91" y="103"/>
                  <a:pt x="90" y="105"/>
                </a:cubicBezTo>
                <a:cubicBezTo>
                  <a:pt x="90" y="106"/>
                  <a:pt x="97" y="107"/>
                  <a:pt x="95" y="109"/>
                </a:cubicBezTo>
                <a:cubicBezTo>
                  <a:pt x="93" y="110"/>
                  <a:pt x="94" y="112"/>
                  <a:pt x="97" y="115"/>
                </a:cubicBezTo>
                <a:cubicBezTo>
                  <a:pt x="100" y="118"/>
                  <a:pt x="98" y="122"/>
                  <a:pt x="100" y="124"/>
                </a:cubicBezTo>
                <a:cubicBezTo>
                  <a:pt x="102" y="127"/>
                  <a:pt x="100" y="119"/>
                  <a:pt x="103" y="116"/>
                </a:cubicBezTo>
                <a:cubicBezTo>
                  <a:pt x="106" y="114"/>
                  <a:pt x="104" y="112"/>
                  <a:pt x="101" y="111"/>
                </a:cubicBezTo>
                <a:cubicBezTo>
                  <a:pt x="97" y="109"/>
                  <a:pt x="97" y="108"/>
                  <a:pt x="100" y="108"/>
                </a:cubicBezTo>
                <a:cubicBezTo>
                  <a:pt x="103" y="109"/>
                  <a:pt x="105" y="106"/>
                  <a:pt x="104" y="103"/>
                </a:cubicBezTo>
                <a:cubicBezTo>
                  <a:pt x="103" y="101"/>
                  <a:pt x="103" y="100"/>
                  <a:pt x="108" y="98"/>
                </a:cubicBezTo>
                <a:cubicBezTo>
                  <a:pt x="113" y="97"/>
                  <a:pt x="113" y="95"/>
                  <a:pt x="108" y="92"/>
                </a:cubicBezTo>
                <a:cubicBezTo>
                  <a:pt x="102" y="89"/>
                  <a:pt x="105" y="86"/>
                  <a:pt x="110" y="85"/>
                </a:cubicBezTo>
                <a:cubicBezTo>
                  <a:pt x="116" y="84"/>
                  <a:pt x="113" y="73"/>
                  <a:pt x="115" y="70"/>
                </a:cubicBezTo>
                <a:cubicBezTo>
                  <a:pt x="118" y="67"/>
                  <a:pt x="113" y="66"/>
                  <a:pt x="108" y="65"/>
                </a:cubicBezTo>
                <a:cubicBezTo>
                  <a:pt x="104" y="63"/>
                  <a:pt x="97" y="69"/>
                  <a:pt x="98" y="71"/>
                </a:cubicBezTo>
                <a:close/>
                <a:moveTo>
                  <a:pt x="105" y="109"/>
                </a:moveTo>
                <a:cubicBezTo>
                  <a:pt x="101" y="114"/>
                  <a:pt x="115" y="109"/>
                  <a:pt x="112" y="106"/>
                </a:cubicBezTo>
                <a:cubicBezTo>
                  <a:pt x="109" y="104"/>
                  <a:pt x="107" y="106"/>
                  <a:pt x="105" y="109"/>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30" name="Freeform 36"/>
          <p:cNvSpPr>
            <a:spLocks noEditPoints="1"/>
          </p:cNvSpPr>
          <p:nvPr/>
        </p:nvSpPr>
        <p:spPr bwMode="auto">
          <a:xfrm>
            <a:off x="7333691" y="3314758"/>
            <a:ext cx="834793" cy="869147"/>
          </a:xfrm>
          <a:custGeom>
            <a:avLst/>
            <a:gdLst/>
            <a:ahLst/>
            <a:cxnLst>
              <a:cxn ang="0">
                <a:pos x="213" y="144"/>
              </a:cxn>
              <a:cxn ang="0">
                <a:pos x="175" y="167"/>
              </a:cxn>
              <a:cxn ang="0">
                <a:pos x="176" y="203"/>
              </a:cxn>
              <a:cxn ang="0">
                <a:pos x="191" y="237"/>
              </a:cxn>
              <a:cxn ang="0">
                <a:pos x="179" y="260"/>
              </a:cxn>
              <a:cxn ang="0">
                <a:pos x="172" y="266"/>
              </a:cxn>
              <a:cxn ang="0">
                <a:pos x="146" y="268"/>
              </a:cxn>
              <a:cxn ang="0">
                <a:pos x="120" y="269"/>
              </a:cxn>
              <a:cxn ang="0">
                <a:pos x="96" y="270"/>
              </a:cxn>
              <a:cxn ang="0">
                <a:pos x="71" y="261"/>
              </a:cxn>
              <a:cxn ang="0">
                <a:pos x="46" y="268"/>
              </a:cxn>
              <a:cxn ang="0">
                <a:pos x="38" y="213"/>
              </a:cxn>
              <a:cxn ang="0">
                <a:pos x="17" y="200"/>
              </a:cxn>
              <a:cxn ang="0">
                <a:pos x="12" y="175"/>
              </a:cxn>
              <a:cxn ang="0">
                <a:pos x="7" y="155"/>
              </a:cxn>
              <a:cxn ang="0">
                <a:pos x="11" y="139"/>
              </a:cxn>
              <a:cxn ang="0">
                <a:pos x="14" y="114"/>
              </a:cxn>
              <a:cxn ang="0">
                <a:pos x="34" y="95"/>
              </a:cxn>
              <a:cxn ang="0">
                <a:pos x="31" y="84"/>
              </a:cxn>
              <a:cxn ang="0">
                <a:pos x="34" y="54"/>
              </a:cxn>
              <a:cxn ang="0">
                <a:pos x="61" y="55"/>
              </a:cxn>
              <a:cxn ang="0">
                <a:pos x="71" y="57"/>
              </a:cxn>
              <a:cxn ang="0">
                <a:pos x="92" y="43"/>
              </a:cxn>
              <a:cxn ang="0">
                <a:pos x="81" y="32"/>
              </a:cxn>
              <a:cxn ang="0">
                <a:pos x="73" y="22"/>
              </a:cxn>
              <a:cxn ang="0">
                <a:pos x="73" y="0"/>
              </a:cxn>
              <a:cxn ang="0">
                <a:pos x="93" y="3"/>
              </a:cxn>
              <a:cxn ang="0">
                <a:pos x="107" y="8"/>
              </a:cxn>
              <a:cxn ang="0">
                <a:pos x="115" y="18"/>
              </a:cxn>
              <a:cxn ang="0">
                <a:pos x="134" y="24"/>
              </a:cxn>
              <a:cxn ang="0">
                <a:pos x="139" y="35"/>
              </a:cxn>
              <a:cxn ang="0">
                <a:pos x="169" y="15"/>
              </a:cxn>
              <a:cxn ang="0">
                <a:pos x="186" y="26"/>
              </a:cxn>
              <a:cxn ang="0">
                <a:pos x="201" y="38"/>
              </a:cxn>
              <a:cxn ang="0">
                <a:pos x="212" y="45"/>
              </a:cxn>
              <a:cxn ang="0">
                <a:pos x="221" y="99"/>
              </a:cxn>
              <a:cxn ang="0">
                <a:pos x="227" y="148"/>
              </a:cxn>
              <a:cxn ang="0">
                <a:pos x="204" y="36"/>
              </a:cxn>
              <a:cxn ang="0">
                <a:pos x="211" y="39"/>
              </a:cxn>
              <a:cxn ang="0">
                <a:pos x="201" y="28"/>
              </a:cxn>
              <a:cxn ang="0">
                <a:pos x="140" y="18"/>
              </a:cxn>
              <a:cxn ang="0">
                <a:pos x="197" y="20"/>
              </a:cxn>
              <a:cxn ang="0">
                <a:pos x="187" y="9"/>
              </a:cxn>
              <a:cxn ang="0">
                <a:pos x="185" y="13"/>
              </a:cxn>
              <a:cxn ang="0">
                <a:pos x="189" y="25"/>
              </a:cxn>
              <a:cxn ang="0">
                <a:pos x="196" y="22"/>
              </a:cxn>
            </a:cxnLst>
            <a:rect l="0" t="0" r="r" b="b"/>
            <a:pathLst>
              <a:path w="236" h="279">
                <a:moveTo>
                  <a:pt x="227" y="148"/>
                </a:moveTo>
                <a:cubicBezTo>
                  <a:pt x="219" y="153"/>
                  <a:pt x="217" y="142"/>
                  <a:pt x="213" y="144"/>
                </a:cubicBezTo>
                <a:cubicBezTo>
                  <a:pt x="209" y="146"/>
                  <a:pt x="219" y="149"/>
                  <a:pt x="204" y="152"/>
                </a:cubicBezTo>
                <a:cubicBezTo>
                  <a:pt x="189" y="156"/>
                  <a:pt x="188" y="163"/>
                  <a:pt x="175" y="167"/>
                </a:cubicBezTo>
                <a:cubicBezTo>
                  <a:pt x="162" y="171"/>
                  <a:pt x="156" y="172"/>
                  <a:pt x="165" y="180"/>
                </a:cubicBezTo>
                <a:cubicBezTo>
                  <a:pt x="174" y="189"/>
                  <a:pt x="157" y="194"/>
                  <a:pt x="176" y="203"/>
                </a:cubicBezTo>
                <a:cubicBezTo>
                  <a:pt x="186" y="207"/>
                  <a:pt x="185" y="213"/>
                  <a:pt x="202" y="226"/>
                </a:cubicBezTo>
                <a:cubicBezTo>
                  <a:pt x="199" y="240"/>
                  <a:pt x="192" y="228"/>
                  <a:pt x="191" y="237"/>
                </a:cubicBezTo>
                <a:cubicBezTo>
                  <a:pt x="191" y="246"/>
                  <a:pt x="185" y="239"/>
                  <a:pt x="178" y="246"/>
                </a:cubicBezTo>
                <a:cubicBezTo>
                  <a:pt x="170" y="252"/>
                  <a:pt x="185" y="257"/>
                  <a:pt x="179" y="260"/>
                </a:cubicBezTo>
                <a:cubicBezTo>
                  <a:pt x="174" y="264"/>
                  <a:pt x="187" y="266"/>
                  <a:pt x="183" y="271"/>
                </a:cubicBezTo>
                <a:cubicBezTo>
                  <a:pt x="179" y="276"/>
                  <a:pt x="176" y="264"/>
                  <a:pt x="172" y="266"/>
                </a:cubicBezTo>
                <a:cubicBezTo>
                  <a:pt x="167" y="269"/>
                  <a:pt x="165" y="258"/>
                  <a:pt x="161" y="265"/>
                </a:cubicBezTo>
                <a:cubicBezTo>
                  <a:pt x="156" y="271"/>
                  <a:pt x="153" y="262"/>
                  <a:pt x="146" y="268"/>
                </a:cubicBezTo>
                <a:cubicBezTo>
                  <a:pt x="140" y="274"/>
                  <a:pt x="134" y="278"/>
                  <a:pt x="131" y="272"/>
                </a:cubicBezTo>
                <a:cubicBezTo>
                  <a:pt x="127" y="267"/>
                  <a:pt x="126" y="270"/>
                  <a:pt x="120" y="269"/>
                </a:cubicBezTo>
                <a:cubicBezTo>
                  <a:pt x="115" y="267"/>
                  <a:pt x="121" y="276"/>
                  <a:pt x="114" y="278"/>
                </a:cubicBezTo>
                <a:cubicBezTo>
                  <a:pt x="110" y="279"/>
                  <a:pt x="107" y="262"/>
                  <a:pt x="96" y="270"/>
                </a:cubicBezTo>
                <a:cubicBezTo>
                  <a:pt x="94" y="268"/>
                  <a:pt x="88" y="264"/>
                  <a:pt x="83" y="266"/>
                </a:cubicBezTo>
                <a:cubicBezTo>
                  <a:pt x="77" y="267"/>
                  <a:pt x="78" y="258"/>
                  <a:pt x="71" y="261"/>
                </a:cubicBezTo>
                <a:cubicBezTo>
                  <a:pt x="65" y="264"/>
                  <a:pt x="73" y="269"/>
                  <a:pt x="64" y="268"/>
                </a:cubicBezTo>
                <a:cubicBezTo>
                  <a:pt x="55" y="267"/>
                  <a:pt x="55" y="271"/>
                  <a:pt x="46" y="268"/>
                </a:cubicBezTo>
                <a:cubicBezTo>
                  <a:pt x="45" y="227"/>
                  <a:pt x="68" y="222"/>
                  <a:pt x="60" y="218"/>
                </a:cubicBezTo>
                <a:cubicBezTo>
                  <a:pt x="52" y="215"/>
                  <a:pt x="47" y="211"/>
                  <a:pt x="38" y="213"/>
                </a:cubicBezTo>
                <a:cubicBezTo>
                  <a:pt x="30" y="215"/>
                  <a:pt x="34" y="209"/>
                  <a:pt x="28" y="210"/>
                </a:cubicBezTo>
                <a:cubicBezTo>
                  <a:pt x="23" y="210"/>
                  <a:pt x="26" y="203"/>
                  <a:pt x="17" y="200"/>
                </a:cubicBezTo>
                <a:cubicBezTo>
                  <a:pt x="17" y="194"/>
                  <a:pt x="24" y="192"/>
                  <a:pt x="21" y="188"/>
                </a:cubicBezTo>
                <a:cubicBezTo>
                  <a:pt x="19" y="185"/>
                  <a:pt x="9" y="188"/>
                  <a:pt x="12" y="175"/>
                </a:cubicBezTo>
                <a:cubicBezTo>
                  <a:pt x="25" y="162"/>
                  <a:pt x="12" y="166"/>
                  <a:pt x="14" y="161"/>
                </a:cubicBezTo>
                <a:cubicBezTo>
                  <a:pt x="16" y="156"/>
                  <a:pt x="9" y="158"/>
                  <a:pt x="7" y="155"/>
                </a:cubicBezTo>
                <a:cubicBezTo>
                  <a:pt x="7" y="153"/>
                  <a:pt x="15" y="149"/>
                  <a:pt x="7" y="146"/>
                </a:cubicBezTo>
                <a:cubicBezTo>
                  <a:pt x="0" y="142"/>
                  <a:pt x="12" y="143"/>
                  <a:pt x="11" y="139"/>
                </a:cubicBezTo>
                <a:cubicBezTo>
                  <a:pt x="10" y="134"/>
                  <a:pt x="18" y="133"/>
                  <a:pt x="12" y="125"/>
                </a:cubicBezTo>
                <a:cubicBezTo>
                  <a:pt x="6" y="117"/>
                  <a:pt x="6" y="112"/>
                  <a:pt x="14" y="114"/>
                </a:cubicBezTo>
                <a:cubicBezTo>
                  <a:pt x="22" y="115"/>
                  <a:pt x="31" y="111"/>
                  <a:pt x="27" y="108"/>
                </a:cubicBezTo>
                <a:cubicBezTo>
                  <a:pt x="22" y="105"/>
                  <a:pt x="35" y="103"/>
                  <a:pt x="34" y="95"/>
                </a:cubicBezTo>
                <a:cubicBezTo>
                  <a:pt x="33" y="88"/>
                  <a:pt x="25" y="96"/>
                  <a:pt x="25" y="88"/>
                </a:cubicBezTo>
                <a:cubicBezTo>
                  <a:pt x="25" y="84"/>
                  <a:pt x="27" y="84"/>
                  <a:pt x="31" y="84"/>
                </a:cubicBezTo>
                <a:cubicBezTo>
                  <a:pt x="35" y="86"/>
                  <a:pt x="35" y="84"/>
                  <a:pt x="38" y="62"/>
                </a:cubicBezTo>
                <a:cubicBezTo>
                  <a:pt x="40" y="57"/>
                  <a:pt x="32" y="61"/>
                  <a:pt x="34" y="54"/>
                </a:cubicBezTo>
                <a:cubicBezTo>
                  <a:pt x="37" y="47"/>
                  <a:pt x="37" y="45"/>
                  <a:pt x="50" y="45"/>
                </a:cubicBezTo>
                <a:cubicBezTo>
                  <a:pt x="67" y="45"/>
                  <a:pt x="56" y="51"/>
                  <a:pt x="61" y="55"/>
                </a:cubicBezTo>
                <a:cubicBezTo>
                  <a:pt x="66" y="59"/>
                  <a:pt x="61" y="47"/>
                  <a:pt x="68" y="49"/>
                </a:cubicBezTo>
                <a:cubicBezTo>
                  <a:pt x="71" y="50"/>
                  <a:pt x="67" y="60"/>
                  <a:pt x="71" y="57"/>
                </a:cubicBezTo>
                <a:cubicBezTo>
                  <a:pt x="76" y="54"/>
                  <a:pt x="67" y="36"/>
                  <a:pt x="74" y="39"/>
                </a:cubicBezTo>
                <a:cubicBezTo>
                  <a:pt x="81" y="42"/>
                  <a:pt x="86" y="38"/>
                  <a:pt x="92" y="43"/>
                </a:cubicBezTo>
                <a:cubicBezTo>
                  <a:pt x="98" y="47"/>
                  <a:pt x="92" y="38"/>
                  <a:pt x="85" y="38"/>
                </a:cubicBezTo>
                <a:cubicBezTo>
                  <a:pt x="77" y="37"/>
                  <a:pt x="78" y="34"/>
                  <a:pt x="81" y="32"/>
                </a:cubicBezTo>
                <a:cubicBezTo>
                  <a:pt x="87" y="30"/>
                  <a:pt x="74" y="31"/>
                  <a:pt x="78" y="25"/>
                </a:cubicBezTo>
                <a:cubicBezTo>
                  <a:pt x="82" y="19"/>
                  <a:pt x="70" y="28"/>
                  <a:pt x="73" y="22"/>
                </a:cubicBezTo>
                <a:cubicBezTo>
                  <a:pt x="75" y="15"/>
                  <a:pt x="86" y="20"/>
                  <a:pt x="81" y="14"/>
                </a:cubicBezTo>
                <a:cubicBezTo>
                  <a:pt x="76" y="7"/>
                  <a:pt x="73" y="5"/>
                  <a:pt x="73" y="0"/>
                </a:cubicBezTo>
                <a:cubicBezTo>
                  <a:pt x="78" y="1"/>
                  <a:pt x="77" y="0"/>
                  <a:pt x="83" y="1"/>
                </a:cubicBezTo>
                <a:cubicBezTo>
                  <a:pt x="89" y="2"/>
                  <a:pt x="91" y="3"/>
                  <a:pt x="93" y="3"/>
                </a:cubicBezTo>
                <a:cubicBezTo>
                  <a:pt x="96" y="5"/>
                  <a:pt x="97" y="2"/>
                  <a:pt x="101" y="4"/>
                </a:cubicBezTo>
                <a:cubicBezTo>
                  <a:pt x="105" y="6"/>
                  <a:pt x="104" y="2"/>
                  <a:pt x="107" y="8"/>
                </a:cubicBezTo>
                <a:cubicBezTo>
                  <a:pt x="110" y="14"/>
                  <a:pt x="101" y="16"/>
                  <a:pt x="107" y="16"/>
                </a:cubicBezTo>
                <a:cubicBezTo>
                  <a:pt x="113" y="15"/>
                  <a:pt x="110" y="21"/>
                  <a:pt x="115" y="18"/>
                </a:cubicBezTo>
                <a:cubicBezTo>
                  <a:pt x="119" y="15"/>
                  <a:pt x="118" y="26"/>
                  <a:pt x="129" y="20"/>
                </a:cubicBezTo>
                <a:cubicBezTo>
                  <a:pt x="138" y="16"/>
                  <a:pt x="133" y="23"/>
                  <a:pt x="134" y="24"/>
                </a:cubicBezTo>
                <a:cubicBezTo>
                  <a:pt x="137" y="28"/>
                  <a:pt x="123" y="29"/>
                  <a:pt x="126" y="34"/>
                </a:cubicBezTo>
                <a:cubicBezTo>
                  <a:pt x="129" y="38"/>
                  <a:pt x="132" y="30"/>
                  <a:pt x="139" y="35"/>
                </a:cubicBezTo>
                <a:cubicBezTo>
                  <a:pt x="147" y="41"/>
                  <a:pt x="141" y="28"/>
                  <a:pt x="153" y="28"/>
                </a:cubicBezTo>
                <a:cubicBezTo>
                  <a:pt x="165" y="27"/>
                  <a:pt x="166" y="18"/>
                  <a:pt x="169" y="15"/>
                </a:cubicBezTo>
                <a:cubicBezTo>
                  <a:pt x="170" y="14"/>
                  <a:pt x="174" y="19"/>
                  <a:pt x="179" y="18"/>
                </a:cubicBezTo>
                <a:cubicBezTo>
                  <a:pt x="184" y="17"/>
                  <a:pt x="179" y="19"/>
                  <a:pt x="186" y="26"/>
                </a:cubicBezTo>
                <a:cubicBezTo>
                  <a:pt x="192" y="33"/>
                  <a:pt x="199" y="25"/>
                  <a:pt x="199" y="28"/>
                </a:cubicBezTo>
                <a:cubicBezTo>
                  <a:pt x="199" y="35"/>
                  <a:pt x="202" y="35"/>
                  <a:pt x="201" y="38"/>
                </a:cubicBezTo>
                <a:cubicBezTo>
                  <a:pt x="201" y="40"/>
                  <a:pt x="199" y="42"/>
                  <a:pt x="211" y="44"/>
                </a:cubicBezTo>
                <a:cubicBezTo>
                  <a:pt x="212" y="44"/>
                  <a:pt x="212" y="44"/>
                  <a:pt x="212" y="45"/>
                </a:cubicBezTo>
                <a:cubicBezTo>
                  <a:pt x="220" y="68"/>
                  <a:pt x="202" y="72"/>
                  <a:pt x="215" y="82"/>
                </a:cubicBezTo>
                <a:cubicBezTo>
                  <a:pt x="228" y="92"/>
                  <a:pt x="216" y="91"/>
                  <a:pt x="221" y="99"/>
                </a:cubicBezTo>
                <a:cubicBezTo>
                  <a:pt x="230" y="112"/>
                  <a:pt x="219" y="109"/>
                  <a:pt x="222" y="121"/>
                </a:cubicBezTo>
                <a:cubicBezTo>
                  <a:pt x="224" y="132"/>
                  <a:pt x="236" y="122"/>
                  <a:pt x="227" y="148"/>
                </a:cubicBezTo>
                <a:close/>
                <a:moveTo>
                  <a:pt x="201" y="28"/>
                </a:moveTo>
                <a:cubicBezTo>
                  <a:pt x="199" y="26"/>
                  <a:pt x="203" y="34"/>
                  <a:pt x="204" y="36"/>
                </a:cubicBezTo>
                <a:cubicBezTo>
                  <a:pt x="205" y="38"/>
                  <a:pt x="202" y="38"/>
                  <a:pt x="203" y="40"/>
                </a:cubicBezTo>
                <a:cubicBezTo>
                  <a:pt x="204" y="41"/>
                  <a:pt x="210" y="38"/>
                  <a:pt x="211" y="39"/>
                </a:cubicBezTo>
                <a:cubicBezTo>
                  <a:pt x="211" y="36"/>
                  <a:pt x="211" y="36"/>
                  <a:pt x="211" y="36"/>
                </a:cubicBezTo>
                <a:cubicBezTo>
                  <a:pt x="207" y="35"/>
                  <a:pt x="203" y="31"/>
                  <a:pt x="201" y="28"/>
                </a:cubicBezTo>
                <a:close/>
                <a:moveTo>
                  <a:pt x="132" y="15"/>
                </a:moveTo>
                <a:cubicBezTo>
                  <a:pt x="130" y="17"/>
                  <a:pt x="139" y="19"/>
                  <a:pt x="140" y="18"/>
                </a:cubicBezTo>
                <a:cubicBezTo>
                  <a:pt x="140" y="16"/>
                  <a:pt x="135" y="12"/>
                  <a:pt x="132" y="15"/>
                </a:cubicBezTo>
                <a:close/>
                <a:moveTo>
                  <a:pt x="197" y="20"/>
                </a:moveTo>
                <a:cubicBezTo>
                  <a:pt x="193" y="17"/>
                  <a:pt x="202" y="14"/>
                  <a:pt x="195" y="11"/>
                </a:cubicBezTo>
                <a:cubicBezTo>
                  <a:pt x="191" y="10"/>
                  <a:pt x="191" y="6"/>
                  <a:pt x="187" y="9"/>
                </a:cubicBezTo>
                <a:cubicBezTo>
                  <a:pt x="183" y="12"/>
                  <a:pt x="192" y="13"/>
                  <a:pt x="193" y="15"/>
                </a:cubicBezTo>
                <a:cubicBezTo>
                  <a:pt x="193" y="17"/>
                  <a:pt x="186" y="13"/>
                  <a:pt x="185" y="13"/>
                </a:cubicBezTo>
                <a:cubicBezTo>
                  <a:pt x="183" y="14"/>
                  <a:pt x="188" y="18"/>
                  <a:pt x="185" y="19"/>
                </a:cubicBezTo>
                <a:cubicBezTo>
                  <a:pt x="183" y="20"/>
                  <a:pt x="185" y="22"/>
                  <a:pt x="189" y="25"/>
                </a:cubicBezTo>
                <a:cubicBezTo>
                  <a:pt x="191" y="26"/>
                  <a:pt x="193" y="25"/>
                  <a:pt x="192" y="24"/>
                </a:cubicBezTo>
                <a:cubicBezTo>
                  <a:pt x="191" y="23"/>
                  <a:pt x="193" y="18"/>
                  <a:pt x="196" y="22"/>
                </a:cubicBezTo>
                <a:cubicBezTo>
                  <a:pt x="200" y="26"/>
                  <a:pt x="201" y="22"/>
                  <a:pt x="197" y="20"/>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endParaRPr lang="de-DE" sz="1800">
              <a:solidFill>
                <a:srgbClr val="000000"/>
              </a:solidFill>
              <a:latin typeface="Arial" charset="0"/>
              <a:ea typeface="ＭＳ Ｐゴシック"/>
            </a:endParaRPr>
          </a:p>
        </p:txBody>
      </p:sp>
      <p:sp>
        <p:nvSpPr>
          <p:cNvPr id="31" name="Freeform 37"/>
          <p:cNvSpPr>
            <a:spLocks/>
          </p:cNvSpPr>
          <p:nvPr/>
        </p:nvSpPr>
        <p:spPr bwMode="auto">
          <a:xfrm>
            <a:off x="7129177" y="3477148"/>
            <a:ext cx="336520" cy="319240"/>
          </a:xfrm>
          <a:custGeom>
            <a:avLst/>
            <a:gdLst/>
            <a:ahLst/>
            <a:cxnLst>
              <a:cxn ang="0">
                <a:pos x="88" y="31"/>
              </a:cxn>
              <a:cxn ang="0">
                <a:pos x="95" y="9"/>
              </a:cxn>
              <a:cxn ang="0">
                <a:pos x="87" y="4"/>
              </a:cxn>
              <a:cxn ang="0">
                <a:pos x="65" y="3"/>
              </a:cxn>
              <a:cxn ang="0">
                <a:pos x="48" y="18"/>
              </a:cxn>
              <a:cxn ang="0">
                <a:pos x="52" y="24"/>
              </a:cxn>
              <a:cxn ang="0">
                <a:pos x="56" y="33"/>
              </a:cxn>
              <a:cxn ang="0">
                <a:pos x="47" y="45"/>
              </a:cxn>
              <a:cxn ang="0">
                <a:pos x="44" y="32"/>
              </a:cxn>
              <a:cxn ang="0">
                <a:pos x="41" y="25"/>
              </a:cxn>
              <a:cxn ang="0">
                <a:pos x="37" y="21"/>
              </a:cxn>
              <a:cxn ang="0">
                <a:pos x="26" y="46"/>
              </a:cxn>
              <a:cxn ang="0">
                <a:pos x="17" y="59"/>
              </a:cxn>
              <a:cxn ang="0">
                <a:pos x="8" y="67"/>
              </a:cxn>
              <a:cxn ang="0">
                <a:pos x="15" y="72"/>
              </a:cxn>
              <a:cxn ang="0">
                <a:pos x="2" y="71"/>
              </a:cxn>
              <a:cxn ang="0">
                <a:pos x="14" y="76"/>
              </a:cxn>
              <a:cxn ang="0">
                <a:pos x="18" y="78"/>
              </a:cxn>
              <a:cxn ang="0">
                <a:pos x="9" y="79"/>
              </a:cxn>
              <a:cxn ang="0">
                <a:pos x="0" y="78"/>
              </a:cxn>
              <a:cxn ang="0">
                <a:pos x="5" y="83"/>
              </a:cxn>
              <a:cxn ang="0">
                <a:pos x="16" y="83"/>
              </a:cxn>
              <a:cxn ang="0">
                <a:pos x="27" y="77"/>
              </a:cxn>
              <a:cxn ang="0">
                <a:pos x="32" y="76"/>
              </a:cxn>
              <a:cxn ang="0">
                <a:pos x="38" y="77"/>
              </a:cxn>
              <a:cxn ang="0">
                <a:pos x="54" y="83"/>
              </a:cxn>
              <a:cxn ang="0">
                <a:pos x="64" y="102"/>
              </a:cxn>
              <a:cxn ang="0">
                <a:pos x="64" y="93"/>
              </a:cxn>
              <a:cxn ang="0">
                <a:pos x="68" y="86"/>
              </a:cxn>
              <a:cxn ang="0">
                <a:pos x="69" y="72"/>
              </a:cxn>
              <a:cxn ang="0">
                <a:pos x="71" y="61"/>
              </a:cxn>
              <a:cxn ang="0">
                <a:pos x="84" y="55"/>
              </a:cxn>
              <a:cxn ang="0">
                <a:pos x="91" y="42"/>
              </a:cxn>
              <a:cxn ang="0">
                <a:pos x="82" y="35"/>
              </a:cxn>
              <a:cxn ang="0">
                <a:pos x="88" y="31"/>
              </a:cxn>
            </a:cxnLst>
            <a:rect l="0" t="0" r="r" b="b"/>
            <a:pathLst>
              <a:path w="95" h="102">
                <a:moveTo>
                  <a:pt x="88" y="31"/>
                </a:moveTo>
                <a:cubicBezTo>
                  <a:pt x="92" y="33"/>
                  <a:pt x="92" y="31"/>
                  <a:pt x="95" y="9"/>
                </a:cubicBezTo>
                <a:cubicBezTo>
                  <a:pt x="91" y="10"/>
                  <a:pt x="90" y="8"/>
                  <a:pt x="87" y="4"/>
                </a:cubicBezTo>
                <a:cubicBezTo>
                  <a:pt x="84" y="0"/>
                  <a:pt x="79" y="1"/>
                  <a:pt x="65" y="3"/>
                </a:cubicBezTo>
                <a:cubicBezTo>
                  <a:pt x="47" y="7"/>
                  <a:pt x="44" y="18"/>
                  <a:pt x="48" y="18"/>
                </a:cubicBezTo>
                <a:cubicBezTo>
                  <a:pt x="52" y="18"/>
                  <a:pt x="48" y="24"/>
                  <a:pt x="52" y="24"/>
                </a:cubicBezTo>
                <a:cubicBezTo>
                  <a:pt x="57" y="24"/>
                  <a:pt x="51" y="32"/>
                  <a:pt x="56" y="33"/>
                </a:cubicBezTo>
                <a:cubicBezTo>
                  <a:pt x="66" y="36"/>
                  <a:pt x="54" y="49"/>
                  <a:pt x="47" y="45"/>
                </a:cubicBezTo>
                <a:cubicBezTo>
                  <a:pt x="40" y="41"/>
                  <a:pt x="37" y="35"/>
                  <a:pt x="44" y="32"/>
                </a:cubicBezTo>
                <a:cubicBezTo>
                  <a:pt x="51" y="29"/>
                  <a:pt x="41" y="28"/>
                  <a:pt x="41" y="25"/>
                </a:cubicBezTo>
                <a:cubicBezTo>
                  <a:pt x="41" y="21"/>
                  <a:pt x="49" y="14"/>
                  <a:pt x="37" y="21"/>
                </a:cubicBezTo>
                <a:cubicBezTo>
                  <a:pt x="29" y="17"/>
                  <a:pt x="34" y="30"/>
                  <a:pt x="26" y="46"/>
                </a:cubicBezTo>
                <a:cubicBezTo>
                  <a:pt x="19" y="61"/>
                  <a:pt x="15" y="54"/>
                  <a:pt x="17" y="59"/>
                </a:cubicBezTo>
                <a:cubicBezTo>
                  <a:pt x="19" y="63"/>
                  <a:pt x="5" y="62"/>
                  <a:pt x="8" y="67"/>
                </a:cubicBezTo>
                <a:cubicBezTo>
                  <a:pt x="10" y="69"/>
                  <a:pt x="28" y="69"/>
                  <a:pt x="15" y="72"/>
                </a:cubicBezTo>
                <a:cubicBezTo>
                  <a:pt x="8" y="70"/>
                  <a:pt x="4" y="69"/>
                  <a:pt x="2" y="71"/>
                </a:cubicBezTo>
                <a:cubicBezTo>
                  <a:pt x="0" y="74"/>
                  <a:pt x="10" y="77"/>
                  <a:pt x="14" y="76"/>
                </a:cubicBezTo>
                <a:cubicBezTo>
                  <a:pt x="18" y="75"/>
                  <a:pt x="20" y="78"/>
                  <a:pt x="18" y="78"/>
                </a:cubicBezTo>
                <a:cubicBezTo>
                  <a:pt x="15" y="78"/>
                  <a:pt x="12" y="81"/>
                  <a:pt x="9" y="79"/>
                </a:cubicBezTo>
                <a:cubicBezTo>
                  <a:pt x="5" y="78"/>
                  <a:pt x="6" y="76"/>
                  <a:pt x="0" y="78"/>
                </a:cubicBezTo>
                <a:cubicBezTo>
                  <a:pt x="0" y="80"/>
                  <a:pt x="1" y="84"/>
                  <a:pt x="5" y="83"/>
                </a:cubicBezTo>
                <a:cubicBezTo>
                  <a:pt x="9" y="82"/>
                  <a:pt x="11" y="86"/>
                  <a:pt x="16" y="83"/>
                </a:cubicBezTo>
                <a:cubicBezTo>
                  <a:pt x="23" y="79"/>
                  <a:pt x="26" y="81"/>
                  <a:pt x="27" y="77"/>
                </a:cubicBezTo>
                <a:cubicBezTo>
                  <a:pt x="28" y="70"/>
                  <a:pt x="28" y="77"/>
                  <a:pt x="32" y="76"/>
                </a:cubicBezTo>
                <a:cubicBezTo>
                  <a:pt x="37" y="75"/>
                  <a:pt x="34" y="79"/>
                  <a:pt x="38" y="77"/>
                </a:cubicBezTo>
                <a:cubicBezTo>
                  <a:pt x="46" y="74"/>
                  <a:pt x="38" y="82"/>
                  <a:pt x="54" y="83"/>
                </a:cubicBezTo>
                <a:cubicBezTo>
                  <a:pt x="71" y="84"/>
                  <a:pt x="44" y="100"/>
                  <a:pt x="64" y="102"/>
                </a:cubicBezTo>
                <a:cubicBezTo>
                  <a:pt x="64" y="100"/>
                  <a:pt x="72" y="96"/>
                  <a:pt x="64" y="93"/>
                </a:cubicBezTo>
                <a:cubicBezTo>
                  <a:pt x="57" y="89"/>
                  <a:pt x="69" y="90"/>
                  <a:pt x="68" y="86"/>
                </a:cubicBezTo>
                <a:cubicBezTo>
                  <a:pt x="67" y="81"/>
                  <a:pt x="75" y="80"/>
                  <a:pt x="69" y="72"/>
                </a:cubicBezTo>
                <a:cubicBezTo>
                  <a:pt x="63" y="64"/>
                  <a:pt x="63" y="59"/>
                  <a:pt x="71" y="61"/>
                </a:cubicBezTo>
                <a:cubicBezTo>
                  <a:pt x="79" y="62"/>
                  <a:pt x="88" y="58"/>
                  <a:pt x="84" y="55"/>
                </a:cubicBezTo>
                <a:cubicBezTo>
                  <a:pt x="79" y="52"/>
                  <a:pt x="92" y="50"/>
                  <a:pt x="91" y="42"/>
                </a:cubicBezTo>
                <a:cubicBezTo>
                  <a:pt x="90" y="35"/>
                  <a:pt x="82" y="43"/>
                  <a:pt x="82" y="35"/>
                </a:cubicBezTo>
                <a:cubicBezTo>
                  <a:pt x="82" y="31"/>
                  <a:pt x="84" y="31"/>
                  <a:pt x="88" y="31"/>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32" name="Freeform 39"/>
          <p:cNvSpPr>
            <a:spLocks/>
          </p:cNvSpPr>
          <p:nvPr/>
        </p:nvSpPr>
        <p:spPr bwMode="auto">
          <a:xfrm>
            <a:off x="7318821" y="3859127"/>
            <a:ext cx="98538" cy="83041"/>
          </a:xfrm>
          <a:custGeom>
            <a:avLst/>
            <a:gdLst/>
            <a:ahLst/>
            <a:cxnLst>
              <a:cxn ang="0">
                <a:pos x="16" y="0"/>
              </a:cxn>
              <a:cxn ang="0">
                <a:pos x="7" y="24"/>
              </a:cxn>
              <a:cxn ang="0">
                <a:pos x="21" y="25"/>
              </a:cxn>
              <a:cxn ang="0">
                <a:pos x="25" y="13"/>
              </a:cxn>
              <a:cxn ang="0">
                <a:pos x="16" y="0"/>
              </a:cxn>
            </a:cxnLst>
            <a:rect l="0" t="0" r="r" b="b"/>
            <a:pathLst>
              <a:path w="28" h="27">
                <a:moveTo>
                  <a:pt x="16" y="0"/>
                </a:moveTo>
                <a:cubicBezTo>
                  <a:pt x="0" y="7"/>
                  <a:pt x="8" y="19"/>
                  <a:pt x="7" y="24"/>
                </a:cubicBezTo>
                <a:cubicBezTo>
                  <a:pt x="13" y="27"/>
                  <a:pt x="17" y="26"/>
                  <a:pt x="21" y="25"/>
                </a:cubicBezTo>
                <a:cubicBezTo>
                  <a:pt x="21" y="19"/>
                  <a:pt x="28" y="17"/>
                  <a:pt x="25" y="13"/>
                </a:cubicBezTo>
                <a:cubicBezTo>
                  <a:pt x="23" y="10"/>
                  <a:pt x="13" y="13"/>
                  <a:pt x="16" y="0"/>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33" name="Freeform 40"/>
          <p:cNvSpPr>
            <a:spLocks/>
          </p:cNvSpPr>
          <p:nvPr/>
        </p:nvSpPr>
        <p:spPr bwMode="auto">
          <a:xfrm>
            <a:off x="8737406" y="2860808"/>
            <a:ext cx="146880" cy="94110"/>
          </a:xfrm>
          <a:custGeom>
            <a:avLst/>
            <a:gdLst/>
            <a:ahLst/>
            <a:cxnLst>
              <a:cxn ang="0">
                <a:pos x="33" y="5"/>
              </a:cxn>
              <a:cxn ang="0">
                <a:pos x="21" y="2"/>
              </a:cxn>
              <a:cxn ang="0">
                <a:pos x="9" y="7"/>
              </a:cxn>
              <a:cxn ang="0">
                <a:pos x="3" y="6"/>
              </a:cxn>
              <a:cxn ang="0">
                <a:pos x="5" y="13"/>
              </a:cxn>
              <a:cxn ang="0">
                <a:pos x="7" y="19"/>
              </a:cxn>
              <a:cxn ang="0">
                <a:pos x="7" y="24"/>
              </a:cxn>
              <a:cxn ang="0">
                <a:pos x="8" y="29"/>
              </a:cxn>
              <a:cxn ang="0">
                <a:pos x="12" y="25"/>
              </a:cxn>
              <a:cxn ang="0">
                <a:pos x="18" y="17"/>
              </a:cxn>
              <a:cxn ang="0">
                <a:pos x="33" y="10"/>
              </a:cxn>
              <a:cxn ang="0">
                <a:pos x="38" y="9"/>
              </a:cxn>
              <a:cxn ang="0">
                <a:pos x="33" y="5"/>
              </a:cxn>
            </a:cxnLst>
            <a:rect l="0" t="0" r="r" b="b"/>
            <a:pathLst>
              <a:path w="41" h="30">
                <a:moveTo>
                  <a:pt x="33" y="5"/>
                </a:moveTo>
                <a:cubicBezTo>
                  <a:pt x="28" y="1"/>
                  <a:pt x="23" y="5"/>
                  <a:pt x="21" y="2"/>
                </a:cubicBezTo>
                <a:cubicBezTo>
                  <a:pt x="20" y="0"/>
                  <a:pt x="11" y="2"/>
                  <a:pt x="9" y="7"/>
                </a:cubicBezTo>
                <a:cubicBezTo>
                  <a:pt x="8" y="12"/>
                  <a:pt x="7" y="5"/>
                  <a:pt x="3" y="6"/>
                </a:cubicBezTo>
                <a:cubicBezTo>
                  <a:pt x="0" y="7"/>
                  <a:pt x="8" y="12"/>
                  <a:pt x="5" y="13"/>
                </a:cubicBezTo>
                <a:cubicBezTo>
                  <a:pt x="1" y="14"/>
                  <a:pt x="0" y="16"/>
                  <a:pt x="7" y="19"/>
                </a:cubicBezTo>
                <a:cubicBezTo>
                  <a:pt x="13" y="21"/>
                  <a:pt x="10" y="22"/>
                  <a:pt x="7" y="24"/>
                </a:cubicBezTo>
                <a:cubicBezTo>
                  <a:pt x="5" y="26"/>
                  <a:pt x="3" y="30"/>
                  <a:pt x="8" y="29"/>
                </a:cubicBezTo>
                <a:cubicBezTo>
                  <a:pt x="10" y="29"/>
                  <a:pt x="12" y="27"/>
                  <a:pt x="12" y="25"/>
                </a:cubicBezTo>
                <a:cubicBezTo>
                  <a:pt x="12" y="23"/>
                  <a:pt x="16" y="16"/>
                  <a:pt x="18" y="17"/>
                </a:cubicBezTo>
                <a:cubicBezTo>
                  <a:pt x="21" y="19"/>
                  <a:pt x="29" y="14"/>
                  <a:pt x="33" y="10"/>
                </a:cubicBezTo>
                <a:cubicBezTo>
                  <a:pt x="36" y="6"/>
                  <a:pt x="35" y="10"/>
                  <a:pt x="38" y="9"/>
                </a:cubicBezTo>
                <a:cubicBezTo>
                  <a:pt x="41" y="8"/>
                  <a:pt x="39" y="8"/>
                  <a:pt x="33" y="5"/>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34" name="Freeform 41"/>
          <p:cNvSpPr>
            <a:spLocks/>
          </p:cNvSpPr>
          <p:nvPr/>
        </p:nvSpPr>
        <p:spPr bwMode="auto">
          <a:xfrm>
            <a:off x="8755999" y="2801758"/>
            <a:ext cx="102259" cy="59050"/>
          </a:xfrm>
          <a:custGeom>
            <a:avLst/>
            <a:gdLst/>
            <a:ahLst/>
            <a:cxnLst>
              <a:cxn ang="0">
                <a:pos x="23" y="8"/>
              </a:cxn>
              <a:cxn ang="0">
                <a:pos x="14" y="5"/>
              </a:cxn>
              <a:cxn ang="0">
                <a:pos x="3" y="8"/>
              </a:cxn>
              <a:cxn ang="0">
                <a:pos x="8" y="10"/>
              </a:cxn>
              <a:cxn ang="0">
                <a:pos x="15" y="18"/>
              </a:cxn>
              <a:cxn ang="0">
                <a:pos x="21" y="15"/>
              </a:cxn>
              <a:cxn ang="0">
                <a:pos x="25" y="13"/>
              </a:cxn>
              <a:cxn ang="0">
                <a:pos x="23" y="8"/>
              </a:cxn>
            </a:cxnLst>
            <a:rect l="0" t="0" r="r" b="b"/>
            <a:pathLst>
              <a:path w="29" h="19">
                <a:moveTo>
                  <a:pt x="23" y="8"/>
                </a:moveTo>
                <a:cubicBezTo>
                  <a:pt x="18" y="4"/>
                  <a:pt x="17" y="0"/>
                  <a:pt x="14" y="5"/>
                </a:cubicBezTo>
                <a:cubicBezTo>
                  <a:pt x="11" y="9"/>
                  <a:pt x="5" y="6"/>
                  <a:pt x="3" y="8"/>
                </a:cubicBezTo>
                <a:cubicBezTo>
                  <a:pt x="0" y="10"/>
                  <a:pt x="3" y="10"/>
                  <a:pt x="8" y="10"/>
                </a:cubicBezTo>
                <a:cubicBezTo>
                  <a:pt x="14" y="10"/>
                  <a:pt x="10" y="17"/>
                  <a:pt x="15" y="18"/>
                </a:cubicBezTo>
                <a:cubicBezTo>
                  <a:pt x="18" y="19"/>
                  <a:pt x="18" y="13"/>
                  <a:pt x="21" y="15"/>
                </a:cubicBezTo>
                <a:cubicBezTo>
                  <a:pt x="23" y="16"/>
                  <a:pt x="23" y="12"/>
                  <a:pt x="25" y="13"/>
                </a:cubicBezTo>
                <a:cubicBezTo>
                  <a:pt x="27" y="14"/>
                  <a:pt x="29" y="11"/>
                  <a:pt x="23" y="8"/>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35" name="Freeform 42"/>
          <p:cNvSpPr>
            <a:spLocks/>
          </p:cNvSpPr>
          <p:nvPr/>
        </p:nvSpPr>
        <p:spPr bwMode="auto">
          <a:xfrm>
            <a:off x="8850821" y="2851578"/>
            <a:ext cx="33466" cy="33216"/>
          </a:xfrm>
          <a:custGeom>
            <a:avLst/>
            <a:gdLst/>
            <a:ahLst/>
            <a:cxnLst>
              <a:cxn ang="0">
                <a:pos x="1" y="3"/>
              </a:cxn>
              <a:cxn ang="0">
                <a:pos x="7" y="8"/>
              </a:cxn>
              <a:cxn ang="0">
                <a:pos x="1" y="3"/>
              </a:cxn>
            </a:cxnLst>
            <a:rect l="0" t="0" r="r" b="b"/>
            <a:pathLst>
              <a:path w="9" h="11">
                <a:moveTo>
                  <a:pt x="1" y="3"/>
                </a:moveTo>
                <a:cubicBezTo>
                  <a:pt x="0" y="6"/>
                  <a:pt x="6" y="11"/>
                  <a:pt x="7" y="8"/>
                </a:cubicBezTo>
                <a:cubicBezTo>
                  <a:pt x="9" y="5"/>
                  <a:pt x="3" y="0"/>
                  <a:pt x="1" y="3"/>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36" name="Freeform 43"/>
          <p:cNvSpPr>
            <a:spLocks/>
          </p:cNvSpPr>
          <p:nvPr/>
        </p:nvSpPr>
        <p:spPr bwMode="auto">
          <a:xfrm>
            <a:off x="8856398" y="2812830"/>
            <a:ext cx="27890" cy="14762"/>
          </a:xfrm>
          <a:custGeom>
            <a:avLst/>
            <a:gdLst/>
            <a:ahLst/>
            <a:cxnLst>
              <a:cxn ang="0">
                <a:pos x="1" y="1"/>
              </a:cxn>
              <a:cxn ang="0">
                <a:pos x="8" y="2"/>
              </a:cxn>
              <a:cxn ang="0">
                <a:pos x="1" y="1"/>
              </a:cxn>
            </a:cxnLst>
            <a:rect l="0" t="0" r="r" b="b"/>
            <a:pathLst>
              <a:path w="8" h="4">
                <a:moveTo>
                  <a:pt x="1" y="1"/>
                </a:moveTo>
                <a:cubicBezTo>
                  <a:pt x="2" y="3"/>
                  <a:pt x="7" y="4"/>
                  <a:pt x="8" y="2"/>
                </a:cubicBezTo>
                <a:cubicBezTo>
                  <a:pt x="8" y="1"/>
                  <a:pt x="0" y="0"/>
                  <a:pt x="1" y="1"/>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37" name="Freeform 45"/>
          <p:cNvSpPr>
            <a:spLocks noEditPoints="1"/>
          </p:cNvSpPr>
          <p:nvPr/>
        </p:nvSpPr>
        <p:spPr bwMode="auto">
          <a:xfrm>
            <a:off x="8542190" y="1371633"/>
            <a:ext cx="1065335" cy="1358155"/>
          </a:xfrm>
          <a:custGeom>
            <a:avLst/>
            <a:gdLst/>
            <a:ahLst/>
            <a:cxnLst>
              <a:cxn ang="0">
                <a:pos x="89" y="85"/>
              </a:cxn>
              <a:cxn ang="0">
                <a:pos x="261" y="276"/>
              </a:cxn>
              <a:cxn ang="0">
                <a:pos x="260" y="245"/>
              </a:cxn>
              <a:cxn ang="0">
                <a:pos x="249" y="222"/>
              </a:cxn>
              <a:cxn ang="0">
                <a:pos x="252" y="203"/>
              </a:cxn>
              <a:cxn ang="0">
                <a:pos x="260" y="193"/>
              </a:cxn>
              <a:cxn ang="0">
                <a:pos x="257" y="112"/>
              </a:cxn>
              <a:cxn ang="0">
                <a:pos x="223" y="76"/>
              </a:cxn>
              <a:cxn ang="0">
                <a:pos x="232" y="47"/>
              </a:cxn>
              <a:cxn ang="0">
                <a:pos x="211" y="6"/>
              </a:cxn>
              <a:cxn ang="0">
                <a:pos x="170" y="9"/>
              </a:cxn>
              <a:cxn ang="0">
                <a:pos x="154" y="45"/>
              </a:cxn>
              <a:cxn ang="0">
                <a:pos x="132" y="68"/>
              </a:cxn>
              <a:cxn ang="0">
                <a:pos x="96" y="64"/>
              </a:cxn>
              <a:cxn ang="0">
                <a:pos x="66" y="50"/>
              </a:cxn>
              <a:cxn ang="0">
                <a:pos x="39" y="47"/>
              </a:cxn>
              <a:cxn ang="0">
                <a:pos x="37" y="56"/>
              </a:cxn>
              <a:cxn ang="0">
                <a:pos x="89" y="84"/>
              </a:cxn>
              <a:cxn ang="0">
                <a:pos x="95" y="88"/>
              </a:cxn>
              <a:cxn ang="0">
                <a:pos x="96" y="116"/>
              </a:cxn>
              <a:cxn ang="0">
                <a:pos x="100" y="131"/>
              </a:cxn>
              <a:cxn ang="0">
                <a:pos x="105" y="158"/>
              </a:cxn>
              <a:cxn ang="0">
                <a:pos x="133" y="194"/>
              </a:cxn>
              <a:cxn ang="0">
                <a:pos x="144" y="223"/>
              </a:cxn>
              <a:cxn ang="0">
                <a:pos x="105" y="253"/>
              </a:cxn>
              <a:cxn ang="0">
                <a:pos x="79" y="276"/>
              </a:cxn>
              <a:cxn ang="0">
                <a:pos x="64" y="295"/>
              </a:cxn>
              <a:cxn ang="0">
                <a:pos x="42" y="329"/>
              </a:cxn>
              <a:cxn ang="0">
                <a:pos x="47" y="366"/>
              </a:cxn>
              <a:cxn ang="0">
                <a:pos x="54" y="405"/>
              </a:cxn>
              <a:cxn ang="0">
                <a:pos x="79" y="423"/>
              </a:cxn>
              <a:cxn ang="0">
                <a:pos x="95" y="428"/>
              </a:cxn>
              <a:cxn ang="0">
                <a:pos x="160" y="412"/>
              </a:cxn>
              <a:cxn ang="0">
                <a:pos x="206" y="402"/>
              </a:cxn>
              <a:cxn ang="0">
                <a:pos x="295" y="312"/>
              </a:cxn>
              <a:cxn ang="0">
                <a:pos x="63" y="413"/>
              </a:cxn>
              <a:cxn ang="0">
                <a:pos x="63" y="413"/>
              </a:cxn>
              <a:cxn ang="0">
                <a:pos x="59" y="412"/>
              </a:cxn>
              <a:cxn ang="0">
                <a:pos x="49" y="420"/>
              </a:cxn>
              <a:cxn ang="0">
                <a:pos x="49" y="420"/>
              </a:cxn>
              <a:cxn ang="0">
                <a:pos x="62" y="417"/>
              </a:cxn>
              <a:cxn ang="0">
                <a:pos x="54" y="418"/>
              </a:cxn>
              <a:cxn ang="0">
                <a:pos x="54" y="418"/>
              </a:cxn>
              <a:cxn ang="0">
                <a:pos x="17" y="425"/>
              </a:cxn>
              <a:cxn ang="0">
                <a:pos x="10" y="409"/>
              </a:cxn>
              <a:cxn ang="0">
                <a:pos x="5" y="413"/>
              </a:cxn>
              <a:cxn ang="0">
                <a:pos x="3" y="418"/>
              </a:cxn>
              <a:cxn ang="0">
                <a:pos x="12" y="421"/>
              </a:cxn>
              <a:cxn ang="0">
                <a:pos x="18" y="415"/>
              </a:cxn>
              <a:cxn ang="0">
                <a:pos x="131" y="216"/>
              </a:cxn>
              <a:cxn ang="0">
                <a:pos x="137" y="219"/>
              </a:cxn>
              <a:cxn ang="0">
                <a:pos x="43" y="293"/>
              </a:cxn>
              <a:cxn ang="0">
                <a:pos x="48" y="294"/>
              </a:cxn>
            </a:cxnLst>
            <a:rect l="0" t="0" r="r" b="b"/>
            <a:pathLst>
              <a:path w="301" h="435">
                <a:moveTo>
                  <a:pt x="89" y="85"/>
                </a:moveTo>
                <a:cubicBezTo>
                  <a:pt x="88" y="85"/>
                  <a:pt x="89" y="85"/>
                  <a:pt x="89" y="85"/>
                </a:cubicBezTo>
                <a:close/>
                <a:moveTo>
                  <a:pt x="290" y="297"/>
                </a:moveTo>
                <a:cubicBezTo>
                  <a:pt x="287" y="289"/>
                  <a:pt x="270" y="284"/>
                  <a:pt x="261" y="276"/>
                </a:cubicBezTo>
                <a:cubicBezTo>
                  <a:pt x="253" y="268"/>
                  <a:pt x="273" y="270"/>
                  <a:pt x="273" y="257"/>
                </a:cubicBezTo>
                <a:cubicBezTo>
                  <a:pt x="274" y="249"/>
                  <a:pt x="257" y="249"/>
                  <a:pt x="260" y="245"/>
                </a:cubicBezTo>
                <a:cubicBezTo>
                  <a:pt x="263" y="240"/>
                  <a:pt x="255" y="241"/>
                  <a:pt x="262" y="236"/>
                </a:cubicBezTo>
                <a:cubicBezTo>
                  <a:pt x="269" y="231"/>
                  <a:pt x="251" y="229"/>
                  <a:pt x="249" y="222"/>
                </a:cubicBezTo>
                <a:cubicBezTo>
                  <a:pt x="247" y="215"/>
                  <a:pt x="261" y="216"/>
                  <a:pt x="252" y="211"/>
                </a:cubicBezTo>
                <a:cubicBezTo>
                  <a:pt x="246" y="208"/>
                  <a:pt x="253" y="210"/>
                  <a:pt x="252" y="203"/>
                </a:cubicBezTo>
                <a:cubicBezTo>
                  <a:pt x="252" y="196"/>
                  <a:pt x="258" y="200"/>
                  <a:pt x="254" y="196"/>
                </a:cubicBezTo>
                <a:cubicBezTo>
                  <a:pt x="250" y="191"/>
                  <a:pt x="253" y="191"/>
                  <a:pt x="260" y="193"/>
                </a:cubicBezTo>
                <a:cubicBezTo>
                  <a:pt x="268" y="194"/>
                  <a:pt x="246" y="151"/>
                  <a:pt x="237" y="144"/>
                </a:cubicBezTo>
                <a:cubicBezTo>
                  <a:pt x="228" y="137"/>
                  <a:pt x="250" y="121"/>
                  <a:pt x="257" y="112"/>
                </a:cubicBezTo>
                <a:cubicBezTo>
                  <a:pt x="265" y="103"/>
                  <a:pt x="255" y="107"/>
                  <a:pt x="246" y="93"/>
                </a:cubicBezTo>
                <a:cubicBezTo>
                  <a:pt x="237" y="79"/>
                  <a:pt x="231" y="98"/>
                  <a:pt x="223" y="76"/>
                </a:cubicBezTo>
                <a:cubicBezTo>
                  <a:pt x="218" y="61"/>
                  <a:pt x="231" y="64"/>
                  <a:pt x="229" y="58"/>
                </a:cubicBezTo>
                <a:cubicBezTo>
                  <a:pt x="226" y="51"/>
                  <a:pt x="210" y="59"/>
                  <a:pt x="232" y="47"/>
                </a:cubicBezTo>
                <a:cubicBezTo>
                  <a:pt x="217" y="40"/>
                  <a:pt x="245" y="32"/>
                  <a:pt x="240" y="25"/>
                </a:cubicBezTo>
                <a:cubicBezTo>
                  <a:pt x="236" y="18"/>
                  <a:pt x="215" y="12"/>
                  <a:pt x="211" y="6"/>
                </a:cubicBezTo>
                <a:cubicBezTo>
                  <a:pt x="206" y="0"/>
                  <a:pt x="204" y="1"/>
                  <a:pt x="197" y="4"/>
                </a:cubicBezTo>
                <a:cubicBezTo>
                  <a:pt x="177" y="14"/>
                  <a:pt x="179" y="3"/>
                  <a:pt x="170" y="9"/>
                </a:cubicBezTo>
                <a:cubicBezTo>
                  <a:pt x="161" y="15"/>
                  <a:pt x="155" y="22"/>
                  <a:pt x="156" y="29"/>
                </a:cubicBezTo>
                <a:cubicBezTo>
                  <a:pt x="156" y="36"/>
                  <a:pt x="150" y="38"/>
                  <a:pt x="154" y="45"/>
                </a:cubicBezTo>
                <a:cubicBezTo>
                  <a:pt x="161" y="56"/>
                  <a:pt x="143" y="49"/>
                  <a:pt x="140" y="58"/>
                </a:cubicBezTo>
                <a:cubicBezTo>
                  <a:pt x="137" y="67"/>
                  <a:pt x="135" y="66"/>
                  <a:pt x="132" y="68"/>
                </a:cubicBezTo>
                <a:cubicBezTo>
                  <a:pt x="124" y="60"/>
                  <a:pt x="114" y="58"/>
                  <a:pt x="109" y="57"/>
                </a:cubicBezTo>
                <a:cubicBezTo>
                  <a:pt x="104" y="55"/>
                  <a:pt x="107" y="62"/>
                  <a:pt x="96" y="64"/>
                </a:cubicBezTo>
                <a:cubicBezTo>
                  <a:pt x="85" y="67"/>
                  <a:pt x="94" y="61"/>
                  <a:pt x="78" y="61"/>
                </a:cubicBezTo>
                <a:cubicBezTo>
                  <a:pt x="62" y="62"/>
                  <a:pt x="76" y="60"/>
                  <a:pt x="66" y="50"/>
                </a:cubicBezTo>
                <a:cubicBezTo>
                  <a:pt x="55" y="39"/>
                  <a:pt x="46" y="31"/>
                  <a:pt x="39" y="37"/>
                </a:cubicBezTo>
                <a:cubicBezTo>
                  <a:pt x="35" y="41"/>
                  <a:pt x="40" y="45"/>
                  <a:pt x="39" y="47"/>
                </a:cubicBezTo>
                <a:cubicBezTo>
                  <a:pt x="37" y="49"/>
                  <a:pt x="30" y="42"/>
                  <a:pt x="27" y="47"/>
                </a:cubicBezTo>
                <a:cubicBezTo>
                  <a:pt x="38" y="51"/>
                  <a:pt x="24" y="48"/>
                  <a:pt x="37" y="56"/>
                </a:cubicBezTo>
                <a:cubicBezTo>
                  <a:pt x="50" y="64"/>
                  <a:pt x="63" y="74"/>
                  <a:pt x="72" y="75"/>
                </a:cubicBezTo>
                <a:cubicBezTo>
                  <a:pt x="82" y="75"/>
                  <a:pt x="90" y="80"/>
                  <a:pt x="89" y="84"/>
                </a:cubicBezTo>
                <a:cubicBezTo>
                  <a:pt x="89" y="84"/>
                  <a:pt x="89" y="85"/>
                  <a:pt x="89" y="85"/>
                </a:cubicBezTo>
                <a:cubicBezTo>
                  <a:pt x="89" y="85"/>
                  <a:pt x="91" y="85"/>
                  <a:pt x="95" y="88"/>
                </a:cubicBezTo>
                <a:cubicBezTo>
                  <a:pt x="110" y="101"/>
                  <a:pt x="95" y="92"/>
                  <a:pt x="98" y="104"/>
                </a:cubicBezTo>
                <a:cubicBezTo>
                  <a:pt x="101" y="117"/>
                  <a:pt x="95" y="110"/>
                  <a:pt x="96" y="116"/>
                </a:cubicBezTo>
                <a:cubicBezTo>
                  <a:pt x="97" y="119"/>
                  <a:pt x="104" y="114"/>
                  <a:pt x="105" y="118"/>
                </a:cubicBezTo>
                <a:cubicBezTo>
                  <a:pt x="106" y="122"/>
                  <a:pt x="99" y="124"/>
                  <a:pt x="100" y="131"/>
                </a:cubicBezTo>
                <a:cubicBezTo>
                  <a:pt x="101" y="137"/>
                  <a:pt x="113" y="141"/>
                  <a:pt x="109" y="145"/>
                </a:cubicBezTo>
                <a:cubicBezTo>
                  <a:pt x="106" y="150"/>
                  <a:pt x="111" y="152"/>
                  <a:pt x="105" y="158"/>
                </a:cubicBezTo>
                <a:cubicBezTo>
                  <a:pt x="95" y="168"/>
                  <a:pt x="112" y="176"/>
                  <a:pt x="115" y="187"/>
                </a:cubicBezTo>
                <a:cubicBezTo>
                  <a:pt x="128" y="189"/>
                  <a:pt x="121" y="191"/>
                  <a:pt x="133" y="194"/>
                </a:cubicBezTo>
                <a:cubicBezTo>
                  <a:pt x="145" y="197"/>
                  <a:pt x="143" y="202"/>
                  <a:pt x="141" y="211"/>
                </a:cubicBezTo>
                <a:cubicBezTo>
                  <a:pt x="139" y="220"/>
                  <a:pt x="146" y="218"/>
                  <a:pt x="144" y="223"/>
                </a:cubicBezTo>
                <a:cubicBezTo>
                  <a:pt x="142" y="228"/>
                  <a:pt x="143" y="222"/>
                  <a:pt x="130" y="226"/>
                </a:cubicBezTo>
                <a:cubicBezTo>
                  <a:pt x="118" y="230"/>
                  <a:pt x="123" y="241"/>
                  <a:pt x="105" y="253"/>
                </a:cubicBezTo>
                <a:cubicBezTo>
                  <a:pt x="87" y="264"/>
                  <a:pt x="103" y="264"/>
                  <a:pt x="91" y="266"/>
                </a:cubicBezTo>
                <a:cubicBezTo>
                  <a:pt x="80" y="268"/>
                  <a:pt x="86" y="278"/>
                  <a:pt x="79" y="276"/>
                </a:cubicBezTo>
                <a:cubicBezTo>
                  <a:pt x="72" y="274"/>
                  <a:pt x="74" y="283"/>
                  <a:pt x="69" y="283"/>
                </a:cubicBezTo>
                <a:cubicBezTo>
                  <a:pt x="63" y="283"/>
                  <a:pt x="70" y="291"/>
                  <a:pt x="64" y="295"/>
                </a:cubicBezTo>
                <a:cubicBezTo>
                  <a:pt x="59" y="300"/>
                  <a:pt x="50" y="291"/>
                  <a:pt x="50" y="297"/>
                </a:cubicBezTo>
                <a:cubicBezTo>
                  <a:pt x="50" y="304"/>
                  <a:pt x="33" y="312"/>
                  <a:pt x="42" y="329"/>
                </a:cubicBezTo>
                <a:cubicBezTo>
                  <a:pt x="51" y="346"/>
                  <a:pt x="32" y="336"/>
                  <a:pt x="48" y="354"/>
                </a:cubicBezTo>
                <a:cubicBezTo>
                  <a:pt x="58" y="365"/>
                  <a:pt x="45" y="358"/>
                  <a:pt x="47" y="366"/>
                </a:cubicBezTo>
                <a:cubicBezTo>
                  <a:pt x="49" y="374"/>
                  <a:pt x="48" y="377"/>
                  <a:pt x="45" y="389"/>
                </a:cubicBezTo>
                <a:cubicBezTo>
                  <a:pt x="42" y="400"/>
                  <a:pt x="41" y="401"/>
                  <a:pt x="54" y="405"/>
                </a:cubicBezTo>
                <a:cubicBezTo>
                  <a:pt x="67" y="408"/>
                  <a:pt x="76" y="407"/>
                  <a:pt x="73" y="413"/>
                </a:cubicBezTo>
                <a:cubicBezTo>
                  <a:pt x="70" y="420"/>
                  <a:pt x="74" y="430"/>
                  <a:pt x="79" y="423"/>
                </a:cubicBezTo>
                <a:cubicBezTo>
                  <a:pt x="85" y="416"/>
                  <a:pt x="93" y="418"/>
                  <a:pt x="87" y="426"/>
                </a:cubicBezTo>
                <a:cubicBezTo>
                  <a:pt x="82" y="434"/>
                  <a:pt x="80" y="435"/>
                  <a:pt x="95" y="428"/>
                </a:cubicBezTo>
                <a:cubicBezTo>
                  <a:pt x="105" y="423"/>
                  <a:pt x="111" y="428"/>
                  <a:pt x="139" y="416"/>
                </a:cubicBezTo>
                <a:cubicBezTo>
                  <a:pt x="159" y="407"/>
                  <a:pt x="153" y="420"/>
                  <a:pt x="160" y="412"/>
                </a:cubicBezTo>
                <a:cubicBezTo>
                  <a:pt x="167" y="403"/>
                  <a:pt x="161" y="414"/>
                  <a:pt x="176" y="407"/>
                </a:cubicBezTo>
                <a:cubicBezTo>
                  <a:pt x="192" y="401"/>
                  <a:pt x="192" y="408"/>
                  <a:pt x="206" y="402"/>
                </a:cubicBezTo>
                <a:cubicBezTo>
                  <a:pt x="212" y="392"/>
                  <a:pt x="223" y="389"/>
                  <a:pt x="249" y="364"/>
                </a:cubicBezTo>
                <a:cubicBezTo>
                  <a:pt x="275" y="338"/>
                  <a:pt x="288" y="320"/>
                  <a:pt x="295" y="312"/>
                </a:cubicBezTo>
                <a:cubicBezTo>
                  <a:pt x="301" y="303"/>
                  <a:pt x="293" y="306"/>
                  <a:pt x="290" y="297"/>
                </a:cubicBezTo>
                <a:close/>
                <a:moveTo>
                  <a:pt x="63" y="413"/>
                </a:moveTo>
                <a:cubicBezTo>
                  <a:pt x="62" y="415"/>
                  <a:pt x="69" y="415"/>
                  <a:pt x="69" y="413"/>
                </a:cubicBezTo>
                <a:cubicBezTo>
                  <a:pt x="69" y="412"/>
                  <a:pt x="63" y="410"/>
                  <a:pt x="63" y="413"/>
                </a:cubicBezTo>
                <a:close/>
                <a:moveTo>
                  <a:pt x="57" y="407"/>
                </a:moveTo>
                <a:cubicBezTo>
                  <a:pt x="54" y="406"/>
                  <a:pt x="56" y="413"/>
                  <a:pt x="59" y="412"/>
                </a:cubicBezTo>
                <a:cubicBezTo>
                  <a:pt x="61" y="412"/>
                  <a:pt x="59" y="407"/>
                  <a:pt x="57" y="407"/>
                </a:cubicBezTo>
                <a:close/>
                <a:moveTo>
                  <a:pt x="49" y="420"/>
                </a:moveTo>
                <a:cubicBezTo>
                  <a:pt x="49" y="422"/>
                  <a:pt x="53" y="420"/>
                  <a:pt x="52" y="418"/>
                </a:cubicBezTo>
                <a:cubicBezTo>
                  <a:pt x="51" y="417"/>
                  <a:pt x="49" y="418"/>
                  <a:pt x="49" y="420"/>
                </a:cubicBezTo>
                <a:close/>
                <a:moveTo>
                  <a:pt x="60" y="419"/>
                </a:moveTo>
                <a:cubicBezTo>
                  <a:pt x="60" y="420"/>
                  <a:pt x="64" y="419"/>
                  <a:pt x="62" y="417"/>
                </a:cubicBezTo>
                <a:cubicBezTo>
                  <a:pt x="61" y="416"/>
                  <a:pt x="59" y="417"/>
                  <a:pt x="60" y="419"/>
                </a:cubicBezTo>
                <a:close/>
                <a:moveTo>
                  <a:pt x="54" y="418"/>
                </a:moveTo>
                <a:cubicBezTo>
                  <a:pt x="54" y="420"/>
                  <a:pt x="58" y="418"/>
                  <a:pt x="57" y="417"/>
                </a:cubicBezTo>
                <a:cubicBezTo>
                  <a:pt x="57" y="415"/>
                  <a:pt x="54" y="417"/>
                  <a:pt x="54" y="418"/>
                </a:cubicBezTo>
                <a:close/>
                <a:moveTo>
                  <a:pt x="13" y="421"/>
                </a:moveTo>
                <a:cubicBezTo>
                  <a:pt x="12" y="422"/>
                  <a:pt x="16" y="427"/>
                  <a:pt x="17" y="425"/>
                </a:cubicBezTo>
                <a:cubicBezTo>
                  <a:pt x="18" y="423"/>
                  <a:pt x="14" y="420"/>
                  <a:pt x="13" y="421"/>
                </a:cubicBezTo>
                <a:close/>
                <a:moveTo>
                  <a:pt x="10" y="409"/>
                </a:moveTo>
                <a:cubicBezTo>
                  <a:pt x="1" y="406"/>
                  <a:pt x="11" y="411"/>
                  <a:pt x="9" y="415"/>
                </a:cubicBezTo>
                <a:cubicBezTo>
                  <a:pt x="6" y="419"/>
                  <a:pt x="7" y="411"/>
                  <a:pt x="5" y="413"/>
                </a:cubicBezTo>
                <a:cubicBezTo>
                  <a:pt x="4" y="415"/>
                  <a:pt x="0" y="414"/>
                  <a:pt x="0" y="418"/>
                </a:cubicBezTo>
                <a:cubicBezTo>
                  <a:pt x="0" y="421"/>
                  <a:pt x="2" y="418"/>
                  <a:pt x="3" y="418"/>
                </a:cubicBezTo>
                <a:cubicBezTo>
                  <a:pt x="4" y="418"/>
                  <a:pt x="4" y="420"/>
                  <a:pt x="8" y="422"/>
                </a:cubicBezTo>
                <a:cubicBezTo>
                  <a:pt x="9" y="422"/>
                  <a:pt x="10" y="423"/>
                  <a:pt x="12" y="421"/>
                </a:cubicBezTo>
                <a:cubicBezTo>
                  <a:pt x="14" y="420"/>
                  <a:pt x="11" y="418"/>
                  <a:pt x="13" y="416"/>
                </a:cubicBezTo>
                <a:cubicBezTo>
                  <a:pt x="14" y="415"/>
                  <a:pt x="15" y="419"/>
                  <a:pt x="18" y="415"/>
                </a:cubicBezTo>
                <a:cubicBezTo>
                  <a:pt x="22" y="411"/>
                  <a:pt x="18" y="412"/>
                  <a:pt x="10" y="409"/>
                </a:cubicBezTo>
                <a:close/>
                <a:moveTo>
                  <a:pt x="131" y="216"/>
                </a:moveTo>
                <a:cubicBezTo>
                  <a:pt x="125" y="215"/>
                  <a:pt x="125" y="222"/>
                  <a:pt x="129" y="222"/>
                </a:cubicBezTo>
                <a:cubicBezTo>
                  <a:pt x="134" y="222"/>
                  <a:pt x="132" y="219"/>
                  <a:pt x="137" y="219"/>
                </a:cubicBezTo>
                <a:cubicBezTo>
                  <a:pt x="142" y="219"/>
                  <a:pt x="136" y="217"/>
                  <a:pt x="131" y="216"/>
                </a:cubicBezTo>
                <a:close/>
                <a:moveTo>
                  <a:pt x="43" y="293"/>
                </a:moveTo>
                <a:cubicBezTo>
                  <a:pt x="41" y="292"/>
                  <a:pt x="38" y="293"/>
                  <a:pt x="43" y="297"/>
                </a:cubicBezTo>
                <a:cubicBezTo>
                  <a:pt x="44" y="298"/>
                  <a:pt x="46" y="297"/>
                  <a:pt x="48" y="294"/>
                </a:cubicBezTo>
                <a:cubicBezTo>
                  <a:pt x="50" y="291"/>
                  <a:pt x="45" y="293"/>
                  <a:pt x="43" y="293"/>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38" name="Freeform 47"/>
          <p:cNvSpPr>
            <a:spLocks noEditPoints="1"/>
          </p:cNvSpPr>
          <p:nvPr/>
        </p:nvSpPr>
        <p:spPr bwMode="auto">
          <a:xfrm>
            <a:off x="6089872" y="2594858"/>
            <a:ext cx="907303" cy="1297260"/>
          </a:xfrm>
          <a:custGeom>
            <a:avLst/>
            <a:gdLst/>
            <a:ahLst/>
            <a:cxnLst>
              <a:cxn ang="0">
                <a:pos x="234" y="355"/>
              </a:cxn>
              <a:cxn ang="0">
                <a:pos x="240" y="374"/>
              </a:cxn>
              <a:cxn ang="0">
                <a:pos x="181" y="384"/>
              </a:cxn>
              <a:cxn ang="0">
                <a:pos x="127" y="391"/>
              </a:cxn>
              <a:cxn ang="0">
                <a:pos x="83" y="414"/>
              </a:cxn>
              <a:cxn ang="0">
                <a:pos x="96" y="385"/>
              </a:cxn>
              <a:cxn ang="0">
                <a:pos x="148" y="355"/>
              </a:cxn>
              <a:cxn ang="0">
                <a:pos x="105" y="355"/>
              </a:cxn>
              <a:cxn ang="0">
                <a:pos x="102" y="333"/>
              </a:cxn>
              <a:cxn ang="0">
                <a:pos x="95" y="309"/>
              </a:cxn>
              <a:cxn ang="0">
                <a:pos x="133" y="292"/>
              </a:cxn>
              <a:cxn ang="0">
                <a:pos x="140" y="266"/>
              </a:cxn>
              <a:cxn ang="0">
                <a:pos x="131" y="231"/>
              </a:cxn>
              <a:cxn ang="0">
                <a:pos x="100" y="239"/>
              </a:cxn>
              <a:cxn ang="0">
                <a:pos x="94" y="205"/>
              </a:cxn>
              <a:cxn ang="0">
                <a:pos x="78" y="189"/>
              </a:cxn>
              <a:cxn ang="0">
                <a:pos x="71" y="197"/>
              </a:cxn>
              <a:cxn ang="0">
                <a:pos x="75" y="168"/>
              </a:cxn>
              <a:cxn ang="0">
                <a:pos x="61" y="160"/>
              </a:cxn>
              <a:cxn ang="0">
                <a:pos x="67" y="136"/>
              </a:cxn>
              <a:cxn ang="0">
                <a:pos x="79" y="105"/>
              </a:cxn>
              <a:cxn ang="0">
                <a:pos x="104" y="91"/>
              </a:cxn>
              <a:cxn ang="0">
                <a:pos x="111" y="119"/>
              </a:cxn>
              <a:cxn ang="0">
                <a:pos x="165" y="129"/>
              </a:cxn>
              <a:cxn ang="0">
                <a:pos x="145" y="182"/>
              </a:cxn>
              <a:cxn ang="0">
                <a:pos x="167" y="204"/>
              </a:cxn>
              <a:cxn ang="0">
                <a:pos x="211" y="274"/>
              </a:cxn>
              <a:cxn ang="0">
                <a:pos x="214" y="308"/>
              </a:cxn>
              <a:cxn ang="0">
                <a:pos x="66" y="240"/>
              </a:cxn>
              <a:cxn ang="0">
                <a:pos x="32" y="227"/>
              </a:cxn>
              <a:cxn ang="0">
                <a:pos x="41" y="254"/>
              </a:cxn>
              <a:cxn ang="0">
                <a:pos x="73" y="255"/>
              </a:cxn>
              <a:cxn ang="0">
                <a:pos x="71" y="240"/>
              </a:cxn>
              <a:cxn ang="0">
                <a:pos x="98" y="290"/>
              </a:cxn>
              <a:cxn ang="0">
                <a:pos x="84" y="212"/>
              </a:cxn>
              <a:cxn ang="0">
                <a:pos x="174" y="390"/>
              </a:cxn>
              <a:cxn ang="0">
                <a:pos x="43" y="106"/>
              </a:cxn>
              <a:cxn ang="0">
                <a:pos x="36" y="122"/>
              </a:cxn>
              <a:cxn ang="0">
                <a:pos x="53" y="110"/>
              </a:cxn>
              <a:cxn ang="0">
                <a:pos x="34" y="125"/>
              </a:cxn>
              <a:cxn ang="0">
                <a:pos x="31" y="137"/>
              </a:cxn>
              <a:cxn ang="0">
                <a:pos x="62" y="141"/>
              </a:cxn>
              <a:cxn ang="0">
                <a:pos x="48" y="134"/>
              </a:cxn>
              <a:cxn ang="0">
                <a:pos x="62" y="145"/>
              </a:cxn>
              <a:cxn ang="0">
                <a:pos x="64" y="170"/>
              </a:cxn>
              <a:cxn ang="0">
                <a:pos x="54" y="180"/>
              </a:cxn>
              <a:cxn ang="0">
                <a:pos x="50" y="202"/>
              </a:cxn>
              <a:cxn ang="0">
                <a:pos x="60" y="194"/>
              </a:cxn>
              <a:cxn ang="0">
                <a:pos x="62" y="197"/>
              </a:cxn>
              <a:cxn ang="0">
                <a:pos x="141" y="75"/>
              </a:cxn>
              <a:cxn ang="0">
                <a:pos x="138" y="77"/>
              </a:cxn>
              <a:cxn ang="0">
                <a:pos x="138" y="84"/>
              </a:cxn>
              <a:cxn ang="0">
                <a:pos x="148" y="61"/>
              </a:cxn>
              <a:cxn ang="0">
                <a:pos x="144" y="69"/>
              </a:cxn>
              <a:cxn ang="0">
                <a:pos x="182" y="17"/>
              </a:cxn>
              <a:cxn ang="0">
                <a:pos x="178" y="20"/>
              </a:cxn>
              <a:cxn ang="0">
                <a:pos x="179" y="40"/>
              </a:cxn>
              <a:cxn ang="0">
                <a:pos x="182" y="17"/>
              </a:cxn>
              <a:cxn ang="0">
                <a:pos x="185" y="9"/>
              </a:cxn>
              <a:cxn ang="0">
                <a:pos x="189" y="0"/>
              </a:cxn>
            </a:cxnLst>
            <a:rect l="0" t="0" r="r" b="b"/>
            <a:pathLst>
              <a:path w="256" h="416">
                <a:moveTo>
                  <a:pt x="255" y="321"/>
                </a:moveTo>
                <a:cubicBezTo>
                  <a:pt x="256" y="342"/>
                  <a:pt x="238" y="341"/>
                  <a:pt x="243" y="345"/>
                </a:cubicBezTo>
                <a:cubicBezTo>
                  <a:pt x="248" y="350"/>
                  <a:pt x="237" y="345"/>
                  <a:pt x="233" y="349"/>
                </a:cubicBezTo>
                <a:cubicBezTo>
                  <a:pt x="229" y="353"/>
                  <a:pt x="237" y="348"/>
                  <a:pt x="234" y="355"/>
                </a:cubicBezTo>
                <a:cubicBezTo>
                  <a:pt x="232" y="359"/>
                  <a:pt x="220" y="357"/>
                  <a:pt x="225" y="360"/>
                </a:cubicBezTo>
                <a:cubicBezTo>
                  <a:pt x="231" y="362"/>
                  <a:pt x="223" y="361"/>
                  <a:pt x="231" y="364"/>
                </a:cubicBezTo>
                <a:cubicBezTo>
                  <a:pt x="235" y="366"/>
                  <a:pt x="248" y="360"/>
                  <a:pt x="246" y="363"/>
                </a:cubicBezTo>
                <a:cubicBezTo>
                  <a:pt x="244" y="367"/>
                  <a:pt x="249" y="371"/>
                  <a:pt x="240" y="374"/>
                </a:cubicBezTo>
                <a:cubicBezTo>
                  <a:pt x="232" y="377"/>
                  <a:pt x="238" y="381"/>
                  <a:pt x="231" y="381"/>
                </a:cubicBezTo>
                <a:cubicBezTo>
                  <a:pt x="224" y="381"/>
                  <a:pt x="220" y="389"/>
                  <a:pt x="211" y="385"/>
                </a:cubicBezTo>
                <a:cubicBezTo>
                  <a:pt x="201" y="381"/>
                  <a:pt x="191" y="389"/>
                  <a:pt x="189" y="386"/>
                </a:cubicBezTo>
                <a:cubicBezTo>
                  <a:pt x="186" y="382"/>
                  <a:pt x="188" y="388"/>
                  <a:pt x="181" y="384"/>
                </a:cubicBezTo>
                <a:cubicBezTo>
                  <a:pt x="174" y="381"/>
                  <a:pt x="182" y="386"/>
                  <a:pt x="170" y="387"/>
                </a:cubicBezTo>
                <a:cubicBezTo>
                  <a:pt x="158" y="389"/>
                  <a:pt x="167" y="394"/>
                  <a:pt x="157" y="392"/>
                </a:cubicBezTo>
                <a:cubicBezTo>
                  <a:pt x="148" y="390"/>
                  <a:pt x="154" y="398"/>
                  <a:pt x="146" y="390"/>
                </a:cubicBezTo>
                <a:cubicBezTo>
                  <a:pt x="138" y="382"/>
                  <a:pt x="131" y="393"/>
                  <a:pt x="127" y="391"/>
                </a:cubicBezTo>
                <a:cubicBezTo>
                  <a:pt x="123" y="389"/>
                  <a:pt x="125" y="410"/>
                  <a:pt x="118" y="406"/>
                </a:cubicBezTo>
                <a:cubicBezTo>
                  <a:pt x="110" y="402"/>
                  <a:pt x="110" y="399"/>
                  <a:pt x="101" y="400"/>
                </a:cubicBezTo>
                <a:cubicBezTo>
                  <a:pt x="91" y="402"/>
                  <a:pt x="94" y="406"/>
                  <a:pt x="88" y="408"/>
                </a:cubicBezTo>
                <a:cubicBezTo>
                  <a:pt x="82" y="410"/>
                  <a:pt x="87" y="412"/>
                  <a:pt x="83" y="414"/>
                </a:cubicBezTo>
                <a:cubicBezTo>
                  <a:pt x="79" y="416"/>
                  <a:pt x="77" y="408"/>
                  <a:pt x="73" y="411"/>
                </a:cubicBezTo>
                <a:cubicBezTo>
                  <a:pt x="68" y="414"/>
                  <a:pt x="67" y="404"/>
                  <a:pt x="76" y="405"/>
                </a:cubicBezTo>
                <a:cubicBezTo>
                  <a:pt x="83" y="405"/>
                  <a:pt x="85" y="395"/>
                  <a:pt x="91" y="392"/>
                </a:cubicBezTo>
                <a:cubicBezTo>
                  <a:pt x="95" y="390"/>
                  <a:pt x="92" y="388"/>
                  <a:pt x="96" y="385"/>
                </a:cubicBezTo>
                <a:cubicBezTo>
                  <a:pt x="101" y="382"/>
                  <a:pt x="93" y="377"/>
                  <a:pt x="103" y="376"/>
                </a:cubicBezTo>
                <a:cubicBezTo>
                  <a:pt x="112" y="375"/>
                  <a:pt x="99" y="369"/>
                  <a:pt x="113" y="368"/>
                </a:cubicBezTo>
                <a:cubicBezTo>
                  <a:pt x="126" y="368"/>
                  <a:pt x="122" y="371"/>
                  <a:pt x="133" y="370"/>
                </a:cubicBezTo>
                <a:cubicBezTo>
                  <a:pt x="142" y="368"/>
                  <a:pt x="132" y="366"/>
                  <a:pt x="148" y="355"/>
                </a:cubicBezTo>
                <a:cubicBezTo>
                  <a:pt x="150" y="353"/>
                  <a:pt x="149" y="352"/>
                  <a:pt x="152" y="349"/>
                </a:cubicBezTo>
                <a:cubicBezTo>
                  <a:pt x="145" y="352"/>
                  <a:pt x="144" y="356"/>
                  <a:pt x="139" y="356"/>
                </a:cubicBezTo>
                <a:cubicBezTo>
                  <a:pt x="134" y="357"/>
                  <a:pt x="130" y="370"/>
                  <a:pt x="121" y="360"/>
                </a:cubicBezTo>
                <a:cubicBezTo>
                  <a:pt x="112" y="351"/>
                  <a:pt x="103" y="362"/>
                  <a:pt x="105" y="355"/>
                </a:cubicBezTo>
                <a:cubicBezTo>
                  <a:pt x="106" y="351"/>
                  <a:pt x="102" y="348"/>
                  <a:pt x="94" y="352"/>
                </a:cubicBezTo>
                <a:cubicBezTo>
                  <a:pt x="86" y="357"/>
                  <a:pt x="81" y="352"/>
                  <a:pt x="83" y="349"/>
                </a:cubicBezTo>
                <a:cubicBezTo>
                  <a:pt x="88" y="344"/>
                  <a:pt x="76" y="349"/>
                  <a:pt x="81" y="342"/>
                </a:cubicBezTo>
                <a:cubicBezTo>
                  <a:pt x="86" y="336"/>
                  <a:pt x="89" y="342"/>
                  <a:pt x="102" y="333"/>
                </a:cubicBezTo>
                <a:cubicBezTo>
                  <a:pt x="116" y="325"/>
                  <a:pt x="107" y="320"/>
                  <a:pt x="110" y="315"/>
                </a:cubicBezTo>
                <a:cubicBezTo>
                  <a:pt x="114" y="310"/>
                  <a:pt x="106" y="313"/>
                  <a:pt x="110" y="308"/>
                </a:cubicBezTo>
                <a:cubicBezTo>
                  <a:pt x="113" y="302"/>
                  <a:pt x="101" y="312"/>
                  <a:pt x="98" y="311"/>
                </a:cubicBezTo>
                <a:cubicBezTo>
                  <a:pt x="95" y="309"/>
                  <a:pt x="90" y="316"/>
                  <a:pt x="95" y="309"/>
                </a:cubicBezTo>
                <a:cubicBezTo>
                  <a:pt x="97" y="304"/>
                  <a:pt x="101" y="306"/>
                  <a:pt x="106" y="298"/>
                </a:cubicBezTo>
                <a:cubicBezTo>
                  <a:pt x="110" y="293"/>
                  <a:pt x="113" y="294"/>
                  <a:pt x="116" y="292"/>
                </a:cubicBezTo>
                <a:cubicBezTo>
                  <a:pt x="118" y="290"/>
                  <a:pt x="118" y="295"/>
                  <a:pt x="125" y="292"/>
                </a:cubicBezTo>
                <a:cubicBezTo>
                  <a:pt x="131" y="288"/>
                  <a:pt x="137" y="297"/>
                  <a:pt x="133" y="292"/>
                </a:cubicBezTo>
                <a:cubicBezTo>
                  <a:pt x="130" y="286"/>
                  <a:pt x="135" y="287"/>
                  <a:pt x="138" y="291"/>
                </a:cubicBezTo>
                <a:cubicBezTo>
                  <a:pt x="141" y="294"/>
                  <a:pt x="141" y="293"/>
                  <a:pt x="138" y="287"/>
                </a:cubicBezTo>
                <a:cubicBezTo>
                  <a:pt x="131" y="276"/>
                  <a:pt x="141" y="277"/>
                  <a:pt x="138" y="276"/>
                </a:cubicBezTo>
                <a:cubicBezTo>
                  <a:pt x="129" y="272"/>
                  <a:pt x="143" y="268"/>
                  <a:pt x="140" y="266"/>
                </a:cubicBezTo>
                <a:cubicBezTo>
                  <a:pt x="137" y="264"/>
                  <a:pt x="145" y="260"/>
                  <a:pt x="139" y="259"/>
                </a:cubicBezTo>
                <a:cubicBezTo>
                  <a:pt x="133" y="258"/>
                  <a:pt x="134" y="268"/>
                  <a:pt x="131" y="261"/>
                </a:cubicBezTo>
                <a:cubicBezTo>
                  <a:pt x="127" y="254"/>
                  <a:pt x="115" y="252"/>
                  <a:pt x="124" y="239"/>
                </a:cubicBezTo>
                <a:cubicBezTo>
                  <a:pt x="133" y="227"/>
                  <a:pt x="126" y="237"/>
                  <a:pt x="131" y="231"/>
                </a:cubicBezTo>
                <a:cubicBezTo>
                  <a:pt x="133" y="228"/>
                  <a:pt x="124" y="229"/>
                  <a:pt x="123" y="231"/>
                </a:cubicBezTo>
                <a:cubicBezTo>
                  <a:pt x="121" y="237"/>
                  <a:pt x="120" y="228"/>
                  <a:pt x="116" y="235"/>
                </a:cubicBezTo>
                <a:cubicBezTo>
                  <a:pt x="111" y="242"/>
                  <a:pt x="101" y="229"/>
                  <a:pt x="103" y="234"/>
                </a:cubicBezTo>
                <a:cubicBezTo>
                  <a:pt x="104" y="239"/>
                  <a:pt x="103" y="243"/>
                  <a:pt x="100" y="239"/>
                </a:cubicBezTo>
                <a:cubicBezTo>
                  <a:pt x="95" y="234"/>
                  <a:pt x="86" y="230"/>
                  <a:pt x="89" y="238"/>
                </a:cubicBezTo>
                <a:cubicBezTo>
                  <a:pt x="92" y="247"/>
                  <a:pt x="81" y="232"/>
                  <a:pt x="83" y="229"/>
                </a:cubicBezTo>
                <a:cubicBezTo>
                  <a:pt x="86" y="225"/>
                  <a:pt x="89" y="236"/>
                  <a:pt x="88" y="227"/>
                </a:cubicBezTo>
                <a:cubicBezTo>
                  <a:pt x="87" y="217"/>
                  <a:pt x="102" y="213"/>
                  <a:pt x="94" y="205"/>
                </a:cubicBezTo>
                <a:cubicBezTo>
                  <a:pt x="85" y="196"/>
                  <a:pt x="90" y="194"/>
                  <a:pt x="98" y="193"/>
                </a:cubicBezTo>
                <a:cubicBezTo>
                  <a:pt x="85" y="183"/>
                  <a:pt x="91" y="198"/>
                  <a:pt x="86" y="194"/>
                </a:cubicBezTo>
                <a:cubicBezTo>
                  <a:pt x="82" y="190"/>
                  <a:pt x="86" y="198"/>
                  <a:pt x="81" y="195"/>
                </a:cubicBezTo>
                <a:cubicBezTo>
                  <a:pt x="77" y="193"/>
                  <a:pt x="84" y="185"/>
                  <a:pt x="78" y="189"/>
                </a:cubicBezTo>
                <a:cubicBezTo>
                  <a:pt x="73" y="194"/>
                  <a:pt x="82" y="197"/>
                  <a:pt x="79" y="200"/>
                </a:cubicBezTo>
                <a:cubicBezTo>
                  <a:pt x="73" y="204"/>
                  <a:pt x="75" y="220"/>
                  <a:pt x="69" y="218"/>
                </a:cubicBezTo>
                <a:cubicBezTo>
                  <a:pt x="64" y="215"/>
                  <a:pt x="77" y="196"/>
                  <a:pt x="74" y="198"/>
                </a:cubicBezTo>
                <a:cubicBezTo>
                  <a:pt x="72" y="201"/>
                  <a:pt x="71" y="201"/>
                  <a:pt x="71" y="197"/>
                </a:cubicBezTo>
                <a:cubicBezTo>
                  <a:pt x="72" y="193"/>
                  <a:pt x="68" y="193"/>
                  <a:pt x="72" y="188"/>
                </a:cubicBezTo>
                <a:cubicBezTo>
                  <a:pt x="75" y="183"/>
                  <a:pt x="70" y="180"/>
                  <a:pt x="74" y="178"/>
                </a:cubicBezTo>
                <a:cubicBezTo>
                  <a:pt x="77" y="176"/>
                  <a:pt x="75" y="172"/>
                  <a:pt x="78" y="167"/>
                </a:cubicBezTo>
                <a:cubicBezTo>
                  <a:pt x="81" y="162"/>
                  <a:pt x="80" y="162"/>
                  <a:pt x="75" y="168"/>
                </a:cubicBezTo>
                <a:cubicBezTo>
                  <a:pt x="69" y="173"/>
                  <a:pt x="71" y="168"/>
                  <a:pt x="67" y="169"/>
                </a:cubicBezTo>
                <a:cubicBezTo>
                  <a:pt x="64" y="169"/>
                  <a:pt x="60" y="166"/>
                  <a:pt x="65" y="165"/>
                </a:cubicBezTo>
                <a:cubicBezTo>
                  <a:pt x="70" y="165"/>
                  <a:pt x="74" y="162"/>
                  <a:pt x="64" y="164"/>
                </a:cubicBezTo>
                <a:cubicBezTo>
                  <a:pt x="53" y="165"/>
                  <a:pt x="57" y="159"/>
                  <a:pt x="61" y="160"/>
                </a:cubicBezTo>
                <a:cubicBezTo>
                  <a:pt x="65" y="162"/>
                  <a:pt x="70" y="157"/>
                  <a:pt x="67" y="156"/>
                </a:cubicBezTo>
                <a:cubicBezTo>
                  <a:pt x="61" y="156"/>
                  <a:pt x="71" y="154"/>
                  <a:pt x="69" y="151"/>
                </a:cubicBezTo>
                <a:cubicBezTo>
                  <a:pt x="66" y="148"/>
                  <a:pt x="69" y="150"/>
                  <a:pt x="72" y="144"/>
                </a:cubicBezTo>
                <a:cubicBezTo>
                  <a:pt x="75" y="137"/>
                  <a:pt x="68" y="142"/>
                  <a:pt x="67" y="136"/>
                </a:cubicBezTo>
                <a:cubicBezTo>
                  <a:pt x="66" y="126"/>
                  <a:pt x="71" y="128"/>
                  <a:pt x="68" y="122"/>
                </a:cubicBezTo>
                <a:cubicBezTo>
                  <a:pt x="65" y="116"/>
                  <a:pt x="72" y="118"/>
                  <a:pt x="76" y="118"/>
                </a:cubicBezTo>
                <a:cubicBezTo>
                  <a:pt x="80" y="118"/>
                  <a:pt x="80" y="114"/>
                  <a:pt x="77" y="111"/>
                </a:cubicBezTo>
                <a:cubicBezTo>
                  <a:pt x="74" y="108"/>
                  <a:pt x="86" y="113"/>
                  <a:pt x="79" y="105"/>
                </a:cubicBezTo>
                <a:cubicBezTo>
                  <a:pt x="74" y="99"/>
                  <a:pt x="91" y="109"/>
                  <a:pt x="85" y="102"/>
                </a:cubicBezTo>
                <a:cubicBezTo>
                  <a:pt x="78" y="94"/>
                  <a:pt x="88" y="101"/>
                  <a:pt x="86" y="94"/>
                </a:cubicBezTo>
                <a:cubicBezTo>
                  <a:pt x="85" y="87"/>
                  <a:pt x="89" y="88"/>
                  <a:pt x="94" y="91"/>
                </a:cubicBezTo>
                <a:cubicBezTo>
                  <a:pt x="98" y="94"/>
                  <a:pt x="98" y="89"/>
                  <a:pt x="104" y="91"/>
                </a:cubicBezTo>
                <a:cubicBezTo>
                  <a:pt x="109" y="94"/>
                  <a:pt x="117" y="88"/>
                  <a:pt x="123" y="89"/>
                </a:cubicBezTo>
                <a:cubicBezTo>
                  <a:pt x="129" y="90"/>
                  <a:pt x="122" y="86"/>
                  <a:pt x="132" y="87"/>
                </a:cubicBezTo>
                <a:cubicBezTo>
                  <a:pt x="141" y="87"/>
                  <a:pt x="133" y="91"/>
                  <a:pt x="136" y="94"/>
                </a:cubicBezTo>
                <a:cubicBezTo>
                  <a:pt x="139" y="98"/>
                  <a:pt x="116" y="116"/>
                  <a:pt x="111" y="119"/>
                </a:cubicBezTo>
                <a:cubicBezTo>
                  <a:pt x="107" y="122"/>
                  <a:pt x="121" y="117"/>
                  <a:pt x="117" y="121"/>
                </a:cubicBezTo>
                <a:cubicBezTo>
                  <a:pt x="113" y="126"/>
                  <a:pt x="107" y="131"/>
                  <a:pt x="113" y="130"/>
                </a:cubicBezTo>
                <a:cubicBezTo>
                  <a:pt x="119" y="128"/>
                  <a:pt x="120" y="122"/>
                  <a:pt x="137" y="125"/>
                </a:cubicBezTo>
                <a:cubicBezTo>
                  <a:pt x="154" y="127"/>
                  <a:pt x="161" y="121"/>
                  <a:pt x="165" y="129"/>
                </a:cubicBezTo>
                <a:cubicBezTo>
                  <a:pt x="170" y="136"/>
                  <a:pt x="164" y="133"/>
                  <a:pt x="156" y="153"/>
                </a:cubicBezTo>
                <a:cubicBezTo>
                  <a:pt x="149" y="174"/>
                  <a:pt x="145" y="174"/>
                  <a:pt x="140" y="172"/>
                </a:cubicBezTo>
                <a:cubicBezTo>
                  <a:pt x="135" y="171"/>
                  <a:pt x="142" y="173"/>
                  <a:pt x="141" y="176"/>
                </a:cubicBezTo>
                <a:cubicBezTo>
                  <a:pt x="140" y="178"/>
                  <a:pt x="152" y="178"/>
                  <a:pt x="145" y="182"/>
                </a:cubicBezTo>
                <a:cubicBezTo>
                  <a:pt x="138" y="185"/>
                  <a:pt x="138" y="181"/>
                  <a:pt x="136" y="185"/>
                </a:cubicBezTo>
                <a:cubicBezTo>
                  <a:pt x="134" y="190"/>
                  <a:pt x="122" y="190"/>
                  <a:pt x="130" y="191"/>
                </a:cubicBezTo>
                <a:cubicBezTo>
                  <a:pt x="144" y="194"/>
                  <a:pt x="135" y="184"/>
                  <a:pt x="150" y="190"/>
                </a:cubicBezTo>
                <a:cubicBezTo>
                  <a:pt x="164" y="196"/>
                  <a:pt x="161" y="200"/>
                  <a:pt x="167" y="204"/>
                </a:cubicBezTo>
                <a:cubicBezTo>
                  <a:pt x="174" y="209"/>
                  <a:pt x="169" y="214"/>
                  <a:pt x="177" y="231"/>
                </a:cubicBezTo>
                <a:cubicBezTo>
                  <a:pt x="184" y="247"/>
                  <a:pt x="181" y="242"/>
                  <a:pt x="191" y="246"/>
                </a:cubicBezTo>
                <a:cubicBezTo>
                  <a:pt x="202" y="249"/>
                  <a:pt x="197" y="256"/>
                  <a:pt x="205" y="258"/>
                </a:cubicBezTo>
                <a:cubicBezTo>
                  <a:pt x="212" y="261"/>
                  <a:pt x="203" y="264"/>
                  <a:pt x="211" y="274"/>
                </a:cubicBezTo>
                <a:cubicBezTo>
                  <a:pt x="219" y="283"/>
                  <a:pt x="214" y="283"/>
                  <a:pt x="208" y="279"/>
                </a:cubicBezTo>
                <a:cubicBezTo>
                  <a:pt x="201" y="274"/>
                  <a:pt x="200" y="277"/>
                  <a:pt x="208" y="282"/>
                </a:cubicBezTo>
                <a:cubicBezTo>
                  <a:pt x="217" y="287"/>
                  <a:pt x="224" y="299"/>
                  <a:pt x="218" y="301"/>
                </a:cubicBezTo>
                <a:cubicBezTo>
                  <a:pt x="213" y="304"/>
                  <a:pt x="209" y="308"/>
                  <a:pt x="214" y="308"/>
                </a:cubicBezTo>
                <a:cubicBezTo>
                  <a:pt x="218" y="308"/>
                  <a:pt x="218" y="315"/>
                  <a:pt x="223" y="307"/>
                </a:cubicBezTo>
                <a:cubicBezTo>
                  <a:pt x="227" y="299"/>
                  <a:pt x="254" y="304"/>
                  <a:pt x="255" y="321"/>
                </a:cubicBezTo>
                <a:close/>
                <a:moveTo>
                  <a:pt x="71" y="240"/>
                </a:moveTo>
                <a:cubicBezTo>
                  <a:pt x="68" y="242"/>
                  <a:pt x="61" y="242"/>
                  <a:pt x="66" y="240"/>
                </a:cubicBezTo>
                <a:cubicBezTo>
                  <a:pt x="71" y="237"/>
                  <a:pt x="72" y="234"/>
                  <a:pt x="68" y="234"/>
                </a:cubicBezTo>
                <a:cubicBezTo>
                  <a:pt x="65" y="234"/>
                  <a:pt x="64" y="226"/>
                  <a:pt x="60" y="221"/>
                </a:cubicBezTo>
                <a:cubicBezTo>
                  <a:pt x="57" y="217"/>
                  <a:pt x="48" y="222"/>
                  <a:pt x="42" y="222"/>
                </a:cubicBezTo>
                <a:cubicBezTo>
                  <a:pt x="36" y="222"/>
                  <a:pt x="41" y="226"/>
                  <a:pt x="32" y="227"/>
                </a:cubicBezTo>
                <a:cubicBezTo>
                  <a:pt x="23" y="230"/>
                  <a:pt x="31" y="238"/>
                  <a:pt x="21" y="239"/>
                </a:cubicBezTo>
                <a:cubicBezTo>
                  <a:pt x="11" y="240"/>
                  <a:pt x="26" y="241"/>
                  <a:pt x="14" y="246"/>
                </a:cubicBezTo>
                <a:cubicBezTo>
                  <a:pt x="0" y="252"/>
                  <a:pt x="33" y="266"/>
                  <a:pt x="34" y="258"/>
                </a:cubicBezTo>
                <a:cubicBezTo>
                  <a:pt x="34" y="252"/>
                  <a:pt x="39" y="246"/>
                  <a:pt x="41" y="254"/>
                </a:cubicBezTo>
                <a:cubicBezTo>
                  <a:pt x="43" y="261"/>
                  <a:pt x="46" y="257"/>
                  <a:pt x="47" y="262"/>
                </a:cubicBezTo>
                <a:cubicBezTo>
                  <a:pt x="48" y="268"/>
                  <a:pt x="48" y="264"/>
                  <a:pt x="56" y="262"/>
                </a:cubicBezTo>
                <a:cubicBezTo>
                  <a:pt x="63" y="261"/>
                  <a:pt x="59" y="270"/>
                  <a:pt x="66" y="260"/>
                </a:cubicBezTo>
                <a:cubicBezTo>
                  <a:pt x="70" y="254"/>
                  <a:pt x="73" y="258"/>
                  <a:pt x="73" y="255"/>
                </a:cubicBezTo>
                <a:cubicBezTo>
                  <a:pt x="73" y="251"/>
                  <a:pt x="68" y="254"/>
                  <a:pt x="70" y="252"/>
                </a:cubicBezTo>
                <a:cubicBezTo>
                  <a:pt x="72" y="250"/>
                  <a:pt x="72" y="243"/>
                  <a:pt x="73" y="247"/>
                </a:cubicBezTo>
                <a:cubicBezTo>
                  <a:pt x="74" y="252"/>
                  <a:pt x="76" y="254"/>
                  <a:pt x="77" y="250"/>
                </a:cubicBezTo>
                <a:cubicBezTo>
                  <a:pt x="78" y="247"/>
                  <a:pt x="75" y="239"/>
                  <a:pt x="71" y="240"/>
                </a:cubicBezTo>
                <a:close/>
                <a:moveTo>
                  <a:pt x="95" y="264"/>
                </a:moveTo>
                <a:cubicBezTo>
                  <a:pt x="101" y="266"/>
                  <a:pt x="107" y="255"/>
                  <a:pt x="102" y="251"/>
                </a:cubicBezTo>
                <a:cubicBezTo>
                  <a:pt x="101" y="249"/>
                  <a:pt x="89" y="263"/>
                  <a:pt x="95" y="264"/>
                </a:cubicBezTo>
                <a:close/>
                <a:moveTo>
                  <a:pt x="98" y="290"/>
                </a:moveTo>
                <a:cubicBezTo>
                  <a:pt x="95" y="294"/>
                  <a:pt x="102" y="300"/>
                  <a:pt x="106" y="294"/>
                </a:cubicBezTo>
                <a:cubicBezTo>
                  <a:pt x="110" y="289"/>
                  <a:pt x="102" y="283"/>
                  <a:pt x="98" y="290"/>
                </a:cubicBezTo>
                <a:close/>
                <a:moveTo>
                  <a:pt x="79" y="203"/>
                </a:moveTo>
                <a:cubicBezTo>
                  <a:pt x="77" y="208"/>
                  <a:pt x="79" y="212"/>
                  <a:pt x="84" y="212"/>
                </a:cubicBezTo>
                <a:cubicBezTo>
                  <a:pt x="88" y="212"/>
                  <a:pt x="82" y="198"/>
                  <a:pt x="79" y="203"/>
                </a:cubicBezTo>
                <a:close/>
                <a:moveTo>
                  <a:pt x="174" y="390"/>
                </a:moveTo>
                <a:cubicBezTo>
                  <a:pt x="181" y="396"/>
                  <a:pt x="187" y="392"/>
                  <a:pt x="184" y="389"/>
                </a:cubicBezTo>
                <a:cubicBezTo>
                  <a:pt x="181" y="387"/>
                  <a:pt x="179" y="387"/>
                  <a:pt x="174" y="390"/>
                </a:cubicBezTo>
                <a:close/>
                <a:moveTo>
                  <a:pt x="56" y="102"/>
                </a:moveTo>
                <a:cubicBezTo>
                  <a:pt x="59" y="100"/>
                  <a:pt x="59" y="94"/>
                  <a:pt x="58" y="93"/>
                </a:cubicBezTo>
                <a:cubicBezTo>
                  <a:pt x="57" y="92"/>
                  <a:pt x="51" y="97"/>
                  <a:pt x="44" y="100"/>
                </a:cubicBezTo>
                <a:cubicBezTo>
                  <a:pt x="42" y="101"/>
                  <a:pt x="45" y="104"/>
                  <a:pt x="43" y="106"/>
                </a:cubicBezTo>
                <a:cubicBezTo>
                  <a:pt x="41" y="109"/>
                  <a:pt x="40" y="103"/>
                  <a:pt x="38" y="104"/>
                </a:cubicBezTo>
                <a:cubicBezTo>
                  <a:pt x="36" y="106"/>
                  <a:pt x="33" y="109"/>
                  <a:pt x="37" y="111"/>
                </a:cubicBezTo>
                <a:cubicBezTo>
                  <a:pt x="41" y="114"/>
                  <a:pt x="31" y="113"/>
                  <a:pt x="40" y="116"/>
                </a:cubicBezTo>
                <a:cubicBezTo>
                  <a:pt x="46" y="117"/>
                  <a:pt x="33" y="117"/>
                  <a:pt x="36" y="122"/>
                </a:cubicBezTo>
                <a:cubicBezTo>
                  <a:pt x="40" y="127"/>
                  <a:pt x="39" y="121"/>
                  <a:pt x="42" y="121"/>
                </a:cubicBezTo>
                <a:cubicBezTo>
                  <a:pt x="46" y="121"/>
                  <a:pt x="43" y="119"/>
                  <a:pt x="46" y="117"/>
                </a:cubicBezTo>
                <a:cubicBezTo>
                  <a:pt x="49" y="115"/>
                  <a:pt x="52" y="116"/>
                  <a:pt x="52" y="114"/>
                </a:cubicBezTo>
                <a:cubicBezTo>
                  <a:pt x="51" y="112"/>
                  <a:pt x="56" y="112"/>
                  <a:pt x="53" y="110"/>
                </a:cubicBezTo>
                <a:cubicBezTo>
                  <a:pt x="51" y="109"/>
                  <a:pt x="54" y="108"/>
                  <a:pt x="53" y="106"/>
                </a:cubicBezTo>
                <a:cubicBezTo>
                  <a:pt x="52" y="104"/>
                  <a:pt x="56" y="107"/>
                  <a:pt x="59" y="104"/>
                </a:cubicBezTo>
                <a:cubicBezTo>
                  <a:pt x="63" y="102"/>
                  <a:pt x="53" y="105"/>
                  <a:pt x="56" y="102"/>
                </a:cubicBezTo>
                <a:close/>
                <a:moveTo>
                  <a:pt x="34" y="125"/>
                </a:moveTo>
                <a:cubicBezTo>
                  <a:pt x="32" y="127"/>
                  <a:pt x="29" y="124"/>
                  <a:pt x="26" y="127"/>
                </a:cubicBezTo>
                <a:cubicBezTo>
                  <a:pt x="24" y="129"/>
                  <a:pt x="34" y="134"/>
                  <a:pt x="37" y="129"/>
                </a:cubicBezTo>
                <a:cubicBezTo>
                  <a:pt x="40" y="125"/>
                  <a:pt x="35" y="124"/>
                  <a:pt x="34" y="125"/>
                </a:cubicBezTo>
                <a:close/>
                <a:moveTo>
                  <a:pt x="31" y="137"/>
                </a:moveTo>
                <a:cubicBezTo>
                  <a:pt x="25" y="135"/>
                  <a:pt x="27" y="149"/>
                  <a:pt x="31" y="149"/>
                </a:cubicBezTo>
                <a:cubicBezTo>
                  <a:pt x="35" y="148"/>
                  <a:pt x="29" y="144"/>
                  <a:pt x="31" y="143"/>
                </a:cubicBezTo>
                <a:cubicBezTo>
                  <a:pt x="33" y="141"/>
                  <a:pt x="33" y="138"/>
                  <a:pt x="31" y="137"/>
                </a:cubicBezTo>
                <a:close/>
                <a:moveTo>
                  <a:pt x="62" y="141"/>
                </a:moveTo>
                <a:cubicBezTo>
                  <a:pt x="58" y="140"/>
                  <a:pt x="59" y="125"/>
                  <a:pt x="56" y="125"/>
                </a:cubicBezTo>
                <a:cubicBezTo>
                  <a:pt x="52" y="124"/>
                  <a:pt x="55" y="132"/>
                  <a:pt x="53" y="134"/>
                </a:cubicBezTo>
                <a:cubicBezTo>
                  <a:pt x="52" y="135"/>
                  <a:pt x="49" y="127"/>
                  <a:pt x="47" y="129"/>
                </a:cubicBezTo>
                <a:cubicBezTo>
                  <a:pt x="45" y="131"/>
                  <a:pt x="48" y="132"/>
                  <a:pt x="48" y="134"/>
                </a:cubicBezTo>
                <a:cubicBezTo>
                  <a:pt x="48" y="135"/>
                  <a:pt x="40" y="133"/>
                  <a:pt x="46" y="138"/>
                </a:cubicBezTo>
                <a:cubicBezTo>
                  <a:pt x="48" y="140"/>
                  <a:pt x="48" y="136"/>
                  <a:pt x="51" y="138"/>
                </a:cubicBezTo>
                <a:cubicBezTo>
                  <a:pt x="54" y="141"/>
                  <a:pt x="49" y="139"/>
                  <a:pt x="53" y="144"/>
                </a:cubicBezTo>
                <a:cubicBezTo>
                  <a:pt x="56" y="147"/>
                  <a:pt x="57" y="144"/>
                  <a:pt x="62" y="145"/>
                </a:cubicBezTo>
                <a:cubicBezTo>
                  <a:pt x="67" y="145"/>
                  <a:pt x="60" y="150"/>
                  <a:pt x="62" y="151"/>
                </a:cubicBezTo>
                <a:cubicBezTo>
                  <a:pt x="64" y="153"/>
                  <a:pt x="70" y="145"/>
                  <a:pt x="70" y="142"/>
                </a:cubicBezTo>
                <a:cubicBezTo>
                  <a:pt x="71" y="140"/>
                  <a:pt x="66" y="142"/>
                  <a:pt x="62" y="141"/>
                </a:cubicBezTo>
                <a:close/>
                <a:moveTo>
                  <a:pt x="64" y="170"/>
                </a:moveTo>
                <a:cubicBezTo>
                  <a:pt x="59" y="169"/>
                  <a:pt x="60" y="164"/>
                  <a:pt x="56" y="167"/>
                </a:cubicBezTo>
                <a:cubicBezTo>
                  <a:pt x="53" y="171"/>
                  <a:pt x="54" y="170"/>
                  <a:pt x="59" y="172"/>
                </a:cubicBezTo>
                <a:cubicBezTo>
                  <a:pt x="62" y="174"/>
                  <a:pt x="57" y="174"/>
                  <a:pt x="58" y="177"/>
                </a:cubicBezTo>
                <a:cubicBezTo>
                  <a:pt x="59" y="179"/>
                  <a:pt x="54" y="176"/>
                  <a:pt x="54" y="180"/>
                </a:cubicBezTo>
                <a:cubicBezTo>
                  <a:pt x="54" y="183"/>
                  <a:pt x="62" y="179"/>
                  <a:pt x="68" y="178"/>
                </a:cubicBezTo>
                <a:cubicBezTo>
                  <a:pt x="74" y="177"/>
                  <a:pt x="70" y="172"/>
                  <a:pt x="64" y="170"/>
                </a:cubicBezTo>
                <a:close/>
                <a:moveTo>
                  <a:pt x="55" y="196"/>
                </a:moveTo>
                <a:cubicBezTo>
                  <a:pt x="54" y="193"/>
                  <a:pt x="47" y="200"/>
                  <a:pt x="50" y="202"/>
                </a:cubicBezTo>
                <a:cubicBezTo>
                  <a:pt x="52" y="204"/>
                  <a:pt x="55" y="197"/>
                  <a:pt x="56" y="201"/>
                </a:cubicBezTo>
                <a:cubicBezTo>
                  <a:pt x="57" y="205"/>
                  <a:pt x="53" y="205"/>
                  <a:pt x="55" y="206"/>
                </a:cubicBezTo>
                <a:cubicBezTo>
                  <a:pt x="56" y="208"/>
                  <a:pt x="57" y="206"/>
                  <a:pt x="60" y="204"/>
                </a:cubicBezTo>
                <a:cubicBezTo>
                  <a:pt x="64" y="202"/>
                  <a:pt x="60" y="199"/>
                  <a:pt x="60" y="194"/>
                </a:cubicBezTo>
                <a:cubicBezTo>
                  <a:pt x="59" y="190"/>
                  <a:pt x="56" y="198"/>
                  <a:pt x="55" y="196"/>
                </a:cubicBezTo>
                <a:close/>
                <a:moveTo>
                  <a:pt x="62" y="197"/>
                </a:moveTo>
                <a:cubicBezTo>
                  <a:pt x="64" y="200"/>
                  <a:pt x="72" y="183"/>
                  <a:pt x="69" y="185"/>
                </a:cubicBezTo>
                <a:cubicBezTo>
                  <a:pt x="66" y="186"/>
                  <a:pt x="60" y="193"/>
                  <a:pt x="62" y="197"/>
                </a:cubicBezTo>
                <a:close/>
                <a:moveTo>
                  <a:pt x="128" y="77"/>
                </a:moveTo>
                <a:cubicBezTo>
                  <a:pt x="126" y="77"/>
                  <a:pt x="128" y="83"/>
                  <a:pt x="132" y="83"/>
                </a:cubicBezTo>
                <a:cubicBezTo>
                  <a:pt x="136" y="83"/>
                  <a:pt x="130" y="76"/>
                  <a:pt x="128" y="77"/>
                </a:cubicBezTo>
                <a:close/>
                <a:moveTo>
                  <a:pt x="141" y="75"/>
                </a:moveTo>
                <a:cubicBezTo>
                  <a:pt x="139" y="72"/>
                  <a:pt x="134" y="75"/>
                  <a:pt x="136" y="72"/>
                </a:cubicBezTo>
                <a:cubicBezTo>
                  <a:pt x="138" y="69"/>
                  <a:pt x="136" y="69"/>
                  <a:pt x="133" y="68"/>
                </a:cubicBezTo>
                <a:cubicBezTo>
                  <a:pt x="130" y="66"/>
                  <a:pt x="128" y="72"/>
                  <a:pt x="130" y="75"/>
                </a:cubicBezTo>
                <a:cubicBezTo>
                  <a:pt x="133" y="79"/>
                  <a:pt x="136" y="75"/>
                  <a:pt x="138" y="77"/>
                </a:cubicBezTo>
                <a:cubicBezTo>
                  <a:pt x="140" y="80"/>
                  <a:pt x="144" y="76"/>
                  <a:pt x="143" y="75"/>
                </a:cubicBezTo>
                <a:cubicBezTo>
                  <a:pt x="142" y="74"/>
                  <a:pt x="142" y="78"/>
                  <a:pt x="141" y="75"/>
                </a:cubicBezTo>
                <a:close/>
                <a:moveTo>
                  <a:pt x="137" y="80"/>
                </a:moveTo>
                <a:cubicBezTo>
                  <a:pt x="136" y="81"/>
                  <a:pt x="137" y="84"/>
                  <a:pt x="138" y="84"/>
                </a:cubicBezTo>
                <a:cubicBezTo>
                  <a:pt x="140" y="84"/>
                  <a:pt x="139" y="80"/>
                  <a:pt x="137" y="80"/>
                </a:cubicBezTo>
                <a:close/>
                <a:moveTo>
                  <a:pt x="143" y="65"/>
                </a:moveTo>
                <a:cubicBezTo>
                  <a:pt x="143" y="66"/>
                  <a:pt x="145" y="64"/>
                  <a:pt x="146" y="65"/>
                </a:cubicBezTo>
                <a:cubicBezTo>
                  <a:pt x="148" y="65"/>
                  <a:pt x="151" y="60"/>
                  <a:pt x="148" y="61"/>
                </a:cubicBezTo>
                <a:cubicBezTo>
                  <a:pt x="146" y="63"/>
                  <a:pt x="145" y="59"/>
                  <a:pt x="143" y="65"/>
                </a:cubicBezTo>
                <a:close/>
                <a:moveTo>
                  <a:pt x="144" y="69"/>
                </a:moveTo>
                <a:cubicBezTo>
                  <a:pt x="143" y="71"/>
                  <a:pt x="146" y="71"/>
                  <a:pt x="147" y="70"/>
                </a:cubicBezTo>
                <a:cubicBezTo>
                  <a:pt x="147" y="69"/>
                  <a:pt x="144" y="65"/>
                  <a:pt x="144" y="69"/>
                </a:cubicBezTo>
                <a:close/>
                <a:moveTo>
                  <a:pt x="136" y="59"/>
                </a:moveTo>
                <a:cubicBezTo>
                  <a:pt x="135" y="61"/>
                  <a:pt x="139" y="64"/>
                  <a:pt x="140" y="64"/>
                </a:cubicBezTo>
                <a:cubicBezTo>
                  <a:pt x="141" y="63"/>
                  <a:pt x="138" y="58"/>
                  <a:pt x="136" y="59"/>
                </a:cubicBezTo>
                <a:close/>
                <a:moveTo>
                  <a:pt x="182" y="17"/>
                </a:moveTo>
                <a:cubicBezTo>
                  <a:pt x="183" y="15"/>
                  <a:pt x="181" y="12"/>
                  <a:pt x="180" y="16"/>
                </a:cubicBezTo>
                <a:cubicBezTo>
                  <a:pt x="179" y="19"/>
                  <a:pt x="178" y="14"/>
                  <a:pt x="179" y="10"/>
                </a:cubicBezTo>
                <a:cubicBezTo>
                  <a:pt x="180" y="5"/>
                  <a:pt x="169" y="15"/>
                  <a:pt x="171" y="15"/>
                </a:cubicBezTo>
                <a:cubicBezTo>
                  <a:pt x="174" y="15"/>
                  <a:pt x="179" y="18"/>
                  <a:pt x="178" y="20"/>
                </a:cubicBezTo>
                <a:cubicBezTo>
                  <a:pt x="176" y="23"/>
                  <a:pt x="170" y="20"/>
                  <a:pt x="170" y="24"/>
                </a:cubicBezTo>
                <a:cubicBezTo>
                  <a:pt x="170" y="29"/>
                  <a:pt x="172" y="24"/>
                  <a:pt x="174" y="27"/>
                </a:cubicBezTo>
                <a:cubicBezTo>
                  <a:pt x="176" y="30"/>
                  <a:pt x="176" y="24"/>
                  <a:pt x="179" y="27"/>
                </a:cubicBezTo>
                <a:cubicBezTo>
                  <a:pt x="182" y="29"/>
                  <a:pt x="175" y="36"/>
                  <a:pt x="179" y="40"/>
                </a:cubicBezTo>
                <a:cubicBezTo>
                  <a:pt x="181" y="43"/>
                  <a:pt x="180" y="36"/>
                  <a:pt x="181" y="34"/>
                </a:cubicBezTo>
                <a:cubicBezTo>
                  <a:pt x="183" y="32"/>
                  <a:pt x="183" y="29"/>
                  <a:pt x="182" y="27"/>
                </a:cubicBezTo>
                <a:cubicBezTo>
                  <a:pt x="181" y="24"/>
                  <a:pt x="183" y="24"/>
                  <a:pt x="184" y="18"/>
                </a:cubicBezTo>
                <a:cubicBezTo>
                  <a:pt x="186" y="12"/>
                  <a:pt x="182" y="20"/>
                  <a:pt x="182" y="17"/>
                </a:cubicBezTo>
                <a:close/>
                <a:moveTo>
                  <a:pt x="185" y="4"/>
                </a:moveTo>
                <a:cubicBezTo>
                  <a:pt x="183" y="4"/>
                  <a:pt x="184" y="7"/>
                  <a:pt x="182" y="8"/>
                </a:cubicBezTo>
                <a:cubicBezTo>
                  <a:pt x="181" y="9"/>
                  <a:pt x="181" y="10"/>
                  <a:pt x="183" y="13"/>
                </a:cubicBezTo>
                <a:cubicBezTo>
                  <a:pt x="184" y="16"/>
                  <a:pt x="184" y="10"/>
                  <a:pt x="185" y="9"/>
                </a:cubicBezTo>
                <a:cubicBezTo>
                  <a:pt x="187" y="8"/>
                  <a:pt x="186" y="5"/>
                  <a:pt x="185" y="4"/>
                </a:cubicBezTo>
                <a:close/>
                <a:moveTo>
                  <a:pt x="189" y="0"/>
                </a:moveTo>
                <a:cubicBezTo>
                  <a:pt x="187" y="0"/>
                  <a:pt x="186" y="4"/>
                  <a:pt x="189" y="6"/>
                </a:cubicBezTo>
                <a:cubicBezTo>
                  <a:pt x="191" y="7"/>
                  <a:pt x="192" y="0"/>
                  <a:pt x="189" y="0"/>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endParaRPr lang="de-DE" sz="1800">
              <a:solidFill>
                <a:srgbClr val="000000"/>
              </a:solidFill>
              <a:latin typeface="Arial" charset="0"/>
              <a:ea typeface="ＭＳ Ｐゴシック"/>
            </a:endParaRPr>
          </a:p>
        </p:txBody>
      </p:sp>
      <p:sp>
        <p:nvSpPr>
          <p:cNvPr id="39" name="Freeform 48"/>
          <p:cNvSpPr>
            <a:spLocks noEditPoints="1"/>
          </p:cNvSpPr>
          <p:nvPr/>
        </p:nvSpPr>
        <p:spPr bwMode="auto">
          <a:xfrm>
            <a:off x="6013644" y="4556655"/>
            <a:ext cx="1199200" cy="837776"/>
          </a:xfrm>
          <a:custGeom>
            <a:avLst/>
            <a:gdLst/>
            <a:ahLst/>
            <a:cxnLst>
              <a:cxn ang="0">
                <a:pos x="312" y="61"/>
              </a:cxn>
              <a:cxn ang="0">
                <a:pos x="287" y="86"/>
              </a:cxn>
              <a:cxn ang="0">
                <a:pos x="252" y="102"/>
              </a:cxn>
              <a:cxn ang="0">
                <a:pos x="250" y="112"/>
              </a:cxn>
              <a:cxn ang="0">
                <a:pos x="225" y="157"/>
              </a:cxn>
              <a:cxn ang="0">
                <a:pos x="238" y="174"/>
              </a:cxn>
              <a:cxn ang="0">
                <a:pos x="214" y="209"/>
              </a:cxn>
              <a:cxn ang="0">
                <a:pos x="204" y="215"/>
              </a:cxn>
              <a:cxn ang="0">
                <a:pos x="177" y="240"/>
              </a:cxn>
              <a:cxn ang="0">
                <a:pos x="143" y="241"/>
              </a:cxn>
              <a:cxn ang="0">
                <a:pos x="122" y="246"/>
              </a:cxn>
              <a:cxn ang="0">
                <a:pos x="104" y="254"/>
              </a:cxn>
              <a:cxn ang="0">
                <a:pos x="97" y="263"/>
              </a:cxn>
              <a:cxn ang="0">
                <a:pos x="86" y="260"/>
              </a:cxn>
              <a:cxn ang="0">
                <a:pos x="73" y="239"/>
              </a:cxn>
              <a:cxn ang="0">
                <a:pos x="50" y="226"/>
              </a:cxn>
              <a:cxn ang="0">
                <a:pos x="55" y="199"/>
              </a:cxn>
              <a:cxn ang="0">
                <a:pos x="57" y="191"/>
              </a:cxn>
              <a:cxn ang="0">
                <a:pos x="57" y="170"/>
              </a:cxn>
              <a:cxn ang="0">
                <a:pos x="53" y="156"/>
              </a:cxn>
              <a:cxn ang="0">
                <a:pos x="53" y="142"/>
              </a:cxn>
              <a:cxn ang="0">
                <a:pos x="60" y="130"/>
              </a:cxn>
              <a:cxn ang="0">
                <a:pos x="64" y="102"/>
              </a:cxn>
              <a:cxn ang="0">
                <a:pos x="75" y="75"/>
              </a:cxn>
              <a:cxn ang="0">
                <a:pos x="63" y="65"/>
              </a:cxn>
              <a:cxn ang="0">
                <a:pos x="45" y="68"/>
              </a:cxn>
              <a:cxn ang="0">
                <a:pos x="30" y="69"/>
              </a:cxn>
              <a:cxn ang="0">
                <a:pos x="32" y="59"/>
              </a:cxn>
              <a:cxn ang="0">
                <a:pos x="15" y="68"/>
              </a:cxn>
              <a:cxn ang="0">
                <a:pos x="11" y="46"/>
              </a:cxn>
              <a:cxn ang="0">
                <a:pos x="5" y="33"/>
              </a:cxn>
              <a:cxn ang="0">
                <a:pos x="22" y="18"/>
              </a:cxn>
              <a:cxn ang="0">
                <a:pos x="34" y="5"/>
              </a:cxn>
              <a:cxn ang="0">
                <a:pos x="68" y="10"/>
              </a:cxn>
              <a:cxn ang="0">
                <a:pos x="100" y="10"/>
              </a:cxn>
              <a:cxn ang="0">
                <a:pos x="150" y="14"/>
              </a:cxn>
              <a:cxn ang="0">
                <a:pos x="173" y="16"/>
              </a:cxn>
              <a:cxn ang="0">
                <a:pos x="190" y="16"/>
              </a:cxn>
              <a:cxn ang="0">
                <a:pos x="199" y="23"/>
              </a:cxn>
              <a:cxn ang="0">
                <a:pos x="217" y="34"/>
              </a:cxn>
              <a:cxn ang="0">
                <a:pos x="231" y="38"/>
              </a:cxn>
              <a:cxn ang="0">
                <a:pos x="246" y="39"/>
              </a:cxn>
              <a:cxn ang="0">
                <a:pos x="269" y="42"/>
              </a:cxn>
              <a:cxn ang="0">
                <a:pos x="276" y="46"/>
              </a:cxn>
              <a:cxn ang="0">
                <a:pos x="296" y="51"/>
              </a:cxn>
              <a:cxn ang="0">
                <a:pos x="310" y="48"/>
              </a:cxn>
              <a:cxn ang="0">
                <a:pos x="312" y="61"/>
              </a:cxn>
              <a:cxn ang="0">
                <a:pos x="311" y="137"/>
              </a:cxn>
              <a:cxn ang="0">
                <a:pos x="292" y="148"/>
              </a:cxn>
              <a:cxn ang="0">
                <a:pos x="297" y="148"/>
              </a:cxn>
              <a:cxn ang="0">
                <a:pos x="306" y="155"/>
              </a:cxn>
              <a:cxn ang="0">
                <a:pos x="319" y="142"/>
              </a:cxn>
              <a:cxn ang="0">
                <a:pos x="311" y="137"/>
              </a:cxn>
              <a:cxn ang="0">
                <a:pos x="327" y="133"/>
              </a:cxn>
              <a:cxn ang="0">
                <a:pos x="335" y="136"/>
              </a:cxn>
              <a:cxn ang="0">
                <a:pos x="338" y="132"/>
              </a:cxn>
              <a:cxn ang="0">
                <a:pos x="327" y="133"/>
              </a:cxn>
              <a:cxn ang="0">
                <a:pos x="263" y="170"/>
              </a:cxn>
              <a:cxn ang="0">
                <a:pos x="271" y="162"/>
              </a:cxn>
              <a:cxn ang="0">
                <a:pos x="263" y="170"/>
              </a:cxn>
            </a:cxnLst>
            <a:rect l="0" t="0" r="r" b="b"/>
            <a:pathLst>
              <a:path w="339" h="268">
                <a:moveTo>
                  <a:pt x="312" y="61"/>
                </a:moveTo>
                <a:cubicBezTo>
                  <a:pt x="319" y="74"/>
                  <a:pt x="288" y="79"/>
                  <a:pt x="287" y="86"/>
                </a:cubicBezTo>
                <a:cubicBezTo>
                  <a:pt x="286" y="93"/>
                  <a:pt x="256" y="93"/>
                  <a:pt x="252" y="102"/>
                </a:cubicBezTo>
                <a:cubicBezTo>
                  <a:pt x="250" y="108"/>
                  <a:pt x="264" y="107"/>
                  <a:pt x="250" y="112"/>
                </a:cubicBezTo>
                <a:cubicBezTo>
                  <a:pt x="244" y="115"/>
                  <a:pt x="222" y="145"/>
                  <a:pt x="225" y="157"/>
                </a:cubicBezTo>
                <a:cubicBezTo>
                  <a:pt x="229" y="171"/>
                  <a:pt x="237" y="170"/>
                  <a:pt x="238" y="174"/>
                </a:cubicBezTo>
                <a:cubicBezTo>
                  <a:pt x="238" y="178"/>
                  <a:pt x="211" y="190"/>
                  <a:pt x="214" y="209"/>
                </a:cubicBezTo>
                <a:cubicBezTo>
                  <a:pt x="214" y="215"/>
                  <a:pt x="215" y="214"/>
                  <a:pt x="204" y="215"/>
                </a:cubicBezTo>
                <a:cubicBezTo>
                  <a:pt x="185" y="216"/>
                  <a:pt x="185" y="246"/>
                  <a:pt x="177" y="240"/>
                </a:cubicBezTo>
                <a:cubicBezTo>
                  <a:pt x="173" y="236"/>
                  <a:pt x="157" y="247"/>
                  <a:pt x="143" y="241"/>
                </a:cubicBezTo>
                <a:cubicBezTo>
                  <a:pt x="133" y="236"/>
                  <a:pt x="123" y="241"/>
                  <a:pt x="122" y="246"/>
                </a:cubicBezTo>
                <a:cubicBezTo>
                  <a:pt x="120" y="252"/>
                  <a:pt x="108" y="247"/>
                  <a:pt x="104" y="254"/>
                </a:cubicBezTo>
                <a:cubicBezTo>
                  <a:pt x="101" y="261"/>
                  <a:pt x="99" y="260"/>
                  <a:pt x="97" y="263"/>
                </a:cubicBezTo>
                <a:cubicBezTo>
                  <a:pt x="96" y="267"/>
                  <a:pt x="93" y="268"/>
                  <a:pt x="86" y="260"/>
                </a:cubicBezTo>
                <a:cubicBezTo>
                  <a:pt x="78" y="252"/>
                  <a:pt x="73" y="245"/>
                  <a:pt x="73" y="239"/>
                </a:cubicBezTo>
                <a:cubicBezTo>
                  <a:pt x="73" y="233"/>
                  <a:pt x="60" y="221"/>
                  <a:pt x="50" y="226"/>
                </a:cubicBezTo>
                <a:cubicBezTo>
                  <a:pt x="48" y="221"/>
                  <a:pt x="46" y="207"/>
                  <a:pt x="55" y="199"/>
                </a:cubicBezTo>
                <a:cubicBezTo>
                  <a:pt x="64" y="192"/>
                  <a:pt x="61" y="192"/>
                  <a:pt x="57" y="191"/>
                </a:cubicBezTo>
                <a:cubicBezTo>
                  <a:pt x="52" y="190"/>
                  <a:pt x="47" y="184"/>
                  <a:pt x="57" y="170"/>
                </a:cubicBezTo>
                <a:cubicBezTo>
                  <a:pt x="67" y="157"/>
                  <a:pt x="55" y="166"/>
                  <a:pt x="53" y="156"/>
                </a:cubicBezTo>
                <a:cubicBezTo>
                  <a:pt x="51" y="145"/>
                  <a:pt x="42" y="143"/>
                  <a:pt x="53" y="142"/>
                </a:cubicBezTo>
                <a:cubicBezTo>
                  <a:pt x="63" y="141"/>
                  <a:pt x="64" y="138"/>
                  <a:pt x="60" y="130"/>
                </a:cubicBezTo>
                <a:cubicBezTo>
                  <a:pt x="57" y="122"/>
                  <a:pt x="66" y="122"/>
                  <a:pt x="64" y="102"/>
                </a:cubicBezTo>
                <a:cubicBezTo>
                  <a:pt x="63" y="94"/>
                  <a:pt x="88" y="77"/>
                  <a:pt x="75" y="75"/>
                </a:cubicBezTo>
                <a:cubicBezTo>
                  <a:pt x="65" y="73"/>
                  <a:pt x="78" y="66"/>
                  <a:pt x="63" y="65"/>
                </a:cubicBezTo>
                <a:cubicBezTo>
                  <a:pt x="48" y="63"/>
                  <a:pt x="56" y="73"/>
                  <a:pt x="45" y="68"/>
                </a:cubicBezTo>
                <a:cubicBezTo>
                  <a:pt x="34" y="62"/>
                  <a:pt x="34" y="72"/>
                  <a:pt x="30" y="69"/>
                </a:cubicBezTo>
                <a:cubicBezTo>
                  <a:pt x="26" y="66"/>
                  <a:pt x="36" y="62"/>
                  <a:pt x="32" y="59"/>
                </a:cubicBezTo>
                <a:cubicBezTo>
                  <a:pt x="28" y="57"/>
                  <a:pt x="27" y="57"/>
                  <a:pt x="15" y="68"/>
                </a:cubicBezTo>
                <a:cubicBezTo>
                  <a:pt x="12" y="61"/>
                  <a:pt x="16" y="52"/>
                  <a:pt x="11" y="46"/>
                </a:cubicBezTo>
                <a:cubicBezTo>
                  <a:pt x="7" y="40"/>
                  <a:pt x="11" y="36"/>
                  <a:pt x="5" y="33"/>
                </a:cubicBezTo>
                <a:cubicBezTo>
                  <a:pt x="0" y="29"/>
                  <a:pt x="12" y="18"/>
                  <a:pt x="22" y="18"/>
                </a:cubicBezTo>
                <a:cubicBezTo>
                  <a:pt x="32" y="18"/>
                  <a:pt x="22" y="11"/>
                  <a:pt x="34" y="5"/>
                </a:cubicBezTo>
                <a:cubicBezTo>
                  <a:pt x="46" y="0"/>
                  <a:pt x="49" y="10"/>
                  <a:pt x="68" y="10"/>
                </a:cubicBezTo>
                <a:cubicBezTo>
                  <a:pt x="88" y="10"/>
                  <a:pt x="87" y="6"/>
                  <a:pt x="100" y="10"/>
                </a:cubicBezTo>
                <a:cubicBezTo>
                  <a:pt x="125" y="18"/>
                  <a:pt x="135" y="9"/>
                  <a:pt x="150" y="14"/>
                </a:cubicBezTo>
                <a:cubicBezTo>
                  <a:pt x="165" y="18"/>
                  <a:pt x="160" y="11"/>
                  <a:pt x="173" y="16"/>
                </a:cubicBezTo>
                <a:cubicBezTo>
                  <a:pt x="182" y="20"/>
                  <a:pt x="185" y="16"/>
                  <a:pt x="190" y="16"/>
                </a:cubicBezTo>
                <a:cubicBezTo>
                  <a:pt x="194" y="21"/>
                  <a:pt x="200" y="17"/>
                  <a:pt x="199" y="23"/>
                </a:cubicBezTo>
                <a:cubicBezTo>
                  <a:pt x="198" y="30"/>
                  <a:pt x="213" y="25"/>
                  <a:pt x="217" y="34"/>
                </a:cubicBezTo>
                <a:cubicBezTo>
                  <a:pt x="220" y="39"/>
                  <a:pt x="226" y="32"/>
                  <a:pt x="231" y="38"/>
                </a:cubicBezTo>
                <a:cubicBezTo>
                  <a:pt x="235" y="42"/>
                  <a:pt x="235" y="36"/>
                  <a:pt x="246" y="39"/>
                </a:cubicBezTo>
                <a:cubicBezTo>
                  <a:pt x="255" y="41"/>
                  <a:pt x="243" y="26"/>
                  <a:pt x="269" y="42"/>
                </a:cubicBezTo>
                <a:cubicBezTo>
                  <a:pt x="269" y="48"/>
                  <a:pt x="274" y="48"/>
                  <a:pt x="276" y="46"/>
                </a:cubicBezTo>
                <a:cubicBezTo>
                  <a:pt x="290" y="55"/>
                  <a:pt x="288" y="47"/>
                  <a:pt x="296" y="51"/>
                </a:cubicBezTo>
                <a:cubicBezTo>
                  <a:pt x="304" y="55"/>
                  <a:pt x="297" y="47"/>
                  <a:pt x="310" y="48"/>
                </a:cubicBezTo>
                <a:cubicBezTo>
                  <a:pt x="322" y="57"/>
                  <a:pt x="308" y="54"/>
                  <a:pt x="312" y="61"/>
                </a:cubicBezTo>
                <a:close/>
                <a:moveTo>
                  <a:pt x="311" y="137"/>
                </a:moveTo>
                <a:cubicBezTo>
                  <a:pt x="310" y="129"/>
                  <a:pt x="288" y="144"/>
                  <a:pt x="292" y="148"/>
                </a:cubicBezTo>
                <a:cubicBezTo>
                  <a:pt x="293" y="149"/>
                  <a:pt x="292" y="150"/>
                  <a:pt x="297" y="148"/>
                </a:cubicBezTo>
                <a:cubicBezTo>
                  <a:pt x="301" y="146"/>
                  <a:pt x="299" y="151"/>
                  <a:pt x="306" y="155"/>
                </a:cubicBezTo>
                <a:cubicBezTo>
                  <a:pt x="312" y="160"/>
                  <a:pt x="314" y="149"/>
                  <a:pt x="319" y="142"/>
                </a:cubicBezTo>
                <a:cubicBezTo>
                  <a:pt x="323" y="135"/>
                  <a:pt x="311" y="145"/>
                  <a:pt x="311" y="137"/>
                </a:cubicBezTo>
                <a:close/>
                <a:moveTo>
                  <a:pt x="327" y="133"/>
                </a:moveTo>
                <a:cubicBezTo>
                  <a:pt x="328" y="136"/>
                  <a:pt x="331" y="132"/>
                  <a:pt x="335" y="136"/>
                </a:cubicBezTo>
                <a:cubicBezTo>
                  <a:pt x="339" y="140"/>
                  <a:pt x="339" y="137"/>
                  <a:pt x="338" y="132"/>
                </a:cubicBezTo>
                <a:cubicBezTo>
                  <a:pt x="337" y="127"/>
                  <a:pt x="326" y="128"/>
                  <a:pt x="327" y="133"/>
                </a:cubicBezTo>
                <a:close/>
                <a:moveTo>
                  <a:pt x="263" y="170"/>
                </a:moveTo>
                <a:cubicBezTo>
                  <a:pt x="265" y="173"/>
                  <a:pt x="274" y="165"/>
                  <a:pt x="271" y="162"/>
                </a:cubicBezTo>
                <a:cubicBezTo>
                  <a:pt x="268" y="158"/>
                  <a:pt x="260" y="168"/>
                  <a:pt x="263" y="170"/>
                </a:cubicBezTo>
                <a:close/>
              </a:path>
            </a:pathLst>
          </a:custGeom>
          <a:solidFill>
            <a:schemeClr val="accent1"/>
          </a:solidFill>
          <a:ln w="6350" cap="rnd" cmpd="sng">
            <a:solidFill>
              <a:schemeClr val="bg2">
                <a:lumMod val="50000"/>
              </a:schemeClr>
            </a:solidFill>
            <a:prstDash val="solid"/>
            <a:round/>
            <a:headEnd type="none" w="med" len="med"/>
            <a:tailEnd type="none" w="med" len="med"/>
          </a:ln>
          <a:effectLst/>
        </p:spPr>
        <p:txBody>
          <a:bodyPr/>
          <a:lstStyle/>
          <a:p>
            <a:endParaRPr lang="de-DE" sz="1800">
              <a:solidFill>
                <a:srgbClr val="000000"/>
              </a:solidFill>
              <a:latin typeface="Arial" charset="0"/>
              <a:ea typeface="ＭＳ Ｐゴシック"/>
            </a:endParaRPr>
          </a:p>
        </p:txBody>
      </p:sp>
      <p:sp>
        <p:nvSpPr>
          <p:cNvPr id="40" name="Freeform 6"/>
          <p:cNvSpPr>
            <a:spLocks/>
          </p:cNvSpPr>
          <p:nvPr/>
        </p:nvSpPr>
        <p:spPr bwMode="auto">
          <a:xfrm>
            <a:off x="8767155" y="3591555"/>
            <a:ext cx="1595218" cy="931887"/>
          </a:xfrm>
          <a:custGeom>
            <a:avLst/>
            <a:gdLst/>
            <a:ahLst/>
            <a:cxnLst>
              <a:cxn ang="0">
                <a:pos x="433" y="105"/>
              </a:cxn>
              <a:cxn ang="0">
                <a:pos x="388" y="91"/>
              </a:cxn>
              <a:cxn ang="0">
                <a:pos x="338" y="78"/>
              </a:cxn>
              <a:cxn ang="0">
                <a:pos x="307" y="48"/>
              </a:cxn>
              <a:cxn ang="0">
                <a:pos x="303" y="23"/>
              </a:cxn>
              <a:cxn ang="0">
                <a:pos x="273" y="7"/>
              </a:cxn>
              <a:cxn ang="0">
                <a:pos x="239" y="15"/>
              </a:cxn>
              <a:cxn ang="0">
                <a:pos x="202" y="42"/>
              </a:cxn>
              <a:cxn ang="0">
                <a:pos x="168" y="36"/>
              </a:cxn>
              <a:cxn ang="0">
                <a:pos x="119" y="28"/>
              </a:cxn>
              <a:cxn ang="0">
                <a:pos x="46" y="33"/>
              </a:cxn>
              <a:cxn ang="0">
                <a:pos x="43" y="53"/>
              </a:cxn>
              <a:cxn ang="0">
                <a:pos x="42" y="79"/>
              </a:cxn>
              <a:cxn ang="0">
                <a:pos x="16" y="120"/>
              </a:cxn>
              <a:cxn ang="0">
                <a:pos x="8" y="135"/>
              </a:cxn>
              <a:cxn ang="0">
                <a:pos x="15" y="161"/>
              </a:cxn>
              <a:cxn ang="0">
                <a:pos x="20" y="166"/>
              </a:cxn>
              <a:cxn ang="0">
                <a:pos x="39" y="166"/>
              </a:cxn>
              <a:cxn ang="0">
                <a:pos x="74" y="174"/>
              </a:cxn>
              <a:cxn ang="0">
                <a:pos x="112" y="156"/>
              </a:cxn>
              <a:cxn ang="0">
                <a:pos x="160" y="158"/>
              </a:cxn>
              <a:cxn ang="0">
                <a:pos x="175" y="176"/>
              </a:cxn>
              <a:cxn ang="0">
                <a:pos x="190" y="204"/>
              </a:cxn>
              <a:cxn ang="0">
                <a:pos x="191" y="222"/>
              </a:cxn>
              <a:cxn ang="0">
                <a:pos x="170" y="225"/>
              </a:cxn>
              <a:cxn ang="0">
                <a:pos x="151" y="255"/>
              </a:cxn>
              <a:cxn ang="0">
                <a:pos x="174" y="257"/>
              </a:cxn>
              <a:cxn ang="0">
                <a:pos x="186" y="250"/>
              </a:cxn>
              <a:cxn ang="0">
                <a:pos x="214" y="221"/>
              </a:cxn>
              <a:cxn ang="0">
                <a:pos x="241" y="210"/>
              </a:cxn>
              <a:cxn ang="0">
                <a:pos x="257" y="215"/>
              </a:cxn>
              <a:cxn ang="0">
                <a:pos x="251" y="232"/>
              </a:cxn>
              <a:cxn ang="0">
                <a:pos x="286" y="236"/>
              </a:cxn>
              <a:cxn ang="0">
                <a:pos x="283" y="273"/>
              </a:cxn>
              <a:cxn ang="0">
                <a:pos x="312" y="277"/>
              </a:cxn>
              <a:cxn ang="0">
                <a:pos x="349" y="270"/>
              </a:cxn>
              <a:cxn ang="0">
                <a:pos x="344" y="254"/>
              </a:cxn>
              <a:cxn ang="0">
                <a:pos x="317" y="227"/>
              </a:cxn>
              <a:cxn ang="0">
                <a:pos x="347" y="212"/>
              </a:cxn>
              <a:cxn ang="0">
                <a:pos x="399" y="198"/>
              </a:cxn>
              <a:cxn ang="0">
                <a:pos x="439" y="166"/>
              </a:cxn>
              <a:cxn ang="0">
                <a:pos x="442" y="135"/>
              </a:cxn>
              <a:cxn ang="0">
                <a:pos x="444" y="121"/>
              </a:cxn>
            </a:cxnLst>
            <a:rect l="0" t="0" r="r" b="b"/>
            <a:pathLst>
              <a:path w="451" h="299">
                <a:moveTo>
                  <a:pt x="445" y="109"/>
                </a:moveTo>
                <a:cubicBezTo>
                  <a:pt x="446" y="102"/>
                  <a:pt x="437" y="114"/>
                  <a:pt x="433" y="105"/>
                </a:cubicBezTo>
                <a:cubicBezTo>
                  <a:pt x="428" y="95"/>
                  <a:pt x="418" y="102"/>
                  <a:pt x="412" y="96"/>
                </a:cubicBezTo>
                <a:cubicBezTo>
                  <a:pt x="401" y="84"/>
                  <a:pt x="397" y="99"/>
                  <a:pt x="388" y="91"/>
                </a:cubicBezTo>
                <a:cubicBezTo>
                  <a:pt x="380" y="83"/>
                  <a:pt x="384" y="71"/>
                  <a:pt x="367" y="80"/>
                </a:cubicBezTo>
                <a:cubicBezTo>
                  <a:pt x="350" y="89"/>
                  <a:pt x="351" y="72"/>
                  <a:pt x="338" y="78"/>
                </a:cubicBezTo>
                <a:cubicBezTo>
                  <a:pt x="324" y="83"/>
                  <a:pt x="334" y="67"/>
                  <a:pt x="326" y="54"/>
                </a:cubicBezTo>
                <a:cubicBezTo>
                  <a:pt x="317" y="42"/>
                  <a:pt x="317" y="51"/>
                  <a:pt x="307" y="48"/>
                </a:cubicBezTo>
                <a:cubicBezTo>
                  <a:pt x="296" y="44"/>
                  <a:pt x="306" y="46"/>
                  <a:pt x="300" y="38"/>
                </a:cubicBezTo>
                <a:cubicBezTo>
                  <a:pt x="293" y="29"/>
                  <a:pt x="313" y="28"/>
                  <a:pt x="303" y="23"/>
                </a:cubicBezTo>
                <a:cubicBezTo>
                  <a:pt x="288" y="15"/>
                  <a:pt x="299" y="1"/>
                  <a:pt x="288" y="8"/>
                </a:cubicBezTo>
                <a:cubicBezTo>
                  <a:pt x="281" y="12"/>
                  <a:pt x="282" y="0"/>
                  <a:pt x="273" y="7"/>
                </a:cubicBezTo>
                <a:cubicBezTo>
                  <a:pt x="264" y="14"/>
                  <a:pt x="254" y="1"/>
                  <a:pt x="253" y="12"/>
                </a:cubicBezTo>
                <a:cubicBezTo>
                  <a:pt x="252" y="22"/>
                  <a:pt x="241" y="15"/>
                  <a:pt x="239" y="15"/>
                </a:cubicBezTo>
                <a:cubicBezTo>
                  <a:pt x="219" y="14"/>
                  <a:pt x="210" y="24"/>
                  <a:pt x="210" y="37"/>
                </a:cubicBezTo>
                <a:cubicBezTo>
                  <a:pt x="210" y="49"/>
                  <a:pt x="210" y="51"/>
                  <a:pt x="202" y="42"/>
                </a:cubicBezTo>
                <a:cubicBezTo>
                  <a:pt x="199" y="39"/>
                  <a:pt x="188" y="39"/>
                  <a:pt x="182" y="42"/>
                </a:cubicBezTo>
                <a:cubicBezTo>
                  <a:pt x="174" y="47"/>
                  <a:pt x="180" y="26"/>
                  <a:pt x="168" y="36"/>
                </a:cubicBezTo>
                <a:cubicBezTo>
                  <a:pt x="155" y="46"/>
                  <a:pt x="172" y="33"/>
                  <a:pt x="141" y="33"/>
                </a:cubicBezTo>
                <a:cubicBezTo>
                  <a:pt x="122" y="34"/>
                  <a:pt x="130" y="28"/>
                  <a:pt x="119" y="28"/>
                </a:cubicBezTo>
                <a:cubicBezTo>
                  <a:pt x="109" y="29"/>
                  <a:pt x="102" y="18"/>
                  <a:pt x="72" y="21"/>
                </a:cubicBezTo>
                <a:cubicBezTo>
                  <a:pt x="42" y="25"/>
                  <a:pt x="55" y="37"/>
                  <a:pt x="46" y="33"/>
                </a:cubicBezTo>
                <a:cubicBezTo>
                  <a:pt x="40" y="31"/>
                  <a:pt x="38" y="37"/>
                  <a:pt x="38" y="37"/>
                </a:cubicBezTo>
                <a:cubicBezTo>
                  <a:pt x="42" y="44"/>
                  <a:pt x="32" y="42"/>
                  <a:pt x="43" y="53"/>
                </a:cubicBezTo>
                <a:cubicBezTo>
                  <a:pt x="59" y="70"/>
                  <a:pt x="42" y="60"/>
                  <a:pt x="47" y="66"/>
                </a:cubicBezTo>
                <a:cubicBezTo>
                  <a:pt x="51" y="71"/>
                  <a:pt x="54" y="76"/>
                  <a:pt x="42" y="79"/>
                </a:cubicBezTo>
                <a:cubicBezTo>
                  <a:pt x="35" y="80"/>
                  <a:pt x="25" y="95"/>
                  <a:pt x="18" y="104"/>
                </a:cubicBezTo>
                <a:cubicBezTo>
                  <a:pt x="11" y="112"/>
                  <a:pt x="19" y="115"/>
                  <a:pt x="16" y="120"/>
                </a:cubicBezTo>
                <a:cubicBezTo>
                  <a:pt x="13" y="125"/>
                  <a:pt x="27" y="130"/>
                  <a:pt x="11" y="126"/>
                </a:cubicBezTo>
                <a:cubicBezTo>
                  <a:pt x="12" y="129"/>
                  <a:pt x="10" y="129"/>
                  <a:pt x="8" y="135"/>
                </a:cubicBezTo>
                <a:cubicBezTo>
                  <a:pt x="7" y="140"/>
                  <a:pt x="3" y="138"/>
                  <a:pt x="0" y="149"/>
                </a:cubicBezTo>
                <a:cubicBezTo>
                  <a:pt x="13" y="154"/>
                  <a:pt x="10" y="162"/>
                  <a:pt x="15" y="161"/>
                </a:cubicBezTo>
                <a:cubicBezTo>
                  <a:pt x="20" y="160"/>
                  <a:pt x="20" y="163"/>
                  <a:pt x="19" y="164"/>
                </a:cubicBezTo>
                <a:cubicBezTo>
                  <a:pt x="19" y="164"/>
                  <a:pt x="19" y="165"/>
                  <a:pt x="20" y="166"/>
                </a:cubicBezTo>
                <a:cubicBezTo>
                  <a:pt x="23" y="163"/>
                  <a:pt x="22" y="168"/>
                  <a:pt x="25" y="163"/>
                </a:cubicBezTo>
                <a:cubicBezTo>
                  <a:pt x="29" y="158"/>
                  <a:pt x="30" y="166"/>
                  <a:pt x="39" y="166"/>
                </a:cubicBezTo>
                <a:cubicBezTo>
                  <a:pt x="52" y="165"/>
                  <a:pt x="50" y="169"/>
                  <a:pt x="58" y="167"/>
                </a:cubicBezTo>
                <a:cubicBezTo>
                  <a:pt x="66" y="164"/>
                  <a:pt x="68" y="180"/>
                  <a:pt x="74" y="174"/>
                </a:cubicBezTo>
                <a:cubicBezTo>
                  <a:pt x="79" y="168"/>
                  <a:pt x="77" y="168"/>
                  <a:pt x="91" y="167"/>
                </a:cubicBezTo>
                <a:cubicBezTo>
                  <a:pt x="106" y="165"/>
                  <a:pt x="100" y="157"/>
                  <a:pt x="112" y="156"/>
                </a:cubicBezTo>
                <a:cubicBezTo>
                  <a:pt x="116" y="148"/>
                  <a:pt x="128" y="152"/>
                  <a:pt x="133" y="148"/>
                </a:cubicBezTo>
                <a:cubicBezTo>
                  <a:pt x="139" y="144"/>
                  <a:pt x="153" y="160"/>
                  <a:pt x="160" y="158"/>
                </a:cubicBezTo>
                <a:cubicBezTo>
                  <a:pt x="167" y="157"/>
                  <a:pt x="168" y="167"/>
                  <a:pt x="173" y="165"/>
                </a:cubicBezTo>
                <a:cubicBezTo>
                  <a:pt x="178" y="163"/>
                  <a:pt x="178" y="170"/>
                  <a:pt x="175" y="176"/>
                </a:cubicBezTo>
                <a:cubicBezTo>
                  <a:pt x="172" y="182"/>
                  <a:pt x="177" y="189"/>
                  <a:pt x="182" y="188"/>
                </a:cubicBezTo>
                <a:cubicBezTo>
                  <a:pt x="187" y="187"/>
                  <a:pt x="181" y="199"/>
                  <a:pt x="190" y="204"/>
                </a:cubicBezTo>
                <a:cubicBezTo>
                  <a:pt x="198" y="209"/>
                  <a:pt x="190" y="214"/>
                  <a:pt x="195" y="219"/>
                </a:cubicBezTo>
                <a:cubicBezTo>
                  <a:pt x="201" y="223"/>
                  <a:pt x="196" y="224"/>
                  <a:pt x="191" y="222"/>
                </a:cubicBezTo>
                <a:cubicBezTo>
                  <a:pt x="187" y="219"/>
                  <a:pt x="181" y="224"/>
                  <a:pt x="177" y="219"/>
                </a:cubicBezTo>
                <a:cubicBezTo>
                  <a:pt x="172" y="214"/>
                  <a:pt x="166" y="221"/>
                  <a:pt x="170" y="225"/>
                </a:cubicBezTo>
                <a:cubicBezTo>
                  <a:pt x="176" y="234"/>
                  <a:pt x="158" y="243"/>
                  <a:pt x="159" y="249"/>
                </a:cubicBezTo>
                <a:cubicBezTo>
                  <a:pt x="160" y="255"/>
                  <a:pt x="154" y="252"/>
                  <a:pt x="151" y="255"/>
                </a:cubicBezTo>
                <a:cubicBezTo>
                  <a:pt x="158" y="264"/>
                  <a:pt x="163" y="265"/>
                  <a:pt x="165" y="262"/>
                </a:cubicBezTo>
                <a:cubicBezTo>
                  <a:pt x="166" y="258"/>
                  <a:pt x="169" y="262"/>
                  <a:pt x="174" y="257"/>
                </a:cubicBezTo>
                <a:cubicBezTo>
                  <a:pt x="177" y="255"/>
                  <a:pt x="185" y="254"/>
                  <a:pt x="189" y="262"/>
                </a:cubicBezTo>
                <a:cubicBezTo>
                  <a:pt x="189" y="252"/>
                  <a:pt x="187" y="257"/>
                  <a:pt x="186" y="250"/>
                </a:cubicBezTo>
                <a:cubicBezTo>
                  <a:pt x="184" y="240"/>
                  <a:pt x="189" y="251"/>
                  <a:pt x="198" y="243"/>
                </a:cubicBezTo>
                <a:cubicBezTo>
                  <a:pt x="208" y="234"/>
                  <a:pt x="214" y="228"/>
                  <a:pt x="214" y="221"/>
                </a:cubicBezTo>
                <a:cubicBezTo>
                  <a:pt x="213" y="212"/>
                  <a:pt x="225" y="216"/>
                  <a:pt x="231" y="213"/>
                </a:cubicBezTo>
                <a:cubicBezTo>
                  <a:pt x="238" y="210"/>
                  <a:pt x="241" y="217"/>
                  <a:pt x="241" y="210"/>
                </a:cubicBezTo>
                <a:cubicBezTo>
                  <a:pt x="241" y="202"/>
                  <a:pt x="242" y="192"/>
                  <a:pt x="244" y="201"/>
                </a:cubicBezTo>
                <a:cubicBezTo>
                  <a:pt x="246" y="210"/>
                  <a:pt x="240" y="217"/>
                  <a:pt x="257" y="215"/>
                </a:cubicBezTo>
                <a:cubicBezTo>
                  <a:pt x="247" y="222"/>
                  <a:pt x="235" y="212"/>
                  <a:pt x="235" y="217"/>
                </a:cubicBezTo>
                <a:cubicBezTo>
                  <a:pt x="234" y="221"/>
                  <a:pt x="251" y="227"/>
                  <a:pt x="251" y="232"/>
                </a:cubicBezTo>
                <a:cubicBezTo>
                  <a:pt x="251" y="236"/>
                  <a:pt x="272" y="228"/>
                  <a:pt x="276" y="232"/>
                </a:cubicBezTo>
                <a:cubicBezTo>
                  <a:pt x="281" y="236"/>
                  <a:pt x="283" y="227"/>
                  <a:pt x="286" y="236"/>
                </a:cubicBezTo>
                <a:cubicBezTo>
                  <a:pt x="289" y="244"/>
                  <a:pt x="253" y="251"/>
                  <a:pt x="257" y="257"/>
                </a:cubicBezTo>
                <a:cubicBezTo>
                  <a:pt x="261" y="263"/>
                  <a:pt x="283" y="259"/>
                  <a:pt x="283" y="273"/>
                </a:cubicBezTo>
                <a:cubicBezTo>
                  <a:pt x="283" y="288"/>
                  <a:pt x="272" y="279"/>
                  <a:pt x="283" y="289"/>
                </a:cubicBezTo>
                <a:cubicBezTo>
                  <a:pt x="294" y="299"/>
                  <a:pt x="303" y="282"/>
                  <a:pt x="312" y="277"/>
                </a:cubicBezTo>
                <a:cubicBezTo>
                  <a:pt x="321" y="271"/>
                  <a:pt x="317" y="281"/>
                  <a:pt x="325" y="273"/>
                </a:cubicBezTo>
                <a:cubicBezTo>
                  <a:pt x="338" y="260"/>
                  <a:pt x="336" y="275"/>
                  <a:pt x="349" y="270"/>
                </a:cubicBezTo>
                <a:cubicBezTo>
                  <a:pt x="362" y="265"/>
                  <a:pt x="350" y="266"/>
                  <a:pt x="356" y="260"/>
                </a:cubicBezTo>
                <a:cubicBezTo>
                  <a:pt x="359" y="256"/>
                  <a:pt x="356" y="251"/>
                  <a:pt x="344" y="254"/>
                </a:cubicBezTo>
                <a:cubicBezTo>
                  <a:pt x="332" y="257"/>
                  <a:pt x="332" y="269"/>
                  <a:pt x="321" y="249"/>
                </a:cubicBezTo>
                <a:cubicBezTo>
                  <a:pt x="309" y="229"/>
                  <a:pt x="312" y="229"/>
                  <a:pt x="317" y="227"/>
                </a:cubicBezTo>
                <a:cubicBezTo>
                  <a:pt x="329" y="221"/>
                  <a:pt x="316" y="236"/>
                  <a:pt x="324" y="230"/>
                </a:cubicBezTo>
                <a:cubicBezTo>
                  <a:pt x="332" y="224"/>
                  <a:pt x="342" y="209"/>
                  <a:pt x="347" y="212"/>
                </a:cubicBezTo>
                <a:cubicBezTo>
                  <a:pt x="357" y="217"/>
                  <a:pt x="383" y="196"/>
                  <a:pt x="387" y="197"/>
                </a:cubicBezTo>
                <a:cubicBezTo>
                  <a:pt x="396" y="197"/>
                  <a:pt x="394" y="202"/>
                  <a:pt x="399" y="198"/>
                </a:cubicBezTo>
                <a:cubicBezTo>
                  <a:pt x="394" y="171"/>
                  <a:pt x="410" y="182"/>
                  <a:pt x="412" y="173"/>
                </a:cubicBezTo>
                <a:cubicBezTo>
                  <a:pt x="415" y="164"/>
                  <a:pt x="434" y="176"/>
                  <a:pt x="439" y="166"/>
                </a:cubicBezTo>
                <a:cubicBezTo>
                  <a:pt x="444" y="157"/>
                  <a:pt x="442" y="148"/>
                  <a:pt x="436" y="145"/>
                </a:cubicBezTo>
                <a:cubicBezTo>
                  <a:pt x="429" y="141"/>
                  <a:pt x="436" y="136"/>
                  <a:pt x="442" y="135"/>
                </a:cubicBezTo>
                <a:cubicBezTo>
                  <a:pt x="448" y="135"/>
                  <a:pt x="444" y="131"/>
                  <a:pt x="439" y="130"/>
                </a:cubicBezTo>
                <a:cubicBezTo>
                  <a:pt x="433" y="130"/>
                  <a:pt x="436" y="126"/>
                  <a:pt x="444" y="121"/>
                </a:cubicBezTo>
                <a:cubicBezTo>
                  <a:pt x="451" y="116"/>
                  <a:pt x="444" y="117"/>
                  <a:pt x="445" y="109"/>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42" name="Freeform 8"/>
          <p:cNvSpPr>
            <a:spLocks/>
          </p:cNvSpPr>
          <p:nvPr/>
        </p:nvSpPr>
        <p:spPr bwMode="auto">
          <a:xfrm>
            <a:off x="9112970" y="4726427"/>
            <a:ext cx="1639838" cy="677233"/>
          </a:xfrm>
          <a:custGeom>
            <a:avLst/>
            <a:gdLst/>
            <a:ahLst/>
            <a:cxnLst>
              <a:cxn ang="0">
                <a:pos x="457" y="173"/>
              </a:cxn>
              <a:cxn ang="0">
                <a:pos x="446" y="168"/>
              </a:cxn>
              <a:cxn ang="0">
                <a:pos x="422" y="166"/>
              </a:cxn>
              <a:cxn ang="0">
                <a:pos x="417" y="168"/>
              </a:cxn>
              <a:cxn ang="0">
                <a:pos x="413" y="166"/>
              </a:cxn>
              <a:cxn ang="0">
                <a:pos x="402" y="175"/>
              </a:cxn>
              <a:cxn ang="0">
                <a:pos x="399" y="168"/>
              </a:cxn>
              <a:cxn ang="0">
                <a:pos x="364" y="174"/>
              </a:cxn>
              <a:cxn ang="0">
                <a:pos x="304" y="182"/>
              </a:cxn>
              <a:cxn ang="0">
                <a:pos x="273" y="189"/>
              </a:cxn>
              <a:cxn ang="0">
                <a:pos x="260" y="198"/>
              </a:cxn>
              <a:cxn ang="0">
                <a:pos x="255" y="204"/>
              </a:cxn>
              <a:cxn ang="0">
                <a:pos x="244" y="214"/>
              </a:cxn>
              <a:cxn ang="0">
                <a:pos x="250" y="186"/>
              </a:cxn>
              <a:cxn ang="0">
                <a:pos x="202" y="195"/>
              </a:cxn>
              <a:cxn ang="0">
                <a:pos x="130" y="185"/>
              </a:cxn>
              <a:cxn ang="0">
                <a:pos x="95" y="206"/>
              </a:cxn>
              <a:cxn ang="0">
                <a:pos x="63" y="187"/>
              </a:cxn>
              <a:cxn ang="0">
                <a:pos x="32" y="189"/>
              </a:cxn>
              <a:cxn ang="0">
                <a:pos x="29" y="177"/>
              </a:cxn>
              <a:cxn ang="0">
                <a:pos x="29" y="163"/>
              </a:cxn>
              <a:cxn ang="0">
                <a:pos x="20" y="142"/>
              </a:cxn>
              <a:cxn ang="0">
                <a:pos x="13" y="128"/>
              </a:cxn>
              <a:cxn ang="0">
                <a:pos x="21" y="115"/>
              </a:cxn>
              <a:cxn ang="0">
                <a:pos x="15" y="93"/>
              </a:cxn>
              <a:cxn ang="0">
                <a:pos x="9" y="74"/>
              </a:cxn>
              <a:cxn ang="0">
                <a:pos x="40" y="64"/>
              </a:cxn>
              <a:cxn ang="0">
                <a:pos x="74" y="65"/>
              </a:cxn>
              <a:cxn ang="0">
                <a:pos x="80" y="50"/>
              </a:cxn>
              <a:cxn ang="0">
                <a:pos x="89" y="38"/>
              </a:cxn>
              <a:cxn ang="0">
                <a:pos x="132" y="37"/>
              </a:cxn>
              <a:cxn ang="0">
                <a:pos x="219" y="9"/>
              </a:cxn>
              <a:cxn ang="0">
                <a:pos x="260" y="34"/>
              </a:cxn>
              <a:cxn ang="0">
                <a:pos x="293" y="44"/>
              </a:cxn>
              <a:cxn ang="0">
                <a:pos x="382" y="27"/>
              </a:cxn>
              <a:cxn ang="0">
                <a:pos x="406" y="29"/>
              </a:cxn>
              <a:cxn ang="0">
                <a:pos x="421" y="32"/>
              </a:cxn>
              <a:cxn ang="0">
                <a:pos x="424" y="38"/>
              </a:cxn>
              <a:cxn ang="0">
                <a:pos x="430" y="40"/>
              </a:cxn>
              <a:cxn ang="0">
                <a:pos x="430" y="42"/>
              </a:cxn>
              <a:cxn ang="0">
                <a:pos x="433" y="67"/>
              </a:cxn>
              <a:cxn ang="0">
                <a:pos x="434" y="74"/>
              </a:cxn>
              <a:cxn ang="0">
                <a:pos x="462" y="88"/>
              </a:cxn>
              <a:cxn ang="0">
                <a:pos x="453" y="97"/>
              </a:cxn>
              <a:cxn ang="0">
                <a:pos x="448" y="107"/>
              </a:cxn>
              <a:cxn ang="0">
                <a:pos x="450" y="118"/>
              </a:cxn>
              <a:cxn ang="0">
                <a:pos x="455" y="134"/>
              </a:cxn>
              <a:cxn ang="0">
                <a:pos x="458" y="154"/>
              </a:cxn>
            </a:cxnLst>
            <a:rect l="0" t="0" r="r" b="b"/>
            <a:pathLst>
              <a:path w="463" h="218">
                <a:moveTo>
                  <a:pt x="463" y="173"/>
                </a:moveTo>
                <a:cubicBezTo>
                  <a:pt x="463" y="173"/>
                  <a:pt x="458" y="172"/>
                  <a:pt x="457" y="173"/>
                </a:cubicBezTo>
                <a:cubicBezTo>
                  <a:pt x="456" y="175"/>
                  <a:pt x="449" y="179"/>
                  <a:pt x="449" y="179"/>
                </a:cubicBezTo>
                <a:cubicBezTo>
                  <a:pt x="446" y="175"/>
                  <a:pt x="453" y="169"/>
                  <a:pt x="446" y="168"/>
                </a:cubicBezTo>
                <a:cubicBezTo>
                  <a:pt x="441" y="167"/>
                  <a:pt x="441" y="173"/>
                  <a:pt x="433" y="171"/>
                </a:cubicBezTo>
                <a:cubicBezTo>
                  <a:pt x="430" y="169"/>
                  <a:pt x="426" y="166"/>
                  <a:pt x="422" y="166"/>
                </a:cubicBezTo>
                <a:cubicBezTo>
                  <a:pt x="421" y="166"/>
                  <a:pt x="420" y="166"/>
                  <a:pt x="419" y="167"/>
                </a:cubicBezTo>
                <a:cubicBezTo>
                  <a:pt x="419" y="167"/>
                  <a:pt x="418" y="168"/>
                  <a:pt x="417" y="168"/>
                </a:cubicBezTo>
                <a:cubicBezTo>
                  <a:pt x="416" y="168"/>
                  <a:pt x="416" y="167"/>
                  <a:pt x="415" y="167"/>
                </a:cubicBezTo>
                <a:cubicBezTo>
                  <a:pt x="414" y="166"/>
                  <a:pt x="414" y="166"/>
                  <a:pt x="413" y="166"/>
                </a:cubicBezTo>
                <a:cubicBezTo>
                  <a:pt x="412" y="166"/>
                  <a:pt x="412" y="166"/>
                  <a:pt x="412" y="167"/>
                </a:cubicBezTo>
                <a:cubicBezTo>
                  <a:pt x="408" y="171"/>
                  <a:pt x="408" y="173"/>
                  <a:pt x="402" y="175"/>
                </a:cubicBezTo>
                <a:cubicBezTo>
                  <a:pt x="403" y="173"/>
                  <a:pt x="403" y="172"/>
                  <a:pt x="402" y="171"/>
                </a:cubicBezTo>
                <a:cubicBezTo>
                  <a:pt x="401" y="169"/>
                  <a:pt x="400" y="167"/>
                  <a:pt x="399" y="168"/>
                </a:cubicBezTo>
                <a:cubicBezTo>
                  <a:pt x="394" y="172"/>
                  <a:pt x="391" y="174"/>
                  <a:pt x="384" y="175"/>
                </a:cubicBezTo>
                <a:cubicBezTo>
                  <a:pt x="377" y="176"/>
                  <a:pt x="370" y="173"/>
                  <a:pt x="364" y="174"/>
                </a:cubicBezTo>
                <a:cubicBezTo>
                  <a:pt x="349" y="177"/>
                  <a:pt x="341" y="188"/>
                  <a:pt x="324" y="189"/>
                </a:cubicBezTo>
                <a:cubicBezTo>
                  <a:pt x="313" y="190"/>
                  <a:pt x="313" y="185"/>
                  <a:pt x="304" y="182"/>
                </a:cubicBezTo>
                <a:cubicBezTo>
                  <a:pt x="297" y="179"/>
                  <a:pt x="288" y="189"/>
                  <a:pt x="281" y="190"/>
                </a:cubicBezTo>
                <a:cubicBezTo>
                  <a:pt x="279" y="191"/>
                  <a:pt x="276" y="188"/>
                  <a:pt x="273" y="189"/>
                </a:cubicBezTo>
                <a:cubicBezTo>
                  <a:pt x="273" y="190"/>
                  <a:pt x="263" y="183"/>
                  <a:pt x="262" y="184"/>
                </a:cubicBezTo>
                <a:cubicBezTo>
                  <a:pt x="260" y="186"/>
                  <a:pt x="259" y="195"/>
                  <a:pt x="260" y="198"/>
                </a:cubicBezTo>
                <a:cubicBezTo>
                  <a:pt x="260" y="199"/>
                  <a:pt x="264" y="202"/>
                  <a:pt x="263" y="204"/>
                </a:cubicBezTo>
                <a:cubicBezTo>
                  <a:pt x="262" y="205"/>
                  <a:pt x="256" y="203"/>
                  <a:pt x="255" y="204"/>
                </a:cubicBezTo>
                <a:cubicBezTo>
                  <a:pt x="254" y="205"/>
                  <a:pt x="251" y="216"/>
                  <a:pt x="250" y="217"/>
                </a:cubicBezTo>
                <a:cubicBezTo>
                  <a:pt x="248" y="218"/>
                  <a:pt x="246" y="214"/>
                  <a:pt x="244" y="214"/>
                </a:cubicBezTo>
                <a:cubicBezTo>
                  <a:pt x="247" y="210"/>
                  <a:pt x="244" y="207"/>
                  <a:pt x="241" y="203"/>
                </a:cubicBezTo>
                <a:cubicBezTo>
                  <a:pt x="238" y="199"/>
                  <a:pt x="252" y="195"/>
                  <a:pt x="250" y="186"/>
                </a:cubicBezTo>
                <a:cubicBezTo>
                  <a:pt x="249" y="178"/>
                  <a:pt x="248" y="179"/>
                  <a:pt x="235" y="190"/>
                </a:cubicBezTo>
                <a:cubicBezTo>
                  <a:pt x="222" y="202"/>
                  <a:pt x="223" y="171"/>
                  <a:pt x="202" y="195"/>
                </a:cubicBezTo>
                <a:cubicBezTo>
                  <a:pt x="188" y="212"/>
                  <a:pt x="186" y="204"/>
                  <a:pt x="171" y="210"/>
                </a:cubicBezTo>
                <a:cubicBezTo>
                  <a:pt x="157" y="216"/>
                  <a:pt x="159" y="196"/>
                  <a:pt x="130" y="185"/>
                </a:cubicBezTo>
                <a:cubicBezTo>
                  <a:pt x="102" y="175"/>
                  <a:pt x="115" y="196"/>
                  <a:pt x="110" y="202"/>
                </a:cubicBezTo>
                <a:cubicBezTo>
                  <a:pt x="104" y="207"/>
                  <a:pt x="106" y="196"/>
                  <a:pt x="95" y="206"/>
                </a:cubicBezTo>
                <a:cubicBezTo>
                  <a:pt x="90" y="211"/>
                  <a:pt x="79" y="204"/>
                  <a:pt x="75" y="193"/>
                </a:cubicBezTo>
                <a:cubicBezTo>
                  <a:pt x="71" y="181"/>
                  <a:pt x="70" y="195"/>
                  <a:pt x="63" y="187"/>
                </a:cubicBezTo>
                <a:cubicBezTo>
                  <a:pt x="57" y="179"/>
                  <a:pt x="49" y="197"/>
                  <a:pt x="49" y="190"/>
                </a:cubicBezTo>
                <a:cubicBezTo>
                  <a:pt x="49" y="183"/>
                  <a:pt x="35" y="194"/>
                  <a:pt x="32" y="189"/>
                </a:cubicBezTo>
                <a:cubicBezTo>
                  <a:pt x="29" y="183"/>
                  <a:pt x="45" y="188"/>
                  <a:pt x="50" y="181"/>
                </a:cubicBezTo>
                <a:cubicBezTo>
                  <a:pt x="55" y="174"/>
                  <a:pt x="32" y="183"/>
                  <a:pt x="29" y="177"/>
                </a:cubicBezTo>
                <a:cubicBezTo>
                  <a:pt x="25" y="170"/>
                  <a:pt x="38" y="178"/>
                  <a:pt x="35" y="171"/>
                </a:cubicBezTo>
                <a:cubicBezTo>
                  <a:pt x="33" y="164"/>
                  <a:pt x="27" y="170"/>
                  <a:pt x="29" y="163"/>
                </a:cubicBezTo>
                <a:cubicBezTo>
                  <a:pt x="30" y="157"/>
                  <a:pt x="23" y="159"/>
                  <a:pt x="29" y="151"/>
                </a:cubicBezTo>
                <a:cubicBezTo>
                  <a:pt x="34" y="142"/>
                  <a:pt x="23" y="148"/>
                  <a:pt x="20" y="142"/>
                </a:cubicBezTo>
                <a:cubicBezTo>
                  <a:pt x="16" y="136"/>
                  <a:pt x="16" y="144"/>
                  <a:pt x="10" y="139"/>
                </a:cubicBezTo>
                <a:cubicBezTo>
                  <a:pt x="4" y="134"/>
                  <a:pt x="9" y="116"/>
                  <a:pt x="13" y="128"/>
                </a:cubicBezTo>
                <a:cubicBezTo>
                  <a:pt x="17" y="139"/>
                  <a:pt x="30" y="131"/>
                  <a:pt x="18" y="126"/>
                </a:cubicBezTo>
                <a:cubicBezTo>
                  <a:pt x="9" y="122"/>
                  <a:pt x="29" y="116"/>
                  <a:pt x="21" y="115"/>
                </a:cubicBezTo>
                <a:cubicBezTo>
                  <a:pt x="13" y="114"/>
                  <a:pt x="24" y="109"/>
                  <a:pt x="17" y="104"/>
                </a:cubicBezTo>
                <a:cubicBezTo>
                  <a:pt x="11" y="99"/>
                  <a:pt x="29" y="89"/>
                  <a:pt x="15" y="93"/>
                </a:cubicBezTo>
                <a:cubicBezTo>
                  <a:pt x="0" y="98"/>
                  <a:pt x="0" y="97"/>
                  <a:pt x="2" y="86"/>
                </a:cubicBezTo>
                <a:cubicBezTo>
                  <a:pt x="4" y="75"/>
                  <a:pt x="4" y="82"/>
                  <a:pt x="9" y="74"/>
                </a:cubicBezTo>
                <a:cubicBezTo>
                  <a:pt x="19" y="60"/>
                  <a:pt x="30" y="61"/>
                  <a:pt x="32" y="66"/>
                </a:cubicBezTo>
                <a:cubicBezTo>
                  <a:pt x="35" y="71"/>
                  <a:pt x="44" y="68"/>
                  <a:pt x="40" y="64"/>
                </a:cubicBezTo>
                <a:cubicBezTo>
                  <a:pt x="36" y="60"/>
                  <a:pt x="51" y="57"/>
                  <a:pt x="49" y="62"/>
                </a:cubicBezTo>
                <a:cubicBezTo>
                  <a:pt x="47" y="68"/>
                  <a:pt x="72" y="68"/>
                  <a:pt x="74" y="65"/>
                </a:cubicBezTo>
                <a:cubicBezTo>
                  <a:pt x="79" y="60"/>
                  <a:pt x="53" y="61"/>
                  <a:pt x="81" y="56"/>
                </a:cubicBezTo>
                <a:cubicBezTo>
                  <a:pt x="103" y="52"/>
                  <a:pt x="84" y="55"/>
                  <a:pt x="80" y="50"/>
                </a:cubicBezTo>
                <a:cubicBezTo>
                  <a:pt x="77" y="45"/>
                  <a:pt x="72" y="48"/>
                  <a:pt x="75" y="42"/>
                </a:cubicBezTo>
                <a:cubicBezTo>
                  <a:pt x="78" y="37"/>
                  <a:pt x="78" y="35"/>
                  <a:pt x="89" y="38"/>
                </a:cubicBezTo>
                <a:cubicBezTo>
                  <a:pt x="101" y="41"/>
                  <a:pt x="102" y="34"/>
                  <a:pt x="113" y="39"/>
                </a:cubicBezTo>
                <a:cubicBezTo>
                  <a:pt x="124" y="44"/>
                  <a:pt x="130" y="41"/>
                  <a:pt x="132" y="37"/>
                </a:cubicBezTo>
                <a:cubicBezTo>
                  <a:pt x="134" y="32"/>
                  <a:pt x="145" y="21"/>
                  <a:pt x="171" y="13"/>
                </a:cubicBezTo>
                <a:cubicBezTo>
                  <a:pt x="196" y="4"/>
                  <a:pt x="206" y="17"/>
                  <a:pt x="219" y="9"/>
                </a:cubicBezTo>
                <a:cubicBezTo>
                  <a:pt x="231" y="0"/>
                  <a:pt x="217" y="26"/>
                  <a:pt x="237" y="20"/>
                </a:cubicBezTo>
                <a:cubicBezTo>
                  <a:pt x="257" y="14"/>
                  <a:pt x="247" y="38"/>
                  <a:pt x="260" y="34"/>
                </a:cubicBezTo>
                <a:cubicBezTo>
                  <a:pt x="272" y="29"/>
                  <a:pt x="263" y="33"/>
                  <a:pt x="277" y="40"/>
                </a:cubicBezTo>
                <a:cubicBezTo>
                  <a:pt x="291" y="47"/>
                  <a:pt x="282" y="32"/>
                  <a:pt x="293" y="44"/>
                </a:cubicBezTo>
                <a:cubicBezTo>
                  <a:pt x="305" y="56"/>
                  <a:pt x="323" y="31"/>
                  <a:pt x="337" y="43"/>
                </a:cubicBezTo>
                <a:cubicBezTo>
                  <a:pt x="351" y="54"/>
                  <a:pt x="379" y="30"/>
                  <a:pt x="382" y="27"/>
                </a:cubicBezTo>
                <a:cubicBezTo>
                  <a:pt x="391" y="31"/>
                  <a:pt x="386" y="28"/>
                  <a:pt x="392" y="27"/>
                </a:cubicBezTo>
                <a:cubicBezTo>
                  <a:pt x="395" y="26"/>
                  <a:pt x="404" y="31"/>
                  <a:pt x="406" y="29"/>
                </a:cubicBezTo>
                <a:cubicBezTo>
                  <a:pt x="406" y="29"/>
                  <a:pt x="408" y="24"/>
                  <a:pt x="408" y="24"/>
                </a:cubicBezTo>
                <a:cubicBezTo>
                  <a:pt x="410" y="21"/>
                  <a:pt x="412" y="24"/>
                  <a:pt x="421" y="32"/>
                </a:cubicBezTo>
                <a:cubicBezTo>
                  <a:pt x="421" y="33"/>
                  <a:pt x="423" y="33"/>
                  <a:pt x="423" y="34"/>
                </a:cubicBezTo>
                <a:cubicBezTo>
                  <a:pt x="423" y="35"/>
                  <a:pt x="423" y="37"/>
                  <a:pt x="424" y="38"/>
                </a:cubicBezTo>
                <a:cubicBezTo>
                  <a:pt x="426" y="40"/>
                  <a:pt x="427" y="35"/>
                  <a:pt x="430" y="39"/>
                </a:cubicBezTo>
                <a:cubicBezTo>
                  <a:pt x="430" y="39"/>
                  <a:pt x="430" y="40"/>
                  <a:pt x="430" y="40"/>
                </a:cubicBezTo>
                <a:cubicBezTo>
                  <a:pt x="430" y="40"/>
                  <a:pt x="430" y="41"/>
                  <a:pt x="430" y="41"/>
                </a:cubicBezTo>
                <a:cubicBezTo>
                  <a:pt x="430" y="41"/>
                  <a:pt x="429" y="42"/>
                  <a:pt x="430" y="42"/>
                </a:cubicBezTo>
                <a:cubicBezTo>
                  <a:pt x="432" y="46"/>
                  <a:pt x="438" y="49"/>
                  <a:pt x="437" y="55"/>
                </a:cubicBezTo>
                <a:cubicBezTo>
                  <a:pt x="436" y="59"/>
                  <a:pt x="433" y="62"/>
                  <a:pt x="433" y="67"/>
                </a:cubicBezTo>
                <a:cubicBezTo>
                  <a:pt x="433" y="68"/>
                  <a:pt x="436" y="71"/>
                  <a:pt x="436" y="72"/>
                </a:cubicBezTo>
                <a:cubicBezTo>
                  <a:pt x="436" y="73"/>
                  <a:pt x="434" y="74"/>
                  <a:pt x="434" y="74"/>
                </a:cubicBezTo>
                <a:cubicBezTo>
                  <a:pt x="442" y="79"/>
                  <a:pt x="450" y="74"/>
                  <a:pt x="456" y="81"/>
                </a:cubicBezTo>
                <a:cubicBezTo>
                  <a:pt x="458" y="83"/>
                  <a:pt x="460" y="86"/>
                  <a:pt x="462" y="88"/>
                </a:cubicBezTo>
                <a:cubicBezTo>
                  <a:pt x="462" y="89"/>
                  <a:pt x="461" y="88"/>
                  <a:pt x="460" y="88"/>
                </a:cubicBezTo>
                <a:cubicBezTo>
                  <a:pt x="452" y="81"/>
                  <a:pt x="456" y="92"/>
                  <a:pt x="453" y="97"/>
                </a:cubicBezTo>
                <a:cubicBezTo>
                  <a:pt x="451" y="100"/>
                  <a:pt x="444" y="96"/>
                  <a:pt x="444" y="99"/>
                </a:cubicBezTo>
                <a:cubicBezTo>
                  <a:pt x="444" y="102"/>
                  <a:pt x="448" y="104"/>
                  <a:pt x="448" y="107"/>
                </a:cubicBezTo>
                <a:cubicBezTo>
                  <a:pt x="447" y="112"/>
                  <a:pt x="447" y="112"/>
                  <a:pt x="447" y="112"/>
                </a:cubicBezTo>
                <a:cubicBezTo>
                  <a:pt x="447" y="115"/>
                  <a:pt x="450" y="115"/>
                  <a:pt x="450" y="118"/>
                </a:cubicBezTo>
                <a:cubicBezTo>
                  <a:pt x="450" y="122"/>
                  <a:pt x="449" y="127"/>
                  <a:pt x="450" y="131"/>
                </a:cubicBezTo>
                <a:cubicBezTo>
                  <a:pt x="451" y="134"/>
                  <a:pt x="455" y="130"/>
                  <a:pt x="455" y="134"/>
                </a:cubicBezTo>
                <a:cubicBezTo>
                  <a:pt x="455" y="139"/>
                  <a:pt x="448" y="144"/>
                  <a:pt x="448" y="148"/>
                </a:cubicBezTo>
                <a:cubicBezTo>
                  <a:pt x="448" y="149"/>
                  <a:pt x="459" y="152"/>
                  <a:pt x="458" y="154"/>
                </a:cubicBezTo>
                <a:cubicBezTo>
                  <a:pt x="456" y="167"/>
                  <a:pt x="461" y="163"/>
                  <a:pt x="463" y="173"/>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43" name="Freeform 18"/>
          <p:cNvSpPr>
            <a:spLocks/>
          </p:cNvSpPr>
          <p:nvPr/>
        </p:nvSpPr>
        <p:spPr bwMode="auto">
          <a:xfrm>
            <a:off x="8047636" y="3314756"/>
            <a:ext cx="927753" cy="680923"/>
          </a:xfrm>
          <a:custGeom>
            <a:avLst/>
            <a:gdLst/>
            <a:ahLst/>
            <a:cxnLst>
              <a:cxn ang="0">
                <a:pos x="246" y="141"/>
              </a:cxn>
              <a:cxn ang="0">
                <a:pos x="241" y="125"/>
              </a:cxn>
              <a:cxn ang="0">
                <a:pos x="233" y="100"/>
              </a:cxn>
              <a:cxn ang="0">
                <a:pos x="245" y="84"/>
              </a:cxn>
              <a:cxn ang="0">
                <a:pos x="238" y="35"/>
              </a:cxn>
              <a:cxn ang="0">
                <a:pos x="220" y="18"/>
              </a:cxn>
              <a:cxn ang="0">
                <a:pos x="143" y="15"/>
              </a:cxn>
              <a:cxn ang="0">
                <a:pos x="116" y="14"/>
              </a:cxn>
              <a:cxn ang="0">
                <a:pos x="117" y="8"/>
              </a:cxn>
              <a:cxn ang="0">
                <a:pos x="122" y="8"/>
              </a:cxn>
              <a:cxn ang="0">
                <a:pos x="95" y="3"/>
              </a:cxn>
              <a:cxn ang="0">
                <a:pos x="72" y="11"/>
              </a:cxn>
              <a:cxn ang="0">
                <a:pos x="45" y="25"/>
              </a:cxn>
              <a:cxn ang="0">
                <a:pos x="9" y="35"/>
              </a:cxn>
              <a:cxn ang="0">
                <a:pos x="9" y="38"/>
              </a:cxn>
              <a:cxn ang="0">
                <a:pos x="16" y="39"/>
              </a:cxn>
              <a:cxn ang="0">
                <a:pos x="18" y="45"/>
              </a:cxn>
              <a:cxn ang="0">
                <a:pos x="10" y="44"/>
              </a:cxn>
              <a:cxn ang="0">
                <a:pos x="13" y="81"/>
              </a:cxn>
              <a:cxn ang="0">
                <a:pos x="19" y="98"/>
              </a:cxn>
              <a:cxn ang="0">
                <a:pos x="20" y="120"/>
              </a:cxn>
              <a:cxn ang="0">
                <a:pos x="25" y="147"/>
              </a:cxn>
              <a:cxn ang="0">
                <a:pos x="44" y="152"/>
              </a:cxn>
              <a:cxn ang="0">
                <a:pos x="64" y="158"/>
              </a:cxn>
              <a:cxn ang="0">
                <a:pos x="63" y="170"/>
              </a:cxn>
              <a:cxn ang="0">
                <a:pos x="76" y="168"/>
              </a:cxn>
              <a:cxn ang="0">
                <a:pos x="90" y="170"/>
              </a:cxn>
              <a:cxn ang="0">
                <a:pos x="95" y="178"/>
              </a:cxn>
              <a:cxn ang="0">
                <a:pos x="109" y="180"/>
              </a:cxn>
              <a:cxn ang="0">
                <a:pos x="123" y="198"/>
              </a:cxn>
              <a:cxn ang="0">
                <a:pos x="126" y="201"/>
              </a:cxn>
              <a:cxn ang="0">
                <a:pos x="134" y="198"/>
              </a:cxn>
              <a:cxn ang="0">
                <a:pos x="147" y="206"/>
              </a:cxn>
              <a:cxn ang="0">
                <a:pos x="152" y="210"/>
              </a:cxn>
              <a:cxn ang="0">
                <a:pos x="163" y="202"/>
              </a:cxn>
              <a:cxn ang="0">
                <a:pos x="199" y="205"/>
              </a:cxn>
              <a:cxn ang="0">
                <a:pos x="214" y="214"/>
              </a:cxn>
              <a:cxn ang="0">
                <a:pos x="219" y="208"/>
              </a:cxn>
              <a:cxn ang="0">
                <a:pos x="221" y="192"/>
              </a:cxn>
              <a:cxn ang="0">
                <a:pos x="245" y="167"/>
              </a:cxn>
              <a:cxn ang="0">
                <a:pos x="250" y="154"/>
              </a:cxn>
              <a:cxn ang="0">
                <a:pos x="246" y="141"/>
              </a:cxn>
            </a:cxnLst>
            <a:rect l="0" t="0" r="r" b="b"/>
            <a:pathLst>
              <a:path w="262" h="218">
                <a:moveTo>
                  <a:pt x="246" y="141"/>
                </a:moveTo>
                <a:cubicBezTo>
                  <a:pt x="235" y="130"/>
                  <a:pt x="245" y="132"/>
                  <a:pt x="241" y="125"/>
                </a:cubicBezTo>
                <a:cubicBezTo>
                  <a:pt x="233" y="115"/>
                  <a:pt x="250" y="104"/>
                  <a:pt x="233" y="100"/>
                </a:cubicBezTo>
                <a:cubicBezTo>
                  <a:pt x="222" y="97"/>
                  <a:pt x="235" y="88"/>
                  <a:pt x="245" y="84"/>
                </a:cubicBezTo>
                <a:cubicBezTo>
                  <a:pt x="255" y="80"/>
                  <a:pt x="246" y="61"/>
                  <a:pt x="238" y="35"/>
                </a:cubicBezTo>
                <a:cubicBezTo>
                  <a:pt x="241" y="26"/>
                  <a:pt x="226" y="17"/>
                  <a:pt x="220" y="18"/>
                </a:cubicBezTo>
                <a:cubicBezTo>
                  <a:pt x="203" y="24"/>
                  <a:pt x="173" y="21"/>
                  <a:pt x="143" y="15"/>
                </a:cubicBezTo>
                <a:cubicBezTo>
                  <a:pt x="134" y="21"/>
                  <a:pt x="119" y="22"/>
                  <a:pt x="116" y="14"/>
                </a:cubicBezTo>
                <a:cubicBezTo>
                  <a:pt x="113" y="5"/>
                  <a:pt x="111" y="3"/>
                  <a:pt x="117" y="8"/>
                </a:cubicBezTo>
                <a:cubicBezTo>
                  <a:pt x="124" y="13"/>
                  <a:pt x="126" y="10"/>
                  <a:pt x="122" y="8"/>
                </a:cubicBezTo>
                <a:cubicBezTo>
                  <a:pt x="109" y="0"/>
                  <a:pt x="111" y="0"/>
                  <a:pt x="95" y="3"/>
                </a:cubicBezTo>
                <a:cubicBezTo>
                  <a:pt x="71" y="7"/>
                  <a:pt x="88" y="7"/>
                  <a:pt x="72" y="11"/>
                </a:cubicBezTo>
                <a:cubicBezTo>
                  <a:pt x="56" y="15"/>
                  <a:pt x="70" y="20"/>
                  <a:pt x="45" y="25"/>
                </a:cubicBezTo>
                <a:cubicBezTo>
                  <a:pt x="24" y="29"/>
                  <a:pt x="21" y="37"/>
                  <a:pt x="9" y="35"/>
                </a:cubicBezTo>
                <a:cubicBezTo>
                  <a:pt x="9" y="38"/>
                  <a:pt x="9" y="38"/>
                  <a:pt x="9" y="38"/>
                </a:cubicBezTo>
                <a:cubicBezTo>
                  <a:pt x="12" y="43"/>
                  <a:pt x="13" y="37"/>
                  <a:pt x="16" y="39"/>
                </a:cubicBezTo>
                <a:cubicBezTo>
                  <a:pt x="19" y="41"/>
                  <a:pt x="17" y="40"/>
                  <a:pt x="18" y="45"/>
                </a:cubicBezTo>
                <a:cubicBezTo>
                  <a:pt x="19" y="49"/>
                  <a:pt x="16" y="45"/>
                  <a:pt x="10" y="44"/>
                </a:cubicBezTo>
                <a:cubicBezTo>
                  <a:pt x="18" y="67"/>
                  <a:pt x="0" y="71"/>
                  <a:pt x="13" y="81"/>
                </a:cubicBezTo>
                <a:cubicBezTo>
                  <a:pt x="26" y="91"/>
                  <a:pt x="14" y="90"/>
                  <a:pt x="19" y="98"/>
                </a:cubicBezTo>
                <a:cubicBezTo>
                  <a:pt x="28" y="111"/>
                  <a:pt x="17" y="108"/>
                  <a:pt x="20" y="120"/>
                </a:cubicBezTo>
                <a:cubicBezTo>
                  <a:pt x="22" y="131"/>
                  <a:pt x="34" y="121"/>
                  <a:pt x="25" y="147"/>
                </a:cubicBezTo>
                <a:cubicBezTo>
                  <a:pt x="38" y="139"/>
                  <a:pt x="28" y="145"/>
                  <a:pt x="44" y="152"/>
                </a:cubicBezTo>
                <a:cubicBezTo>
                  <a:pt x="60" y="159"/>
                  <a:pt x="60" y="153"/>
                  <a:pt x="64" y="158"/>
                </a:cubicBezTo>
                <a:cubicBezTo>
                  <a:pt x="67" y="162"/>
                  <a:pt x="52" y="158"/>
                  <a:pt x="63" y="170"/>
                </a:cubicBezTo>
                <a:cubicBezTo>
                  <a:pt x="75" y="183"/>
                  <a:pt x="79" y="172"/>
                  <a:pt x="76" y="168"/>
                </a:cubicBezTo>
                <a:cubicBezTo>
                  <a:pt x="72" y="163"/>
                  <a:pt x="82" y="168"/>
                  <a:pt x="90" y="170"/>
                </a:cubicBezTo>
                <a:cubicBezTo>
                  <a:pt x="98" y="172"/>
                  <a:pt x="90" y="173"/>
                  <a:pt x="95" y="178"/>
                </a:cubicBezTo>
                <a:cubicBezTo>
                  <a:pt x="101" y="183"/>
                  <a:pt x="98" y="176"/>
                  <a:pt x="109" y="180"/>
                </a:cubicBezTo>
                <a:cubicBezTo>
                  <a:pt x="119" y="184"/>
                  <a:pt x="121" y="191"/>
                  <a:pt x="123" y="198"/>
                </a:cubicBezTo>
                <a:cubicBezTo>
                  <a:pt x="125" y="199"/>
                  <a:pt x="126" y="198"/>
                  <a:pt x="126" y="201"/>
                </a:cubicBezTo>
                <a:cubicBezTo>
                  <a:pt x="126" y="204"/>
                  <a:pt x="129" y="204"/>
                  <a:pt x="134" y="198"/>
                </a:cubicBezTo>
                <a:cubicBezTo>
                  <a:pt x="138" y="192"/>
                  <a:pt x="149" y="198"/>
                  <a:pt x="147" y="206"/>
                </a:cubicBezTo>
                <a:cubicBezTo>
                  <a:pt x="145" y="211"/>
                  <a:pt x="149" y="207"/>
                  <a:pt x="152" y="210"/>
                </a:cubicBezTo>
                <a:cubicBezTo>
                  <a:pt x="155" y="212"/>
                  <a:pt x="157" y="201"/>
                  <a:pt x="163" y="202"/>
                </a:cubicBezTo>
                <a:cubicBezTo>
                  <a:pt x="167" y="202"/>
                  <a:pt x="185" y="200"/>
                  <a:pt x="199" y="205"/>
                </a:cubicBezTo>
                <a:cubicBezTo>
                  <a:pt x="203" y="206"/>
                  <a:pt x="197" y="209"/>
                  <a:pt x="214" y="214"/>
                </a:cubicBezTo>
                <a:cubicBezTo>
                  <a:pt x="230" y="218"/>
                  <a:pt x="216" y="213"/>
                  <a:pt x="219" y="208"/>
                </a:cubicBezTo>
                <a:cubicBezTo>
                  <a:pt x="222" y="203"/>
                  <a:pt x="214" y="200"/>
                  <a:pt x="221" y="192"/>
                </a:cubicBezTo>
                <a:cubicBezTo>
                  <a:pt x="228" y="183"/>
                  <a:pt x="238" y="168"/>
                  <a:pt x="245" y="167"/>
                </a:cubicBezTo>
                <a:cubicBezTo>
                  <a:pt x="257" y="164"/>
                  <a:pt x="254" y="159"/>
                  <a:pt x="250" y="154"/>
                </a:cubicBezTo>
                <a:cubicBezTo>
                  <a:pt x="245" y="148"/>
                  <a:pt x="262" y="158"/>
                  <a:pt x="246" y="141"/>
                </a:cubicBezTo>
                <a:close/>
              </a:path>
            </a:pathLst>
          </a:custGeom>
          <a:solidFill>
            <a:schemeClr val="accent1"/>
          </a:solidFill>
          <a:ln w="6350" cap="rnd" cmpd="sng">
            <a:solidFill>
              <a:schemeClr val="bg2">
                <a:lumMod val="50000"/>
              </a:schemeClr>
            </a:solidFill>
            <a:prstDash val="solid"/>
            <a:round/>
            <a:headEnd/>
            <a:tailEnd/>
          </a:ln>
        </p:spPr>
        <p:txBody>
          <a:bodyPr/>
          <a:lstStyle/>
          <a:p>
            <a:endParaRPr lang="de-DE" sz="1800">
              <a:solidFill>
                <a:srgbClr val="000000"/>
              </a:solidFill>
              <a:latin typeface="Arial" charset="0"/>
              <a:ea typeface="ＭＳ Ｐゴシック"/>
            </a:endParaRPr>
          </a:p>
        </p:txBody>
      </p:sp>
      <p:sp>
        <p:nvSpPr>
          <p:cNvPr id="44" name="Freeform 20"/>
          <p:cNvSpPr>
            <a:spLocks/>
          </p:cNvSpPr>
          <p:nvPr/>
        </p:nvSpPr>
        <p:spPr bwMode="auto">
          <a:xfrm>
            <a:off x="5985756" y="4735654"/>
            <a:ext cx="338380" cy="557286"/>
          </a:xfrm>
          <a:custGeom>
            <a:avLst/>
            <a:gdLst/>
            <a:ahLst/>
            <a:cxnLst>
              <a:cxn ang="0">
                <a:pos x="83" y="18"/>
              </a:cxn>
              <a:cxn ang="0">
                <a:pos x="71" y="8"/>
              </a:cxn>
              <a:cxn ang="0">
                <a:pos x="53" y="11"/>
              </a:cxn>
              <a:cxn ang="0">
                <a:pos x="38" y="12"/>
              </a:cxn>
              <a:cxn ang="0">
                <a:pos x="40" y="2"/>
              </a:cxn>
              <a:cxn ang="0">
                <a:pos x="23" y="11"/>
              </a:cxn>
              <a:cxn ang="0">
                <a:pos x="23" y="20"/>
              </a:cxn>
              <a:cxn ang="0">
                <a:pos x="27" y="35"/>
              </a:cxn>
              <a:cxn ang="0">
                <a:pos x="22" y="67"/>
              </a:cxn>
              <a:cxn ang="0">
                <a:pos x="17" y="85"/>
              </a:cxn>
              <a:cxn ang="0">
                <a:pos x="9" y="98"/>
              </a:cxn>
              <a:cxn ang="0">
                <a:pos x="9" y="118"/>
              </a:cxn>
              <a:cxn ang="0">
                <a:pos x="13" y="122"/>
              </a:cxn>
              <a:cxn ang="0">
                <a:pos x="15" y="127"/>
              </a:cxn>
              <a:cxn ang="0">
                <a:pos x="23" y="137"/>
              </a:cxn>
              <a:cxn ang="0">
                <a:pos x="21" y="167"/>
              </a:cxn>
              <a:cxn ang="0">
                <a:pos x="21" y="175"/>
              </a:cxn>
              <a:cxn ang="0">
                <a:pos x="39" y="174"/>
              </a:cxn>
              <a:cxn ang="0">
                <a:pos x="58" y="169"/>
              </a:cxn>
              <a:cxn ang="0">
                <a:pos x="63" y="142"/>
              </a:cxn>
              <a:cxn ang="0">
                <a:pos x="65" y="134"/>
              </a:cxn>
              <a:cxn ang="0">
                <a:pos x="65" y="113"/>
              </a:cxn>
              <a:cxn ang="0">
                <a:pos x="61" y="99"/>
              </a:cxn>
              <a:cxn ang="0">
                <a:pos x="61" y="85"/>
              </a:cxn>
              <a:cxn ang="0">
                <a:pos x="68" y="73"/>
              </a:cxn>
              <a:cxn ang="0">
                <a:pos x="72" y="45"/>
              </a:cxn>
              <a:cxn ang="0">
                <a:pos x="83" y="18"/>
              </a:cxn>
            </a:cxnLst>
            <a:rect l="0" t="0" r="r" b="b"/>
            <a:pathLst>
              <a:path w="96" h="179">
                <a:moveTo>
                  <a:pt x="83" y="18"/>
                </a:moveTo>
                <a:cubicBezTo>
                  <a:pt x="73" y="16"/>
                  <a:pt x="86" y="9"/>
                  <a:pt x="71" y="8"/>
                </a:cubicBezTo>
                <a:cubicBezTo>
                  <a:pt x="56" y="6"/>
                  <a:pt x="64" y="16"/>
                  <a:pt x="53" y="11"/>
                </a:cubicBezTo>
                <a:cubicBezTo>
                  <a:pt x="42" y="5"/>
                  <a:pt x="42" y="15"/>
                  <a:pt x="38" y="12"/>
                </a:cubicBezTo>
                <a:cubicBezTo>
                  <a:pt x="34" y="9"/>
                  <a:pt x="44" y="5"/>
                  <a:pt x="40" y="2"/>
                </a:cubicBezTo>
                <a:cubicBezTo>
                  <a:pt x="36" y="0"/>
                  <a:pt x="35" y="0"/>
                  <a:pt x="23" y="11"/>
                </a:cubicBezTo>
                <a:cubicBezTo>
                  <a:pt x="20" y="17"/>
                  <a:pt x="25" y="17"/>
                  <a:pt x="23" y="20"/>
                </a:cubicBezTo>
                <a:cubicBezTo>
                  <a:pt x="22" y="23"/>
                  <a:pt x="23" y="28"/>
                  <a:pt x="27" y="35"/>
                </a:cubicBezTo>
                <a:cubicBezTo>
                  <a:pt x="31" y="43"/>
                  <a:pt x="21" y="62"/>
                  <a:pt x="22" y="67"/>
                </a:cubicBezTo>
                <a:cubicBezTo>
                  <a:pt x="23" y="72"/>
                  <a:pt x="21" y="70"/>
                  <a:pt x="17" y="85"/>
                </a:cubicBezTo>
                <a:cubicBezTo>
                  <a:pt x="12" y="99"/>
                  <a:pt x="7" y="92"/>
                  <a:pt x="9" y="98"/>
                </a:cubicBezTo>
                <a:cubicBezTo>
                  <a:pt x="11" y="104"/>
                  <a:pt x="0" y="119"/>
                  <a:pt x="9" y="118"/>
                </a:cubicBezTo>
                <a:cubicBezTo>
                  <a:pt x="19" y="118"/>
                  <a:pt x="11" y="120"/>
                  <a:pt x="13" y="122"/>
                </a:cubicBezTo>
                <a:cubicBezTo>
                  <a:pt x="14" y="125"/>
                  <a:pt x="11" y="130"/>
                  <a:pt x="15" y="127"/>
                </a:cubicBezTo>
                <a:cubicBezTo>
                  <a:pt x="18" y="125"/>
                  <a:pt x="26" y="126"/>
                  <a:pt x="23" y="137"/>
                </a:cubicBezTo>
                <a:cubicBezTo>
                  <a:pt x="19" y="148"/>
                  <a:pt x="27" y="142"/>
                  <a:pt x="21" y="167"/>
                </a:cubicBezTo>
                <a:cubicBezTo>
                  <a:pt x="19" y="176"/>
                  <a:pt x="19" y="177"/>
                  <a:pt x="21" y="175"/>
                </a:cubicBezTo>
                <a:cubicBezTo>
                  <a:pt x="24" y="172"/>
                  <a:pt x="26" y="170"/>
                  <a:pt x="39" y="174"/>
                </a:cubicBezTo>
                <a:cubicBezTo>
                  <a:pt x="52" y="179"/>
                  <a:pt x="47" y="174"/>
                  <a:pt x="58" y="169"/>
                </a:cubicBezTo>
                <a:cubicBezTo>
                  <a:pt x="56" y="164"/>
                  <a:pt x="54" y="150"/>
                  <a:pt x="63" y="142"/>
                </a:cubicBezTo>
                <a:cubicBezTo>
                  <a:pt x="72" y="135"/>
                  <a:pt x="69" y="135"/>
                  <a:pt x="65" y="134"/>
                </a:cubicBezTo>
                <a:cubicBezTo>
                  <a:pt x="60" y="133"/>
                  <a:pt x="55" y="127"/>
                  <a:pt x="65" y="113"/>
                </a:cubicBezTo>
                <a:cubicBezTo>
                  <a:pt x="75" y="100"/>
                  <a:pt x="63" y="109"/>
                  <a:pt x="61" y="99"/>
                </a:cubicBezTo>
                <a:cubicBezTo>
                  <a:pt x="59" y="88"/>
                  <a:pt x="50" y="86"/>
                  <a:pt x="61" y="85"/>
                </a:cubicBezTo>
                <a:cubicBezTo>
                  <a:pt x="71" y="84"/>
                  <a:pt x="72" y="81"/>
                  <a:pt x="68" y="73"/>
                </a:cubicBezTo>
                <a:cubicBezTo>
                  <a:pt x="65" y="65"/>
                  <a:pt x="74" y="65"/>
                  <a:pt x="72" y="45"/>
                </a:cubicBezTo>
                <a:cubicBezTo>
                  <a:pt x="71" y="37"/>
                  <a:pt x="96" y="20"/>
                  <a:pt x="83" y="18"/>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endParaRPr lang="de-DE" sz="1800">
              <a:solidFill>
                <a:srgbClr val="000000"/>
              </a:solidFill>
              <a:latin typeface="Arial" charset="0"/>
              <a:ea typeface="ＭＳ Ｐゴシック"/>
            </a:endParaRPr>
          </a:p>
        </p:txBody>
      </p:sp>
      <p:sp>
        <p:nvSpPr>
          <p:cNvPr id="45" name="Freeform 22"/>
          <p:cNvSpPr>
            <a:spLocks noEditPoints="1"/>
          </p:cNvSpPr>
          <p:nvPr/>
        </p:nvSpPr>
        <p:spPr bwMode="auto">
          <a:xfrm>
            <a:off x="7389468" y="4200512"/>
            <a:ext cx="1076492" cy="1120111"/>
          </a:xfrm>
          <a:custGeom>
            <a:avLst/>
            <a:gdLst/>
            <a:ahLst/>
            <a:cxnLst>
              <a:cxn ang="0">
                <a:pos x="295" y="253"/>
              </a:cxn>
              <a:cxn ang="0">
                <a:pos x="261" y="233"/>
              </a:cxn>
              <a:cxn ang="0">
                <a:pos x="258" y="262"/>
              </a:cxn>
              <a:cxn ang="0">
                <a:pos x="249" y="303"/>
              </a:cxn>
              <a:cxn ang="0">
                <a:pos x="234" y="303"/>
              </a:cxn>
              <a:cxn ang="0">
                <a:pos x="238" y="264"/>
              </a:cxn>
              <a:cxn ang="0">
                <a:pos x="205" y="227"/>
              </a:cxn>
              <a:cxn ang="0">
                <a:pos x="179" y="205"/>
              </a:cxn>
              <a:cxn ang="0">
                <a:pos x="135" y="176"/>
              </a:cxn>
              <a:cxn ang="0">
                <a:pos x="108" y="151"/>
              </a:cxn>
              <a:cxn ang="0">
                <a:pos x="87" y="108"/>
              </a:cxn>
              <a:cxn ang="0">
                <a:pos x="29" y="119"/>
              </a:cxn>
              <a:cxn ang="0">
                <a:pos x="15" y="98"/>
              </a:cxn>
              <a:cxn ang="0">
                <a:pos x="20" y="64"/>
              </a:cxn>
              <a:cxn ang="0">
                <a:pos x="27" y="43"/>
              </a:cxn>
              <a:cxn ang="0">
                <a:pos x="45" y="29"/>
              </a:cxn>
              <a:cxn ang="0">
                <a:pos x="57" y="36"/>
              </a:cxn>
              <a:cxn ang="0">
                <a:pos x="70" y="35"/>
              </a:cxn>
              <a:cxn ang="0">
                <a:pos x="84" y="29"/>
              </a:cxn>
              <a:cxn ang="0">
                <a:pos x="93" y="19"/>
              </a:cxn>
              <a:cxn ang="0">
                <a:pos x="102" y="9"/>
              </a:cxn>
              <a:cxn ang="0">
                <a:pos x="122" y="5"/>
              </a:cxn>
              <a:cxn ang="0">
                <a:pos x="144" y="7"/>
              </a:cxn>
              <a:cxn ang="0">
                <a:pos x="182" y="22"/>
              </a:cxn>
              <a:cxn ang="0">
                <a:pos x="180" y="36"/>
              </a:cxn>
              <a:cxn ang="0">
                <a:pos x="182" y="55"/>
              </a:cxn>
              <a:cxn ang="0">
                <a:pos x="167" y="51"/>
              </a:cxn>
              <a:cxn ang="0">
                <a:pos x="147" y="68"/>
              </a:cxn>
              <a:cxn ang="0">
                <a:pos x="157" y="110"/>
              </a:cxn>
              <a:cxn ang="0">
                <a:pos x="208" y="176"/>
              </a:cxn>
              <a:cxn ang="0">
                <a:pos x="268" y="212"/>
              </a:cxn>
              <a:cxn ang="0">
                <a:pos x="300" y="245"/>
              </a:cxn>
              <a:cxn ang="0">
                <a:pos x="177" y="310"/>
              </a:cxn>
              <a:cxn ang="0">
                <a:pos x="152" y="322"/>
              </a:cxn>
              <a:cxn ang="0">
                <a:pos x="189" y="344"/>
              </a:cxn>
              <a:cxn ang="0">
                <a:pos x="218" y="355"/>
              </a:cxn>
              <a:cxn ang="0">
                <a:pos x="229" y="305"/>
              </a:cxn>
              <a:cxn ang="0">
                <a:pos x="81" y="211"/>
              </a:cxn>
              <a:cxn ang="0">
                <a:pos x="45" y="222"/>
              </a:cxn>
              <a:cxn ang="0">
                <a:pos x="52" y="260"/>
              </a:cxn>
              <a:cxn ang="0">
                <a:pos x="73" y="275"/>
              </a:cxn>
              <a:cxn ang="0">
                <a:pos x="84" y="234"/>
              </a:cxn>
            </a:cxnLst>
            <a:rect l="0" t="0" r="r" b="b"/>
            <a:pathLst>
              <a:path w="304" h="360">
                <a:moveTo>
                  <a:pt x="300" y="245"/>
                </a:moveTo>
                <a:cubicBezTo>
                  <a:pt x="296" y="252"/>
                  <a:pt x="304" y="254"/>
                  <a:pt x="295" y="253"/>
                </a:cubicBezTo>
                <a:cubicBezTo>
                  <a:pt x="285" y="251"/>
                  <a:pt x="291" y="236"/>
                  <a:pt x="280" y="235"/>
                </a:cubicBezTo>
                <a:cubicBezTo>
                  <a:pt x="269" y="234"/>
                  <a:pt x="269" y="228"/>
                  <a:pt x="261" y="233"/>
                </a:cubicBezTo>
                <a:cubicBezTo>
                  <a:pt x="253" y="238"/>
                  <a:pt x="257" y="245"/>
                  <a:pt x="253" y="251"/>
                </a:cubicBezTo>
                <a:cubicBezTo>
                  <a:pt x="248" y="256"/>
                  <a:pt x="249" y="259"/>
                  <a:pt x="258" y="262"/>
                </a:cubicBezTo>
                <a:cubicBezTo>
                  <a:pt x="267" y="265"/>
                  <a:pt x="274" y="277"/>
                  <a:pt x="262" y="284"/>
                </a:cubicBezTo>
                <a:cubicBezTo>
                  <a:pt x="250" y="291"/>
                  <a:pt x="257" y="295"/>
                  <a:pt x="249" y="303"/>
                </a:cubicBezTo>
                <a:cubicBezTo>
                  <a:pt x="241" y="312"/>
                  <a:pt x="243" y="322"/>
                  <a:pt x="233" y="317"/>
                </a:cubicBezTo>
                <a:cubicBezTo>
                  <a:pt x="228" y="314"/>
                  <a:pt x="229" y="308"/>
                  <a:pt x="234" y="303"/>
                </a:cubicBezTo>
                <a:cubicBezTo>
                  <a:pt x="238" y="297"/>
                  <a:pt x="234" y="294"/>
                  <a:pt x="239" y="290"/>
                </a:cubicBezTo>
                <a:cubicBezTo>
                  <a:pt x="243" y="286"/>
                  <a:pt x="243" y="284"/>
                  <a:pt x="238" y="264"/>
                </a:cubicBezTo>
                <a:cubicBezTo>
                  <a:pt x="232" y="243"/>
                  <a:pt x="226" y="250"/>
                  <a:pt x="215" y="242"/>
                </a:cubicBezTo>
                <a:cubicBezTo>
                  <a:pt x="205" y="235"/>
                  <a:pt x="217" y="224"/>
                  <a:pt x="205" y="227"/>
                </a:cubicBezTo>
                <a:cubicBezTo>
                  <a:pt x="193" y="229"/>
                  <a:pt x="206" y="220"/>
                  <a:pt x="195" y="221"/>
                </a:cubicBezTo>
                <a:cubicBezTo>
                  <a:pt x="185" y="222"/>
                  <a:pt x="188" y="205"/>
                  <a:pt x="179" y="205"/>
                </a:cubicBezTo>
                <a:cubicBezTo>
                  <a:pt x="169" y="205"/>
                  <a:pt x="158" y="203"/>
                  <a:pt x="148" y="189"/>
                </a:cubicBezTo>
                <a:cubicBezTo>
                  <a:pt x="139" y="176"/>
                  <a:pt x="139" y="186"/>
                  <a:pt x="135" y="176"/>
                </a:cubicBezTo>
                <a:cubicBezTo>
                  <a:pt x="130" y="165"/>
                  <a:pt x="118" y="170"/>
                  <a:pt x="119" y="164"/>
                </a:cubicBezTo>
                <a:cubicBezTo>
                  <a:pt x="120" y="158"/>
                  <a:pt x="119" y="158"/>
                  <a:pt x="108" y="151"/>
                </a:cubicBezTo>
                <a:cubicBezTo>
                  <a:pt x="97" y="143"/>
                  <a:pt x="108" y="138"/>
                  <a:pt x="101" y="132"/>
                </a:cubicBezTo>
                <a:cubicBezTo>
                  <a:pt x="94" y="126"/>
                  <a:pt x="99" y="106"/>
                  <a:pt x="87" y="108"/>
                </a:cubicBezTo>
                <a:cubicBezTo>
                  <a:pt x="76" y="111"/>
                  <a:pt x="72" y="90"/>
                  <a:pt x="59" y="95"/>
                </a:cubicBezTo>
                <a:cubicBezTo>
                  <a:pt x="46" y="101"/>
                  <a:pt x="56" y="110"/>
                  <a:pt x="29" y="119"/>
                </a:cubicBezTo>
                <a:cubicBezTo>
                  <a:pt x="28" y="115"/>
                  <a:pt x="36" y="107"/>
                  <a:pt x="33" y="104"/>
                </a:cubicBezTo>
                <a:cubicBezTo>
                  <a:pt x="31" y="101"/>
                  <a:pt x="19" y="109"/>
                  <a:pt x="15" y="98"/>
                </a:cubicBezTo>
                <a:cubicBezTo>
                  <a:pt x="10" y="87"/>
                  <a:pt x="28" y="87"/>
                  <a:pt x="12" y="77"/>
                </a:cubicBezTo>
                <a:cubicBezTo>
                  <a:pt x="0" y="68"/>
                  <a:pt x="14" y="71"/>
                  <a:pt x="20" y="64"/>
                </a:cubicBezTo>
                <a:cubicBezTo>
                  <a:pt x="26" y="57"/>
                  <a:pt x="7" y="56"/>
                  <a:pt x="16" y="43"/>
                </a:cubicBezTo>
                <a:cubicBezTo>
                  <a:pt x="18" y="43"/>
                  <a:pt x="21" y="47"/>
                  <a:pt x="27" y="43"/>
                </a:cubicBezTo>
                <a:cubicBezTo>
                  <a:pt x="34" y="38"/>
                  <a:pt x="33" y="46"/>
                  <a:pt x="42" y="40"/>
                </a:cubicBezTo>
                <a:cubicBezTo>
                  <a:pt x="51" y="33"/>
                  <a:pt x="41" y="31"/>
                  <a:pt x="45" y="29"/>
                </a:cubicBezTo>
                <a:cubicBezTo>
                  <a:pt x="50" y="26"/>
                  <a:pt x="53" y="20"/>
                  <a:pt x="53" y="24"/>
                </a:cubicBezTo>
                <a:cubicBezTo>
                  <a:pt x="53" y="28"/>
                  <a:pt x="51" y="33"/>
                  <a:pt x="57" y="36"/>
                </a:cubicBezTo>
                <a:cubicBezTo>
                  <a:pt x="63" y="39"/>
                  <a:pt x="64" y="49"/>
                  <a:pt x="68" y="47"/>
                </a:cubicBezTo>
                <a:cubicBezTo>
                  <a:pt x="71" y="45"/>
                  <a:pt x="64" y="40"/>
                  <a:pt x="70" y="35"/>
                </a:cubicBezTo>
                <a:cubicBezTo>
                  <a:pt x="76" y="31"/>
                  <a:pt x="71" y="23"/>
                  <a:pt x="75" y="23"/>
                </a:cubicBezTo>
                <a:cubicBezTo>
                  <a:pt x="79" y="22"/>
                  <a:pt x="79" y="32"/>
                  <a:pt x="84" y="29"/>
                </a:cubicBezTo>
                <a:cubicBezTo>
                  <a:pt x="90" y="24"/>
                  <a:pt x="90" y="33"/>
                  <a:pt x="94" y="32"/>
                </a:cubicBezTo>
                <a:cubicBezTo>
                  <a:pt x="98" y="31"/>
                  <a:pt x="91" y="22"/>
                  <a:pt x="93" y="19"/>
                </a:cubicBezTo>
                <a:cubicBezTo>
                  <a:pt x="95" y="17"/>
                  <a:pt x="99" y="25"/>
                  <a:pt x="103" y="22"/>
                </a:cubicBezTo>
                <a:cubicBezTo>
                  <a:pt x="106" y="19"/>
                  <a:pt x="98" y="18"/>
                  <a:pt x="102" y="9"/>
                </a:cubicBezTo>
                <a:cubicBezTo>
                  <a:pt x="109" y="9"/>
                  <a:pt x="110" y="15"/>
                  <a:pt x="115" y="14"/>
                </a:cubicBezTo>
                <a:cubicBezTo>
                  <a:pt x="119" y="13"/>
                  <a:pt x="116" y="6"/>
                  <a:pt x="122" y="5"/>
                </a:cubicBezTo>
                <a:cubicBezTo>
                  <a:pt x="128" y="4"/>
                  <a:pt x="130" y="7"/>
                  <a:pt x="139" y="4"/>
                </a:cubicBezTo>
                <a:cubicBezTo>
                  <a:pt x="151" y="0"/>
                  <a:pt x="143" y="4"/>
                  <a:pt x="144" y="7"/>
                </a:cubicBezTo>
                <a:cubicBezTo>
                  <a:pt x="144" y="9"/>
                  <a:pt x="148" y="8"/>
                  <a:pt x="147" y="11"/>
                </a:cubicBezTo>
                <a:cubicBezTo>
                  <a:pt x="146" y="15"/>
                  <a:pt x="158" y="19"/>
                  <a:pt x="182" y="22"/>
                </a:cubicBezTo>
                <a:cubicBezTo>
                  <a:pt x="181" y="25"/>
                  <a:pt x="174" y="28"/>
                  <a:pt x="175" y="31"/>
                </a:cubicBezTo>
                <a:cubicBezTo>
                  <a:pt x="175" y="33"/>
                  <a:pt x="184" y="32"/>
                  <a:pt x="180" y="36"/>
                </a:cubicBezTo>
                <a:cubicBezTo>
                  <a:pt x="176" y="40"/>
                  <a:pt x="178" y="44"/>
                  <a:pt x="181" y="47"/>
                </a:cubicBezTo>
                <a:cubicBezTo>
                  <a:pt x="184" y="49"/>
                  <a:pt x="190" y="57"/>
                  <a:pt x="182" y="55"/>
                </a:cubicBezTo>
                <a:cubicBezTo>
                  <a:pt x="182" y="53"/>
                  <a:pt x="183" y="49"/>
                  <a:pt x="177" y="52"/>
                </a:cubicBezTo>
                <a:cubicBezTo>
                  <a:pt x="169" y="55"/>
                  <a:pt x="176" y="47"/>
                  <a:pt x="167" y="51"/>
                </a:cubicBezTo>
                <a:cubicBezTo>
                  <a:pt x="158" y="56"/>
                  <a:pt x="155" y="63"/>
                  <a:pt x="151" y="60"/>
                </a:cubicBezTo>
                <a:cubicBezTo>
                  <a:pt x="148" y="57"/>
                  <a:pt x="143" y="62"/>
                  <a:pt x="147" y="68"/>
                </a:cubicBezTo>
                <a:cubicBezTo>
                  <a:pt x="151" y="75"/>
                  <a:pt x="157" y="79"/>
                  <a:pt x="150" y="81"/>
                </a:cubicBezTo>
                <a:cubicBezTo>
                  <a:pt x="144" y="84"/>
                  <a:pt x="146" y="102"/>
                  <a:pt x="157" y="110"/>
                </a:cubicBezTo>
                <a:cubicBezTo>
                  <a:pt x="167" y="117"/>
                  <a:pt x="169" y="123"/>
                  <a:pt x="177" y="123"/>
                </a:cubicBezTo>
                <a:cubicBezTo>
                  <a:pt x="185" y="123"/>
                  <a:pt x="179" y="150"/>
                  <a:pt x="208" y="176"/>
                </a:cubicBezTo>
                <a:cubicBezTo>
                  <a:pt x="220" y="186"/>
                  <a:pt x="255" y="178"/>
                  <a:pt x="240" y="191"/>
                </a:cubicBezTo>
                <a:cubicBezTo>
                  <a:pt x="229" y="200"/>
                  <a:pt x="264" y="207"/>
                  <a:pt x="268" y="212"/>
                </a:cubicBezTo>
                <a:cubicBezTo>
                  <a:pt x="272" y="218"/>
                  <a:pt x="277" y="219"/>
                  <a:pt x="284" y="224"/>
                </a:cubicBezTo>
                <a:cubicBezTo>
                  <a:pt x="291" y="229"/>
                  <a:pt x="304" y="237"/>
                  <a:pt x="300" y="245"/>
                </a:cubicBezTo>
                <a:close/>
                <a:moveTo>
                  <a:pt x="211" y="308"/>
                </a:moveTo>
                <a:cubicBezTo>
                  <a:pt x="203" y="307"/>
                  <a:pt x="190" y="322"/>
                  <a:pt x="177" y="310"/>
                </a:cubicBezTo>
                <a:cubicBezTo>
                  <a:pt x="164" y="298"/>
                  <a:pt x="165" y="321"/>
                  <a:pt x="160" y="310"/>
                </a:cubicBezTo>
                <a:cubicBezTo>
                  <a:pt x="158" y="306"/>
                  <a:pt x="151" y="310"/>
                  <a:pt x="152" y="322"/>
                </a:cubicBezTo>
                <a:cubicBezTo>
                  <a:pt x="152" y="327"/>
                  <a:pt x="156" y="328"/>
                  <a:pt x="164" y="330"/>
                </a:cubicBezTo>
                <a:cubicBezTo>
                  <a:pt x="172" y="332"/>
                  <a:pt x="182" y="344"/>
                  <a:pt x="189" y="344"/>
                </a:cubicBezTo>
                <a:cubicBezTo>
                  <a:pt x="197" y="344"/>
                  <a:pt x="199" y="352"/>
                  <a:pt x="208" y="355"/>
                </a:cubicBezTo>
                <a:cubicBezTo>
                  <a:pt x="217" y="358"/>
                  <a:pt x="218" y="360"/>
                  <a:pt x="218" y="355"/>
                </a:cubicBezTo>
                <a:cubicBezTo>
                  <a:pt x="217" y="350"/>
                  <a:pt x="223" y="340"/>
                  <a:pt x="217" y="336"/>
                </a:cubicBezTo>
                <a:cubicBezTo>
                  <a:pt x="212" y="332"/>
                  <a:pt x="226" y="310"/>
                  <a:pt x="229" y="305"/>
                </a:cubicBezTo>
                <a:cubicBezTo>
                  <a:pt x="232" y="300"/>
                  <a:pt x="219" y="310"/>
                  <a:pt x="211" y="308"/>
                </a:cubicBezTo>
                <a:close/>
                <a:moveTo>
                  <a:pt x="81" y="211"/>
                </a:moveTo>
                <a:cubicBezTo>
                  <a:pt x="77" y="205"/>
                  <a:pt x="74" y="202"/>
                  <a:pt x="61" y="214"/>
                </a:cubicBezTo>
                <a:cubicBezTo>
                  <a:pt x="47" y="226"/>
                  <a:pt x="45" y="206"/>
                  <a:pt x="45" y="222"/>
                </a:cubicBezTo>
                <a:cubicBezTo>
                  <a:pt x="45" y="229"/>
                  <a:pt x="53" y="228"/>
                  <a:pt x="52" y="243"/>
                </a:cubicBezTo>
                <a:cubicBezTo>
                  <a:pt x="51" y="254"/>
                  <a:pt x="56" y="247"/>
                  <a:pt x="52" y="260"/>
                </a:cubicBezTo>
                <a:cubicBezTo>
                  <a:pt x="49" y="273"/>
                  <a:pt x="54" y="285"/>
                  <a:pt x="62" y="284"/>
                </a:cubicBezTo>
                <a:cubicBezTo>
                  <a:pt x="70" y="283"/>
                  <a:pt x="66" y="271"/>
                  <a:pt x="73" y="275"/>
                </a:cubicBezTo>
                <a:cubicBezTo>
                  <a:pt x="79" y="279"/>
                  <a:pt x="81" y="275"/>
                  <a:pt x="84" y="256"/>
                </a:cubicBezTo>
                <a:cubicBezTo>
                  <a:pt x="87" y="238"/>
                  <a:pt x="78" y="241"/>
                  <a:pt x="84" y="234"/>
                </a:cubicBezTo>
                <a:cubicBezTo>
                  <a:pt x="90" y="228"/>
                  <a:pt x="84" y="216"/>
                  <a:pt x="81" y="211"/>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46" name="Freeform 30"/>
          <p:cNvSpPr>
            <a:spLocks/>
          </p:cNvSpPr>
          <p:nvPr/>
        </p:nvSpPr>
        <p:spPr bwMode="auto">
          <a:xfrm>
            <a:off x="8250291" y="4028896"/>
            <a:ext cx="587514" cy="328467"/>
          </a:xfrm>
          <a:custGeom>
            <a:avLst/>
            <a:gdLst/>
            <a:ahLst/>
            <a:cxnLst>
              <a:cxn ang="0">
                <a:pos x="165" y="24"/>
              </a:cxn>
              <a:cxn ang="0">
                <a:pos x="161" y="21"/>
              </a:cxn>
              <a:cxn ang="0">
                <a:pos x="146" y="9"/>
              </a:cxn>
              <a:cxn ang="0">
                <a:pos x="136" y="11"/>
              </a:cxn>
              <a:cxn ang="0">
                <a:pos x="126" y="5"/>
              </a:cxn>
              <a:cxn ang="0">
                <a:pos x="110" y="4"/>
              </a:cxn>
              <a:cxn ang="0">
                <a:pos x="102" y="15"/>
              </a:cxn>
              <a:cxn ang="0">
                <a:pos x="93" y="20"/>
              </a:cxn>
              <a:cxn ang="0">
                <a:pos x="83" y="19"/>
              </a:cxn>
              <a:cxn ang="0">
                <a:pos x="67" y="22"/>
              </a:cxn>
              <a:cxn ang="0">
                <a:pos x="66" y="31"/>
              </a:cxn>
              <a:cxn ang="0">
                <a:pos x="48" y="34"/>
              </a:cxn>
              <a:cxn ang="0">
                <a:pos x="24" y="23"/>
              </a:cxn>
              <a:cxn ang="0">
                <a:pos x="21" y="35"/>
              </a:cxn>
              <a:cxn ang="0">
                <a:pos x="7" y="35"/>
              </a:cxn>
              <a:cxn ang="0">
                <a:pos x="13" y="42"/>
              </a:cxn>
              <a:cxn ang="0">
                <a:pos x="7" y="48"/>
              </a:cxn>
              <a:cxn ang="0">
                <a:pos x="8" y="56"/>
              </a:cxn>
              <a:cxn ang="0">
                <a:pos x="0" y="64"/>
              </a:cxn>
              <a:cxn ang="0">
                <a:pos x="9" y="78"/>
              </a:cxn>
              <a:cxn ang="0">
                <a:pos x="32" y="97"/>
              </a:cxn>
              <a:cxn ang="0">
                <a:pos x="55" y="104"/>
              </a:cxn>
              <a:cxn ang="0">
                <a:pos x="65" y="98"/>
              </a:cxn>
              <a:cxn ang="0">
                <a:pos x="84" y="90"/>
              </a:cxn>
              <a:cxn ang="0">
                <a:pos x="101" y="91"/>
              </a:cxn>
              <a:cxn ang="0">
                <a:pos x="112" y="89"/>
              </a:cxn>
              <a:cxn ang="0">
                <a:pos x="114" y="86"/>
              </a:cxn>
              <a:cxn ang="0">
                <a:pos x="120" y="87"/>
              </a:cxn>
              <a:cxn ang="0">
                <a:pos x="134" y="65"/>
              </a:cxn>
              <a:cxn ang="0">
                <a:pos x="140" y="52"/>
              </a:cxn>
              <a:cxn ang="0">
                <a:pos x="149" y="36"/>
              </a:cxn>
              <a:cxn ang="0">
                <a:pos x="166" y="26"/>
              </a:cxn>
              <a:cxn ang="0">
                <a:pos x="165" y="24"/>
              </a:cxn>
            </a:cxnLst>
            <a:rect l="0" t="0" r="r" b="b"/>
            <a:pathLst>
              <a:path w="166" h="106">
                <a:moveTo>
                  <a:pt x="165" y="24"/>
                </a:moveTo>
                <a:cubicBezTo>
                  <a:pt x="166" y="23"/>
                  <a:pt x="166" y="20"/>
                  <a:pt x="161" y="21"/>
                </a:cubicBezTo>
                <a:cubicBezTo>
                  <a:pt x="156" y="22"/>
                  <a:pt x="159" y="14"/>
                  <a:pt x="146" y="9"/>
                </a:cubicBezTo>
                <a:cubicBezTo>
                  <a:pt x="146" y="10"/>
                  <a:pt x="138" y="13"/>
                  <a:pt x="136" y="11"/>
                </a:cubicBezTo>
                <a:cubicBezTo>
                  <a:pt x="134" y="9"/>
                  <a:pt x="133" y="0"/>
                  <a:pt x="126" y="5"/>
                </a:cubicBezTo>
                <a:cubicBezTo>
                  <a:pt x="120" y="9"/>
                  <a:pt x="117" y="3"/>
                  <a:pt x="110" y="4"/>
                </a:cubicBezTo>
                <a:cubicBezTo>
                  <a:pt x="104" y="5"/>
                  <a:pt x="106" y="13"/>
                  <a:pt x="102" y="15"/>
                </a:cubicBezTo>
                <a:cubicBezTo>
                  <a:pt x="101" y="16"/>
                  <a:pt x="96" y="19"/>
                  <a:pt x="93" y="20"/>
                </a:cubicBezTo>
                <a:cubicBezTo>
                  <a:pt x="90" y="21"/>
                  <a:pt x="85" y="12"/>
                  <a:pt x="83" y="19"/>
                </a:cubicBezTo>
                <a:cubicBezTo>
                  <a:pt x="81" y="26"/>
                  <a:pt x="74" y="20"/>
                  <a:pt x="67" y="22"/>
                </a:cubicBezTo>
                <a:cubicBezTo>
                  <a:pt x="60" y="24"/>
                  <a:pt x="67" y="31"/>
                  <a:pt x="66" y="31"/>
                </a:cubicBezTo>
                <a:cubicBezTo>
                  <a:pt x="64" y="31"/>
                  <a:pt x="61" y="32"/>
                  <a:pt x="48" y="34"/>
                </a:cubicBezTo>
                <a:cubicBezTo>
                  <a:pt x="35" y="36"/>
                  <a:pt x="32" y="24"/>
                  <a:pt x="24" y="23"/>
                </a:cubicBezTo>
                <a:cubicBezTo>
                  <a:pt x="20" y="28"/>
                  <a:pt x="25" y="35"/>
                  <a:pt x="21" y="35"/>
                </a:cubicBezTo>
                <a:cubicBezTo>
                  <a:pt x="17" y="36"/>
                  <a:pt x="10" y="33"/>
                  <a:pt x="7" y="35"/>
                </a:cubicBezTo>
                <a:cubicBezTo>
                  <a:pt x="6" y="36"/>
                  <a:pt x="15" y="38"/>
                  <a:pt x="13" y="42"/>
                </a:cubicBezTo>
                <a:cubicBezTo>
                  <a:pt x="11" y="46"/>
                  <a:pt x="6" y="43"/>
                  <a:pt x="7" y="48"/>
                </a:cubicBezTo>
                <a:cubicBezTo>
                  <a:pt x="7" y="55"/>
                  <a:pt x="10" y="55"/>
                  <a:pt x="8" y="56"/>
                </a:cubicBezTo>
                <a:cubicBezTo>
                  <a:pt x="7" y="57"/>
                  <a:pt x="1" y="63"/>
                  <a:pt x="0" y="64"/>
                </a:cubicBezTo>
                <a:cubicBezTo>
                  <a:pt x="8" y="65"/>
                  <a:pt x="3" y="74"/>
                  <a:pt x="9" y="78"/>
                </a:cubicBezTo>
                <a:cubicBezTo>
                  <a:pt x="32" y="92"/>
                  <a:pt x="25" y="97"/>
                  <a:pt x="32" y="97"/>
                </a:cubicBezTo>
                <a:cubicBezTo>
                  <a:pt x="38" y="97"/>
                  <a:pt x="48" y="106"/>
                  <a:pt x="55" y="104"/>
                </a:cubicBezTo>
                <a:cubicBezTo>
                  <a:pt x="62" y="102"/>
                  <a:pt x="58" y="97"/>
                  <a:pt x="65" y="98"/>
                </a:cubicBezTo>
                <a:cubicBezTo>
                  <a:pt x="77" y="95"/>
                  <a:pt x="80" y="90"/>
                  <a:pt x="84" y="90"/>
                </a:cubicBezTo>
                <a:cubicBezTo>
                  <a:pt x="88" y="89"/>
                  <a:pt x="91" y="90"/>
                  <a:pt x="101" y="91"/>
                </a:cubicBezTo>
                <a:cubicBezTo>
                  <a:pt x="102" y="90"/>
                  <a:pt x="107" y="90"/>
                  <a:pt x="112" y="89"/>
                </a:cubicBezTo>
                <a:cubicBezTo>
                  <a:pt x="116" y="88"/>
                  <a:pt x="110" y="87"/>
                  <a:pt x="114" y="86"/>
                </a:cubicBezTo>
                <a:cubicBezTo>
                  <a:pt x="117" y="85"/>
                  <a:pt x="118" y="88"/>
                  <a:pt x="120" y="87"/>
                </a:cubicBezTo>
                <a:cubicBezTo>
                  <a:pt x="123" y="87"/>
                  <a:pt x="130" y="72"/>
                  <a:pt x="134" y="65"/>
                </a:cubicBezTo>
                <a:cubicBezTo>
                  <a:pt x="138" y="57"/>
                  <a:pt x="132" y="60"/>
                  <a:pt x="140" y="52"/>
                </a:cubicBezTo>
                <a:cubicBezTo>
                  <a:pt x="149" y="42"/>
                  <a:pt x="143" y="42"/>
                  <a:pt x="149" y="36"/>
                </a:cubicBezTo>
                <a:cubicBezTo>
                  <a:pt x="155" y="28"/>
                  <a:pt x="156" y="39"/>
                  <a:pt x="166" y="26"/>
                </a:cubicBezTo>
                <a:cubicBezTo>
                  <a:pt x="165" y="25"/>
                  <a:pt x="165" y="24"/>
                  <a:pt x="165" y="24"/>
                </a:cubicBezTo>
                <a:close/>
              </a:path>
            </a:pathLst>
          </a:custGeom>
          <a:solidFill>
            <a:schemeClr val="accent1"/>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47" name="Freeform 38"/>
          <p:cNvSpPr>
            <a:spLocks/>
          </p:cNvSpPr>
          <p:nvPr/>
        </p:nvSpPr>
        <p:spPr bwMode="auto">
          <a:xfrm>
            <a:off x="7056667" y="3698582"/>
            <a:ext cx="364409" cy="249118"/>
          </a:xfrm>
          <a:custGeom>
            <a:avLst/>
            <a:gdLst/>
            <a:ahLst/>
            <a:cxnLst>
              <a:cxn ang="0">
                <a:pos x="92" y="38"/>
              </a:cxn>
              <a:cxn ang="0">
                <a:pos x="85" y="32"/>
              </a:cxn>
              <a:cxn ang="0">
                <a:pos x="75" y="13"/>
              </a:cxn>
              <a:cxn ang="0">
                <a:pos x="59" y="7"/>
              </a:cxn>
              <a:cxn ang="0">
                <a:pos x="53" y="6"/>
              </a:cxn>
              <a:cxn ang="0">
                <a:pos x="48" y="7"/>
              </a:cxn>
              <a:cxn ang="0">
                <a:pos x="37" y="13"/>
              </a:cxn>
              <a:cxn ang="0">
                <a:pos x="26" y="13"/>
              </a:cxn>
              <a:cxn ang="0">
                <a:pos x="21" y="8"/>
              </a:cxn>
              <a:cxn ang="0">
                <a:pos x="0" y="19"/>
              </a:cxn>
              <a:cxn ang="0">
                <a:pos x="18" y="36"/>
              </a:cxn>
              <a:cxn ang="0">
                <a:pos x="28" y="43"/>
              </a:cxn>
              <a:cxn ang="0">
                <a:pos x="42" y="55"/>
              </a:cxn>
              <a:cxn ang="0">
                <a:pos x="58" y="53"/>
              </a:cxn>
              <a:cxn ang="0">
                <a:pos x="63" y="67"/>
              </a:cxn>
              <a:cxn ang="0">
                <a:pos x="81" y="76"/>
              </a:cxn>
              <a:cxn ang="0">
                <a:pos x="90" y="52"/>
              </a:cxn>
              <a:cxn ang="0">
                <a:pos x="92" y="38"/>
              </a:cxn>
            </a:cxnLst>
            <a:rect l="0" t="0" r="r" b="b"/>
            <a:pathLst>
              <a:path w="103" h="80">
                <a:moveTo>
                  <a:pt x="92" y="38"/>
                </a:moveTo>
                <a:cubicBezTo>
                  <a:pt x="94" y="33"/>
                  <a:pt x="87" y="35"/>
                  <a:pt x="85" y="32"/>
                </a:cubicBezTo>
                <a:cubicBezTo>
                  <a:pt x="65" y="30"/>
                  <a:pt x="92" y="14"/>
                  <a:pt x="75" y="13"/>
                </a:cubicBezTo>
                <a:cubicBezTo>
                  <a:pt x="59" y="12"/>
                  <a:pt x="67" y="4"/>
                  <a:pt x="59" y="7"/>
                </a:cubicBezTo>
                <a:cubicBezTo>
                  <a:pt x="55" y="9"/>
                  <a:pt x="58" y="5"/>
                  <a:pt x="53" y="6"/>
                </a:cubicBezTo>
                <a:cubicBezTo>
                  <a:pt x="49" y="7"/>
                  <a:pt x="49" y="0"/>
                  <a:pt x="48" y="7"/>
                </a:cubicBezTo>
                <a:cubicBezTo>
                  <a:pt x="47" y="11"/>
                  <a:pt x="44" y="9"/>
                  <a:pt x="37" y="13"/>
                </a:cubicBezTo>
                <a:cubicBezTo>
                  <a:pt x="32" y="16"/>
                  <a:pt x="30" y="12"/>
                  <a:pt x="26" y="13"/>
                </a:cubicBezTo>
                <a:cubicBezTo>
                  <a:pt x="22" y="14"/>
                  <a:pt x="21" y="10"/>
                  <a:pt x="21" y="8"/>
                </a:cubicBezTo>
                <a:cubicBezTo>
                  <a:pt x="14" y="11"/>
                  <a:pt x="7" y="17"/>
                  <a:pt x="0" y="19"/>
                </a:cubicBezTo>
                <a:cubicBezTo>
                  <a:pt x="7" y="42"/>
                  <a:pt x="14" y="25"/>
                  <a:pt x="18" y="36"/>
                </a:cubicBezTo>
                <a:cubicBezTo>
                  <a:pt x="21" y="45"/>
                  <a:pt x="25" y="37"/>
                  <a:pt x="28" y="43"/>
                </a:cubicBezTo>
                <a:cubicBezTo>
                  <a:pt x="30" y="48"/>
                  <a:pt x="40" y="44"/>
                  <a:pt x="42" y="55"/>
                </a:cubicBezTo>
                <a:cubicBezTo>
                  <a:pt x="44" y="71"/>
                  <a:pt x="52" y="51"/>
                  <a:pt x="58" y="53"/>
                </a:cubicBezTo>
                <a:cubicBezTo>
                  <a:pt x="61" y="55"/>
                  <a:pt x="52" y="63"/>
                  <a:pt x="63" y="67"/>
                </a:cubicBezTo>
                <a:cubicBezTo>
                  <a:pt x="72" y="70"/>
                  <a:pt x="70" y="80"/>
                  <a:pt x="81" y="76"/>
                </a:cubicBezTo>
                <a:cubicBezTo>
                  <a:pt x="82" y="71"/>
                  <a:pt x="74" y="59"/>
                  <a:pt x="90" y="52"/>
                </a:cubicBezTo>
                <a:cubicBezTo>
                  <a:pt x="103" y="39"/>
                  <a:pt x="90" y="43"/>
                  <a:pt x="92" y="38"/>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48" name="Freeform 44"/>
          <p:cNvSpPr>
            <a:spLocks noEditPoints="1"/>
          </p:cNvSpPr>
          <p:nvPr/>
        </p:nvSpPr>
        <p:spPr bwMode="auto">
          <a:xfrm>
            <a:off x="7802220" y="1519256"/>
            <a:ext cx="1149001" cy="1762283"/>
          </a:xfrm>
          <a:custGeom>
            <a:avLst/>
            <a:gdLst/>
            <a:ahLst/>
            <a:cxnLst>
              <a:cxn ang="0">
                <a:pos x="298" y="38"/>
              </a:cxn>
              <a:cxn ang="0">
                <a:pos x="318" y="98"/>
              </a:cxn>
              <a:cxn ang="0">
                <a:pos x="314" y="71"/>
              </a:cxn>
              <a:cxn ang="0">
                <a:pos x="307" y="57"/>
              </a:cxn>
              <a:cxn ang="0">
                <a:pos x="298" y="38"/>
              </a:cxn>
              <a:cxn ang="0">
                <a:pos x="298" y="37"/>
              </a:cxn>
              <a:cxn ang="0">
                <a:pos x="246" y="9"/>
              </a:cxn>
              <a:cxn ang="0">
                <a:pos x="226" y="16"/>
              </a:cxn>
              <a:cxn ang="0">
                <a:pos x="174" y="24"/>
              </a:cxn>
              <a:cxn ang="0">
                <a:pos x="152" y="42"/>
              </a:cxn>
              <a:cxn ang="0">
                <a:pos x="124" y="71"/>
              </a:cxn>
              <a:cxn ang="0">
                <a:pos x="117" y="100"/>
              </a:cxn>
              <a:cxn ang="0">
                <a:pos x="84" y="128"/>
              </a:cxn>
              <a:cxn ang="0">
                <a:pos x="80" y="167"/>
              </a:cxn>
              <a:cxn ang="0">
                <a:pos x="77" y="205"/>
              </a:cxn>
              <a:cxn ang="0">
                <a:pos x="27" y="234"/>
              </a:cxn>
              <a:cxn ang="0">
                <a:pos x="25" y="265"/>
              </a:cxn>
              <a:cxn ang="0">
                <a:pos x="35" y="315"/>
              </a:cxn>
              <a:cxn ang="0">
                <a:pos x="29" y="337"/>
              </a:cxn>
              <a:cxn ang="0">
                <a:pos x="32" y="378"/>
              </a:cxn>
              <a:cxn ang="0">
                <a:pos x="15" y="400"/>
              </a:cxn>
              <a:cxn ang="0">
                <a:pos x="5" y="413"/>
              </a:cxn>
              <a:cxn ang="0">
                <a:pos x="7" y="444"/>
              </a:cxn>
              <a:cxn ang="0">
                <a:pos x="19" y="469"/>
              </a:cxn>
              <a:cxn ang="0">
                <a:pos x="41" y="516"/>
              </a:cxn>
              <a:cxn ang="0">
                <a:pos x="46" y="551"/>
              </a:cxn>
              <a:cxn ang="0">
                <a:pos x="87" y="533"/>
              </a:cxn>
              <a:cxn ang="0">
                <a:pos x="123" y="521"/>
              </a:cxn>
              <a:cxn ang="0">
                <a:pos x="136" y="473"/>
              </a:cxn>
              <a:cxn ang="0">
                <a:pos x="140" y="444"/>
              </a:cxn>
              <a:cxn ang="0">
                <a:pos x="161" y="421"/>
              </a:cxn>
              <a:cxn ang="0">
                <a:pos x="181" y="411"/>
              </a:cxn>
              <a:cxn ang="0">
                <a:pos x="155" y="404"/>
              </a:cxn>
              <a:cxn ang="0">
                <a:pos x="157" y="396"/>
              </a:cxn>
              <a:cxn ang="0">
                <a:pos x="198" y="383"/>
              </a:cxn>
              <a:cxn ang="0">
                <a:pos x="182" y="364"/>
              </a:cxn>
              <a:cxn ang="0">
                <a:pos x="158" y="352"/>
              </a:cxn>
              <a:cxn ang="0">
                <a:pos x="160" y="291"/>
              </a:cxn>
              <a:cxn ang="0">
                <a:pos x="168" y="277"/>
              </a:cxn>
              <a:cxn ang="0">
                <a:pos x="194" y="249"/>
              </a:cxn>
              <a:cxn ang="0">
                <a:pos x="223" y="231"/>
              </a:cxn>
              <a:cxn ang="0">
                <a:pos x="254" y="200"/>
              </a:cxn>
              <a:cxn ang="0">
                <a:pos x="259" y="166"/>
              </a:cxn>
              <a:cxn ang="0">
                <a:pos x="287" y="139"/>
              </a:cxn>
              <a:cxn ang="0">
                <a:pos x="324" y="140"/>
              </a:cxn>
              <a:cxn ang="0">
                <a:pos x="195" y="459"/>
              </a:cxn>
              <a:cxn ang="0">
                <a:pos x="175" y="488"/>
              </a:cxn>
              <a:cxn ang="0">
                <a:pos x="190" y="482"/>
              </a:cxn>
              <a:cxn ang="0">
                <a:pos x="195" y="459"/>
              </a:cxn>
              <a:cxn ang="0">
                <a:pos x="139" y="498"/>
              </a:cxn>
              <a:cxn ang="0">
                <a:pos x="147" y="481"/>
              </a:cxn>
              <a:cxn ang="0">
                <a:pos x="186" y="364"/>
              </a:cxn>
            </a:cxnLst>
            <a:rect l="0" t="0" r="r" b="b"/>
            <a:pathLst>
              <a:path w="324" h="565">
                <a:moveTo>
                  <a:pt x="298" y="38"/>
                </a:moveTo>
                <a:cubicBezTo>
                  <a:pt x="297" y="38"/>
                  <a:pt x="298" y="38"/>
                  <a:pt x="298" y="38"/>
                </a:cubicBezTo>
                <a:close/>
                <a:moveTo>
                  <a:pt x="314" y="111"/>
                </a:moveTo>
                <a:cubicBezTo>
                  <a:pt x="320" y="105"/>
                  <a:pt x="315" y="103"/>
                  <a:pt x="318" y="98"/>
                </a:cubicBezTo>
                <a:cubicBezTo>
                  <a:pt x="322" y="94"/>
                  <a:pt x="310" y="90"/>
                  <a:pt x="309" y="84"/>
                </a:cubicBezTo>
                <a:cubicBezTo>
                  <a:pt x="308" y="77"/>
                  <a:pt x="315" y="75"/>
                  <a:pt x="314" y="71"/>
                </a:cubicBezTo>
                <a:cubicBezTo>
                  <a:pt x="313" y="67"/>
                  <a:pt x="306" y="72"/>
                  <a:pt x="305" y="69"/>
                </a:cubicBezTo>
                <a:cubicBezTo>
                  <a:pt x="304" y="63"/>
                  <a:pt x="310" y="70"/>
                  <a:pt x="307" y="57"/>
                </a:cubicBezTo>
                <a:cubicBezTo>
                  <a:pt x="304" y="45"/>
                  <a:pt x="319" y="54"/>
                  <a:pt x="304" y="41"/>
                </a:cubicBezTo>
                <a:cubicBezTo>
                  <a:pt x="300" y="38"/>
                  <a:pt x="298" y="38"/>
                  <a:pt x="298" y="38"/>
                </a:cubicBezTo>
                <a:cubicBezTo>
                  <a:pt x="298" y="38"/>
                  <a:pt x="297" y="38"/>
                  <a:pt x="298" y="38"/>
                </a:cubicBezTo>
                <a:cubicBezTo>
                  <a:pt x="298" y="38"/>
                  <a:pt x="298" y="37"/>
                  <a:pt x="298" y="37"/>
                </a:cubicBezTo>
                <a:cubicBezTo>
                  <a:pt x="299" y="33"/>
                  <a:pt x="291" y="28"/>
                  <a:pt x="281" y="28"/>
                </a:cubicBezTo>
                <a:cubicBezTo>
                  <a:pt x="272" y="27"/>
                  <a:pt x="259" y="17"/>
                  <a:pt x="246" y="9"/>
                </a:cubicBezTo>
                <a:cubicBezTo>
                  <a:pt x="233" y="1"/>
                  <a:pt x="247" y="4"/>
                  <a:pt x="236" y="0"/>
                </a:cubicBezTo>
                <a:cubicBezTo>
                  <a:pt x="212" y="0"/>
                  <a:pt x="240" y="4"/>
                  <a:pt x="226" y="16"/>
                </a:cubicBezTo>
                <a:cubicBezTo>
                  <a:pt x="211" y="29"/>
                  <a:pt x="235" y="21"/>
                  <a:pt x="223" y="29"/>
                </a:cubicBezTo>
                <a:cubicBezTo>
                  <a:pt x="211" y="37"/>
                  <a:pt x="185" y="15"/>
                  <a:pt x="174" y="24"/>
                </a:cubicBezTo>
                <a:cubicBezTo>
                  <a:pt x="169" y="27"/>
                  <a:pt x="180" y="41"/>
                  <a:pt x="170" y="47"/>
                </a:cubicBezTo>
                <a:cubicBezTo>
                  <a:pt x="164" y="51"/>
                  <a:pt x="157" y="39"/>
                  <a:pt x="152" y="42"/>
                </a:cubicBezTo>
                <a:cubicBezTo>
                  <a:pt x="147" y="46"/>
                  <a:pt x="141" y="47"/>
                  <a:pt x="138" y="54"/>
                </a:cubicBezTo>
                <a:cubicBezTo>
                  <a:pt x="130" y="71"/>
                  <a:pt x="126" y="66"/>
                  <a:pt x="124" y="71"/>
                </a:cubicBezTo>
                <a:cubicBezTo>
                  <a:pt x="122" y="76"/>
                  <a:pt x="135" y="78"/>
                  <a:pt x="132" y="86"/>
                </a:cubicBezTo>
                <a:cubicBezTo>
                  <a:pt x="129" y="94"/>
                  <a:pt x="123" y="89"/>
                  <a:pt x="117" y="100"/>
                </a:cubicBezTo>
                <a:cubicBezTo>
                  <a:pt x="111" y="112"/>
                  <a:pt x="103" y="107"/>
                  <a:pt x="107" y="115"/>
                </a:cubicBezTo>
                <a:cubicBezTo>
                  <a:pt x="114" y="127"/>
                  <a:pt x="81" y="123"/>
                  <a:pt x="84" y="128"/>
                </a:cubicBezTo>
                <a:cubicBezTo>
                  <a:pt x="92" y="145"/>
                  <a:pt x="83" y="142"/>
                  <a:pt x="85" y="154"/>
                </a:cubicBezTo>
                <a:cubicBezTo>
                  <a:pt x="87" y="165"/>
                  <a:pt x="82" y="158"/>
                  <a:pt x="80" y="167"/>
                </a:cubicBezTo>
                <a:cubicBezTo>
                  <a:pt x="80" y="173"/>
                  <a:pt x="60" y="189"/>
                  <a:pt x="66" y="193"/>
                </a:cubicBezTo>
                <a:cubicBezTo>
                  <a:pt x="71" y="197"/>
                  <a:pt x="80" y="194"/>
                  <a:pt x="77" y="205"/>
                </a:cubicBezTo>
                <a:cubicBezTo>
                  <a:pt x="71" y="223"/>
                  <a:pt x="59" y="207"/>
                  <a:pt x="51" y="212"/>
                </a:cubicBezTo>
                <a:cubicBezTo>
                  <a:pt x="42" y="216"/>
                  <a:pt x="23" y="228"/>
                  <a:pt x="27" y="234"/>
                </a:cubicBezTo>
                <a:cubicBezTo>
                  <a:pt x="31" y="240"/>
                  <a:pt x="15" y="242"/>
                  <a:pt x="25" y="252"/>
                </a:cubicBezTo>
                <a:cubicBezTo>
                  <a:pt x="31" y="258"/>
                  <a:pt x="21" y="259"/>
                  <a:pt x="25" y="265"/>
                </a:cubicBezTo>
                <a:cubicBezTo>
                  <a:pt x="29" y="271"/>
                  <a:pt x="19" y="268"/>
                  <a:pt x="28" y="280"/>
                </a:cubicBezTo>
                <a:cubicBezTo>
                  <a:pt x="37" y="292"/>
                  <a:pt x="15" y="305"/>
                  <a:pt x="35" y="315"/>
                </a:cubicBezTo>
                <a:cubicBezTo>
                  <a:pt x="48" y="322"/>
                  <a:pt x="45" y="324"/>
                  <a:pt x="41" y="332"/>
                </a:cubicBezTo>
                <a:cubicBezTo>
                  <a:pt x="38" y="338"/>
                  <a:pt x="32" y="333"/>
                  <a:pt x="29" y="337"/>
                </a:cubicBezTo>
                <a:cubicBezTo>
                  <a:pt x="27" y="342"/>
                  <a:pt x="42" y="357"/>
                  <a:pt x="36" y="363"/>
                </a:cubicBezTo>
                <a:cubicBezTo>
                  <a:pt x="30" y="369"/>
                  <a:pt x="39" y="370"/>
                  <a:pt x="32" y="378"/>
                </a:cubicBezTo>
                <a:cubicBezTo>
                  <a:pt x="24" y="386"/>
                  <a:pt x="17" y="378"/>
                  <a:pt x="19" y="385"/>
                </a:cubicBezTo>
                <a:cubicBezTo>
                  <a:pt x="22" y="393"/>
                  <a:pt x="11" y="390"/>
                  <a:pt x="15" y="400"/>
                </a:cubicBezTo>
                <a:cubicBezTo>
                  <a:pt x="22" y="415"/>
                  <a:pt x="12" y="426"/>
                  <a:pt x="10" y="420"/>
                </a:cubicBezTo>
                <a:cubicBezTo>
                  <a:pt x="8" y="415"/>
                  <a:pt x="7" y="412"/>
                  <a:pt x="5" y="413"/>
                </a:cubicBezTo>
                <a:cubicBezTo>
                  <a:pt x="4" y="416"/>
                  <a:pt x="0" y="416"/>
                  <a:pt x="4" y="423"/>
                </a:cubicBezTo>
                <a:cubicBezTo>
                  <a:pt x="7" y="429"/>
                  <a:pt x="1" y="437"/>
                  <a:pt x="7" y="444"/>
                </a:cubicBezTo>
                <a:cubicBezTo>
                  <a:pt x="12" y="452"/>
                  <a:pt x="16" y="438"/>
                  <a:pt x="20" y="446"/>
                </a:cubicBezTo>
                <a:cubicBezTo>
                  <a:pt x="23" y="454"/>
                  <a:pt x="14" y="454"/>
                  <a:pt x="19" y="469"/>
                </a:cubicBezTo>
                <a:cubicBezTo>
                  <a:pt x="23" y="483"/>
                  <a:pt x="36" y="510"/>
                  <a:pt x="42" y="509"/>
                </a:cubicBezTo>
                <a:cubicBezTo>
                  <a:pt x="49" y="507"/>
                  <a:pt x="49" y="514"/>
                  <a:pt x="41" y="516"/>
                </a:cubicBezTo>
                <a:cubicBezTo>
                  <a:pt x="35" y="518"/>
                  <a:pt x="49" y="528"/>
                  <a:pt x="39" y="523"/>
                </a:cubicBezTo>
                <a:cubicBezTo>
                  <a:pt x="26" y="518"/>
                  <a:pt x="54" y="537"/>
                  <a:pt x="46" y="551"/>
                </a:cubicBezTo>
                <a:cubicBezTo>
                  <a:pt x="38" y="565"/>
                  <a:pt x="61" y="555"/>
                  <a:pt x="75" y="556"/>
                </a:cubicBezTo>
                <a:cubicBezTo>
                  <a:pt x="85" y="558"/>
                  <a:pt x="75" y="531"/>
                  <a:pt x="87" y="533"/>
                </a:cubicBezTo>
                <a:cubicBezTo>
                  <a:pt x="97" y="535"/>
                  <a:pt x="84" y="529"/>
                  <a:pt x="101" y="526"/>
                </a:cubicBezTo>
                <a:cubicBezTo>
                  <a:pt x="119" y="524"/>
                  <a:pt x="118" y="537"/>
                  <a:pt x="123" y="521"/>
                </a:cubicBezTo>
                <a:cubicBezTo>
                  <a:pt x="128" y="504"/>
                  <a:pt x="135" y="500"/>
                  <a:pt x="134" y="494"/>
                </a:cubicBezTo>
                <a:cubicBezTo>
                  <a:pt x="133" y="487"/>
                  <a:pt x="138" y="480"/>
                  <a:pt x="136" y="473"/>
                </a:cubicBezTo>
                <a:cubicBezTo>
                  <a:pt x="135" y="466"/>
                  <a:pt x="143" y="462"/>
                  <a:pt x="140" y="456"/>
                </a:cubicBezTo>
                <a:cubicBezTo>
                  <a:pt x="137" y="450"/>
                  <a:pt x="145" y="451"/>
                  <a:pt x="140" y="444"/>
                </a:cubicBezTo>
                <a:cubicBezTo>
                  <a:pt x="136" y="436"/>
                  <a:pt x="145" y="441"/>
                  <a:pt x="142" y="436"/>
                </a:cubicBezTo>
                <a:cubicBezTo>
                  <a:pt x="138" y="431"/>
                  <a:pt x="160" y="429"/>
                  <a:pt x="161" y="421"/>
                </a:cubicBezTo>
                <a:cubicBezTo>
                  <a:pt x="164" y="411"/>
                  <a:pt x="165" y="427"/>
                  <a:pt x="170" y="420"/>
                </a:cubicBezTo>
                <a:cubicBezTo>
                  <a:pt x="175" y="413"/>
                  <a:pt x="182" y="414"/>
                  <a:pt x="181" y="411"/>
                </a:cubicBezTo>
                <a:cubicBezTo>
                  <a:pt x="180" y="407"/>
                  <a:pt x="190" y="410"/>
                  <a:pt x="185" y="401"/>
                </a:cubicBezTo>
                <a:cubicBezTo>
                  <a:pt x="182" y="396"/>
                  <a:pt x="167" y="414"/>
                  <a:pt x="155" y="404"/>
                </a:cubicBezTo>
                <a:cubicBezTo>
                  <a:pt x="143" y="393"/>
                  <a:pt x="118" y="404"/>
                  <a:pt x="132" y="397"/>
                </a:cubicBezTo>
                <a:cubicBezTo>
                  <a:pt x="145" y="390"/>
                  <a:pt x="153" y="399"/>
                  <a:pt x="157" y="396"/>
                </a:cubicBezTo>
                <a:cubicBezTo>
                  <a:pt x="161" y="392"/>
                  <a:pt x="165" y="407"/>
                  <a:pt x="173" y="402"/>
                </a:cubicBezTo>
                <a:cubicBezTo>
                  <a:pt x="180" y="397"/>
                  <a:pt x="202" y="388"/>
                  <a:pt x="198" y="383"/>
                </a:cubicBezTo>
                <a:cubicBezTo>
                  <a:pt x="194" y="378"/>
                  <a:pt x="192" y="372"/>
                  <a:pt x="186" y="373"/>
                </a:cubicBezTo>
                <a:cubicBezTo>
                  <a:pt x="179" y="374"/>
                  <a:pt x="189" y="366"/>
                  <a:pt x="182" y="364"/>
                </a:cubicBezTo>
                <a:cubicBezTo>
                  <a:pt x="175" y="362"/>
                  <a:pt x="175" y="354"/>
                  <a:pt x="166" y="356"/>
                </a:cubicBezTo>
                <a:cubicBezTo>
                  <a:pt x="157" y="358"/>
                  <a:pt x="167" y="352"/>
                  <a:pt x="158" y="352"/>
                </a:cubicBezTo>
                <a:cubicBezTo>
                  <a:pt x="150" y="352"/>
                  <a:pt x="148" y="312"/>
                  <a:pt x="156" y="312"/>
                </a:cubicBezTo>
                <a:cubicBezTo>
                  <a:pt x="164" y="312"/>
                  <a:pt x="153" y="302"/>
                  <a:pt x="160" y="291"/>
                </a:cubicBezTo>
                <a:cubicBezTo>
                  <a:pt x="166" y="279"/>
                  <a:pt x="154" y="289"/>
                  <a:pt x="155" y="280"/>
                </a:cubicBezTo>
                <a:cubicBezTo>
                  <a:pt x="156" y="270"/>
                  <a:pt x="155" y="282"/>
                  <a:pt x="168" y="277"/>
                </a:cubicBezTo>
                <a:cubicBezTo>
                  <a:pt x="180" y="271"/>
                  <a:pt x="158" y="268"/>
                  <a:pt x="174" y="266"/>
                </a:cubicBezTo>
                <a:cubicBezTo>
                  <a:pt x="189" y="263"/>
                  <a:pt x="185" y="244"/>
                  <a:pt x="194" y="249"/>
                </a:cubicBezTo>
                <a:cubicBezTo>
                  <a:pt x="204" y="253"/>
                  <a:pt x="198" y="237"/>
                  <a:pt x="208" y="238"/>
                </a:cubicBezTo>
                <a:cubicBezTo>
                  <a:pt x="219" y="239"/>
                  <a:pt x="215" y="230"/>
                  <a:pt x="223" y="231"/>
                </a:cubicBezTo>
                <a:cubicBezTo>
                  <a:pt x="230" y="233"/>
                  <a:pt x="226" y="224"/>
                  <a:pt x="234" y="225"/>
                </a:cubicBezTo>
                <a:cubicBezTo>
                  <a:pt x="242" y="225"/>
                  <a:pt x="238" y="211"/>
                  <a:pt x="254" y="200"/>
                </a:cubicBezTo>
                <a:cubicBezTo>
                  <a:pt x="268" y="192"/>
                  <a:pt x="253" y="195"/>
                  <a:pt x="250" y="186"/>
                </a:cubicBezTo>
                <a:cubicBezTo>
                  <a:pt x="247" y="176"/>
                  <a:pt x="258" y="178"/>
                  <a:pt x="259" y="166"/>
                </a:cubicBezTo>
                <a:cubicBezTo>
                  <a:pt x="260" y="154"/>
                  <a:pt x="270" y="160"/>
                  <a:pt x="271" y="154"/>
                </a:cubicBezTo>
                <a:cubicBezTo>
                  <a:pt x="272" y="149"/>
                  <a:pt x="281" y="144"/>
                  <a:pt x="287" y="139"/>
                </a:cubicBezTo>
                <a:cubicBezTo>
                  <a:pt x="294" y="134"/>
                  <a:pt x="290" y="147"/>
                  <a:pt x="300" y="142"/>
                </a:cubicBezTo>
                <a:cubicBezTo>
                  <a:pt x="310" y="137"/>
                  <a:pt x="314" y="144"/>
                  <a:pt x="324" y="140"/>
                </a:cubicBezTo>
                <a:cubicBezTo>
                  <a:pt x="321" y="129"/>
                  <a:pt x="304" y="121"/>
                  <a:pt x="314" y="111"/>
                </a:cubicBezTo>
                <a:close/>
                <a:moveTo>
                  <a:pt x="195" y="459"/>
                </a:moveTo>
                <a:cubicBezTo>
                  <a:pt x="186" y="466"/>
                  <a:pt x="192" y="456"/>
                  <a:pt x="181" y="465"/>
                </a:cubicBezTo>
                <a:cubicBezTo>
                  <a:pt x="171" y="474"/>
                  <a:pt x="171" y="483"/>
                  <a:pt x="175" y="488"/>
                </a:cubicBezTo>
                <a:cubicBezTo>
                  <a:pt x="178" y="493"/>
                  <a:pt x="171" y="501"/>
                  <a:pt x="177" y="498"/>
                </a:cubicBezTo>
                <a:cubicBezTo>
                  <a:pt x="182" y="496"/>
                  <a:pt x="182" y="490"/>
                  <a:pt x="190" y="482"/>
                </a:cubicBezTo>
                <a:cubicBezTo>
                  <a:pt x="198" y="475"/>
                  <a:pt x="185" y="475"/>
                  <a:pt x="194" y="466"/>
                </a:cubicBezTo>
                <a:cubicBezTo>
                  <a:pt x="203" y="456"/>
                  <a:pt x="204" y="453"/>
                  <a:pt x="195" y="459"/>
                </a:cubicBezTo>
                <a:close/>
                <a:moveTo>
                  <a:pt x="147" y="481"/>
                </a:moveTo>
                <a:cubicBezTo>
                  <a:pt x="143" y="481"/>
                  <a:pt x="144" y="493"/>
                  <a:pt x="139" y="498"/>
                </a:cubicBezTo>
                <a:cubicBezTo>
                  <a:pt x="134" y="503"/>
                  <a:pt x="130" y="520"/>
                  <a:pt x="133" y="525"/>
                </a:cubicBezTo>
                <a:cubicBezTo>
                  <a:pt x="134" y="526"/>
                  <a:pt x="152" y="482"/>
                  <a:pt x="147" y="481"/>
                </a:cubicBezTo>
                <a:close/>
                <a:moveTo>
                  <a:pt x="181" y="356"/>
                </a:moveTo>
                <a:cubicBezTo>
                  <a:pt x="179" y="357"/>
                  <a:pt x="182" y="363"/>
                  <a:pt x="186" y="364"/>
                </a:cubicBezTo>
                <a:cubicBezTo>
                  <a:pt x="187" y="364"/>
                  <a:pt x="183" y="355"/>
                  <a:pt x="181" y="356"/>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endParaRPr lang="de-DE" sz="1800">
              <a:solidFill>
                <a:srgbClr val="000000"/>
              </a:solidFill>
              <a:latin typeface="Arial" charset="0"/>
              <a:ea typeface="ＭＳ Ｐゴシック"/>
            </a:endParaRPr>
          </a:p>
        </p:txBody>
      </p:sp>
      <p:sp>
        <p:nvSpPr>
          <p:cNvPr id="49" name="Freeform 46"/>
          <p:cNvSpPr>
            <a:spLocks noEditPoints="1"/>
          </p:cNvSpPr>
          <p:nvPr/>
        </p:nvSpPr>
        <p:spPr bwMode="auto">
          <a:xfrm>
            <a:off x="7237014" y="1224008"/>
            <a:ext cx="2325890" cy="1725375"/>
          </a:xfrm>
          <a:custGeom>
            <a:avLst/>
            <a:gdLst/>
            <a:ahLst/>
            <a:cxnLst>
              <a:cxn ang="0">
                <a:pos x="650" y="67"/>
              </a:cxn>
              <a:cxn ang="0">
                <a:pos x="525" y="77"/>
              </a:cxn>
              <a:cxn ang="0">
                <a:pos x="408" y="95"/>
              </a:cxn>
              <a:cxn ang="0">
                <a:pos x="292" y="181"/>
              </a:cxn>
              <a:cxn ang="0">
                <a:pos x="187" y="329"/>
              </a:cxn>
              <a:cxn ang="0">
                <a:pos x="179" y="480"/>
              </a:cxn>
              <a:cxn ang="0">
                <a:pos x="142" y="507"/>
              </a:cxn>
              <a:cxn ang="0">
                <a:pos x="50" y="549"/>
              </a:cxn>
              <a:cxn ang="0">
                <a:pos x="23" y="500"/>
              </a:cxn>
              <a:cxn ang="0">
                <a:pos x="19" y="451"/>
              </a:cxn>
              <a:cxn ang="0">
                <a:pos x="47" y="424"/>
              </a:cxn>
              <a:cxn ang="0">
                <a:pos x="24" y="387"/>
              </a:cxn>
              <a:cxn ang="0">
                <a:pos x="86" y="349"/>
              </a:cxn>
              <a:cxn ang="0">
                <a:pos x="155" y="325"/>
              </a:cxn>
              <a:cxn ang="0">
                <a:pos x="146" y="295"/>
              </a:cxn>
              <a:cxn ang="0">
                <a:pos x="165" y="272"/>
              </a:cxn>
              <a:cxn ang="0">
                <a:pos x="223" y="218"/>
              </a:cxn>
              <a:cxn ang="0">
                <a:pos x="225" y="186"/>
              </a:cxn>
              <a:cxn ang="0">
                <a:pos x="256" y="160"/>
              </a:cxn>
              <a:cxn ang="0">
                <a:pos x="279" y="133"/>
              </a:cxn>
              <a:cxn ang="0">
                <a:pos x="295" y="118"/>
              </a:cxn>
              <a:cxn ang="0">
                <a:pos x="360" y="82"/>
              </a:cxn>
              <a:cxn ang="0">
                <a:pos x="381" y="84"/>
              </a:cxn>
              <a:cxn ang="0">
                <a:pos x="415" y="41"/>
              </a:cxn>
              <a:cxn ang="0">
                <a:pos x="492" y="23"/>
              </a:cxn>
              <a:cxn ang="0">
                <a:pos x="508" y="36"/>
              </a:cxn>
              <a:cxn ang="0">
                <a:pos x="556" y="23"/>
              </a:cxn>
              <a:cxn ang="0">
                <a:pos x="579" y="28"/>
              </a:cxn>
              <a:cxn ang="0">
                <a:pos x="478" y="19"/>
              </a:cxn>
              <a:cxn ang="0">
                <a:pos x="456" y="38"/>
              </a:cxn>
              <a:cxn ang="0">
                <a:pos x="464" y="21"/>
              </a:cxn>
              <a:cxn ang="0">
                <a:pos x="381" y="43"/>
              </a:cxn>
              <a:cxn ang="0">
                <a:pos x="402" y="51"/>
              </a:cxn>
              <a:cxn ang="0">
                <a:pos x="371" y="56"/>
              </a:cxn>
              <a:cxn ang="0">
                <a:pos x="356" y="59"/>
              </a:cxn>
              <a:cxn ang="0">
                <a:pos x="324" y="70"/>
              </a:cxn>
              <a:cxn ang="0">
                <a:pos x="320" y="88"/>
              </a:cxn>
              <a:cxn ang="0">
                <a:pos x="303" y="106"/>
              </a:cxn>
              <a:cxn ang="0">
                <a:pos x="239" y="131"/>
              </a:cxn>
              <a:cxn ang="0">
                <a:pos x="244" y="107"/>
              </a:cxn>
              <a:cxn ang="0">
                <a:pos x="274" y="97"/>
              </a:cxn>
              <a:cxn ang="0">
                <a:pos x="279" y="108"/>
              </a:cxn>
              <a:cxn ang="0">
                <a:pos x="290" y="102"/>
              </a:cxn>
              <a:cxn ang="0">
                <a:pos x="234" y="127"/>
              </a:cxn>
              <a:cxn ang="0">
                <a:pos x="213" y="141"/>
              </a:cxn>
              <a:cxn ang="0">
                <a:pos x="269" y="142"/>
              </a:cxn>
              <a:cxn ang="0">
                <a:pos x="189" y="249"/>
              </a:cxn>
              <a:cxn ang="0">
                <a:pos x="186" y="261"/>
              </a:cxn>
              <a:cxn ang="0">
                <a:pos x="166" y="290"/>
              </a:cxn>
              <a:cxn ang="0">
                <a:pos x="205" y="214"/>
              </a:cxn>
              <a:cxn ang="0">
                <a:pos x="109" y="325"/>
              </a:cxn>
              <a:cxn ang="0">
                <a:pos x="74" y="348"/>
              </a:cxn>
              <a:cxn ang="0">
                <a:pos x="34" y="375"/>
              </a:cxn>
              <a:cxn ang="0">
                <a:pos x="7" y="430"/>
              </a:cxn>
              <a:cxn ang="0">
                <a:pos x="15" y="506"/>
              </a:cxn>
              <a:cxn ang="0">
                <a:pos x="10" y="456"/>
              </a:cxn>
            </a:cxnLst>
            <a:rect l="0" t="0" r="r" b="b"/>
            <a:pathLst>
              <a:path w="657" h="553">
                <a:moveTo>
                  <a:pt x="647" y="42"/>
                </a:moveTo>
                <a:cubicBezTo>
                  <a:pt x="637" y="40"/>
                  <a:pt x="637" y="54"/>
                  <a:pt x="616" y="49"/>
                </a:cubicBezTo>
                <a:cubicBezTo>
                  <a:pt x="594" y="44"/>
                  <a:pt x="589" y="48"/>
                  <a:pt x="596" y="49"/>
                </a:cubicBezTo>
                <a:cubicBezTo>
                  <a:pt x="602" y="49"/>
                  <a:pt x="602" y="52"/>
                  <a:pt x="613" y="53"/>
                </a:cubicBezTo>
                <a:cubicBezTo>
                  <a:pt x="624" y="54"/>
                  <a:pt x="622" y="61"/>
                  <a:pt x="620" y="64"/>
                </a:cubicBezTo>
                <a:cubicBezTo>
                  <a:pt x="617" y="66"/>
                  <a:pt x="621" y="66"/>
                  <a:pt x="626" y="65"/>
                </a:cubicBezTo>
                <a:cubicBezTo>
                  <a:pt x="632" y="63"/>
                  <a:pt x="631" y="56"/>
                  <a:pt x="635" y="60"/>
                </a:cubicBezTo>
                <a:cubicBezTo>
                  <a:pt x="639" y="64"/>
                  <a:pt x="640" y="61"/>
                  <a:pt x="648" y="63"/>
                </a:cubicBezTo>
                <a:cubicBezTo>
                  <a:pt x="649" y="64"/>
                  <a:pt x="650" y="66"/>
                  <a:pt x="650" y="67"/>
                </a:cubicBezTo>
                <a:cubicBezTo>
                  <a:pt x="653" y="77"/>
                  <a:pt x="644" y="74"/>
                  <a:pt x="639" y="71"/>
                </a:cubicBezTo>
                <a:cubicBezTo>
                  <a:pt x="633" y="69"/>
                  <a:pt x="634" y="68"/>
                  <a:pt x="631" y="73"/>
                </a:cubicBezTo>
                <a:cubicBezTo>
                  <a:pt x="627" y="81"/>
                  <a:pt x="610" y="78"/>
                  <a:pt x="610" y="86"/>
                </a:cubicBezTo>
                <a:cubicBezTo>
                  <a:pt x="609" y="95"/>
                  <a:pt x="607" y="97"/>
                  <a:pt x="601" y="95"/>
                </a:cubicBezTo>
                <a:cubicBezTo>
                  <a:pt x="586" y="88"/>
                  <a:pt x="614" y="80"/>
                  <a:pt x="609" y="73"/>
                </a:cubicBezTo>
                <a:cubicBezTo>
                  <a:pt x="605" y="66"/>
                  <a:pt x="584" y="60"/>
                  <a:pt x="580" y="54"/>
                </a:cubicBezTo>
                <a:cubicBezTo>
                  <a:pt x="575" y="48"/>
                  <a:pt x="573" y="49"/>
                  <a:pt x="566" y="52"/>
                </a:cubicBezTo>
                <a:cubicBezTo>
                  <a:pt x="546" y="62"/>
                  <a:pt x="548" y="51"/>
                  <a:pt x="539" y="57"/>
                </a:cubicBezTo>
                <a:cubicBezTo>
                  <a:pt x="530" y="63"/>
                  <a:pt x="524" y="70"/>
                  <a:pt x="525" y="77"/>
                </a:cubicBezTo>
                <a:cubicBezTo>
                  <a:pt x="525" y="84"/>
                  <a:pt x="519" y="86"/>
                  <a:pt x="523" y="93"/>
                </a:cubicBezTo>
                <a:cubicBezTo>
                  <a:pt x="530" y="104"/>
                  <a:pt x="512" y="97"/>
                  <a:pt x="509" y="106"/>
                </a:cubicBezTo>
                <a:cubicBezTo>
                  <a:pt x="506" y="115"/>
                  <a:pt x="504" y="114"/>
                  <a:pt x="501" y="116"/>
                </a:cubicBezTo>
                <a:cubicBezTo>
                  <a:pt x="493" y="108"/>
                  <a:pt x="483" y="106"/>
                  <a:pt x="478" y="105"/>
                </a:cubicBezTo>
                <a:cubicBezTo>
                  <a:pt x="473" y="103"/>
                  <a:pt x="476" y="110"/>
                  <a:pt x="465" y="112"/>
                </a:cubicBezTo>
                <a:cubicBezTo>
                  <a:pt x="454" y="115"/>
                  <a:pt x="463" y="109"/>
                  <a:pt x="447" y="109"/>
                </a:cubicBezTo>
                <a:cubicBezTo>
                  <a:pt x="431" y="110"/>
                  <a:pt x="445" y="108"/>
                  <a:pt x="435" y="98"/>
                </a:cubicBezTo>
                <a:cubicBezTo>
                  <a:pt x="424" y="87"/>
                  <a:pt x="415" y="79"/>
                  <a:pt x="408" y="85"/>
                </a:cubicBezTo>
                <a:cubicBezTo>
                  <a:pt x="404" y="89"/>
                  <a:pt x="409" y="93"/>
                  <a:pt x="408" y="95"/>
                </a:cubicBezTo>
                <a:cubicBezTo>
                  <a:pt x="406" y="97"/>
                  <a:pt x="399" y="90"/>
                  <a:pt x="396" y="95"/>
                </a:cubicBezTo>
                <a:cubicBezTo>
                  <a:pt x="372" y="95"/>
                  <a:pt x="400" y="99"/>
                  <a:pt x="386" y="111"/>
                </a:cubicBezTo>
                <a:cubicBezTo>
                  <a:pt x="371" y="124"/>
                  <a:pt x="395" y="116"/>
                  <a:pt x="383" y="124"/>
                </a:cubicBezTo>
                <a:cubicBezTo>
                  <a:pt x="371" y="132"/>
                  <a:pt x="345" y="110"/>
                  <a:pt x="334" y="119"/>
                </a:cubicBezTo>
                <a:cubicBezTo>
                  <a:pt x="329" y="122"/>
                  <a:pt x="340" y="136"/>
                  <a:pt x="330" y="142"/>
                </a:cubicBezTo>
                <a:cubicBezTo>
                  <a:pt x="324" y="146"/>
                  <a:pt x="317" y="134"/>
                  <a:pt x="312" y="137"/>
                </a:cubicBezTo>
                <a:cubicBezTo>
                  <a:pt x="307" y="141"/>
                  <a:pt x="301" y="142"/>
                  <a:pt x="298" y="149"/>
                </a:cubicBezTo>
                <a:cubicBezTo>
                  <a:pt x="290" y="166"/>
                  <a:pt x="286" y="161"/>
                  <a:pt x="284" y="166"/>
                </a:cubicBezTo>
                <a:cubicBezTo>
                  <a:pt x="282" y="171"/>
                  <a:pt x="295" y="173"/>
                  <a:pt x="292" y="181"/>
                </a:cubicBezTo>
                <a:cubicBezTo>
                  <a:pt x="289" y="189"/>
                  <a:pt x="283" y="184"/>
                  <a:pt x="277" y="195"/>
                </a:cubicBezTo>
                <a:cubicBezTo>
                  <a:pt x="271" y="207"/>
                  <a:pt x="263" y="202"/>
                  <a:pt x="267" y="210"/>
                </a:cubicBezTo>
                <a:cubicBezTo>
                  <a:pt x="274" y="222"/>
                  <a:pt x="241" y="218"/>
                  <a:pt x="244" y="223"/>
                </a:cubicBezTo>
                <a:cubicBezTo>
                  <a:pt x="252" y="240"/>
                  <a:pt x="243" y="237"/>
                  <a:pt x="245" y="249"/>
                </a:cubicBezTo>
                <a:cubicBezTo>
                  <a:pt x="247" y="260"/>
                  <a:pt x="242" y="253"/>
                  <a:pt x="240" y="262"/>
                </a:cubicBezTo>
                <a:cubicBezTo>
                  <a:pt x="240" y="268"/>
                  <a:pt x="220" y="284"/>
                  <a:pt x="226" y="288"/>
                </a:cubicBezTo>
                <a:cubicBezTo>
                  <a:pt x="231" y="292"/>
                  <a:pt x="240" y="289"/>
                  <a:pt x="237" y="300"/>
                </a:cubicBezTo>
                <a:cubicBezTo>
                  <a:pt x="231" y="318"/>
                  <a:pt x="219" y="302"/>
                  <a:pt x="211" y="307"/>
                </a:cubicBezTo>
                <a:cubicBezTo>
                  <a:pt x="202" y="311"/>
                  <a:pt x="183" y="323"/>
                  <a:pt x="187" y="329"/>
                </a:cubicBezTo>
                <a:cubicBezTo>
                  <a:pt x="191" y="335"/>
                  <a:pt x="175" y="337"/>
                  <a:pt x="185" y="347"/>
                </a:cubicBezTo>
                <a:cubicBezTo>
                  <a:pt x="191" y="353"/>
                  <a:pt x="181" y="354"/>
                  <a:pt x="185" y="360"/>
                </a:cubicBezTo>
                <a:cubicBezTo>
                  <a:pt x="189" y="366"/>
                  <a:pt x="179" y="363"/>
                  <a:pt x="188" y="375"/>
                </a:cubicBezTo>
                <a:cubicBezTo>
                  <a:pt x="197" y="387"/>
                  <a:pt x="175" y="400"/>
                  <a:pt x="195" y="410"/>
                </a:cubicBezTo>
                <a:cubicBezTo>
                  <a:pt x="208" y="417"/>
                  <a:pt x="205" y="419"/>
                  <a:pt x="201" y="427"/>
                </a:cubicBezTo>
                <a:cubicBezTo>
                  <a:pt x="198" y="433"/>
                  <a:pt x="192" y="428"/>
                  <a:pt x="189" y="432"/>
                </a:cubicBezTo>
                <a:cubicBezTo>
                  <a:pt x="187" y="437"/>
                  <a:pt x="202" y="452"/>
                  <a:pt x="196" y="458"/>
                </a:cubicBezTo>
                <a:cubicBezTo>
                  <a:pt x="190" y="464"/>
                  <a:pt x="199" y="465"/>
                  <a:pt x="192" y="473"/>
                </a:cubicBezTo>
                <a:cubicBezTo>
                  <a:pt x="184" y="481"/>
                  <a:pt x="177" y="473"/>
                  <a:pt x="179" y="480"/>
                </a:cubicBezTo>
                <a:cubicBezTo>
                  <a:pt x="182" y="488"/>
                  <a:pt x="171" y="485"/>
                  <a:pt x="175" y="495"/>
                </a:cubicBezTo>
                <a:cubicBezTo>
                  <a:pt x="182" y="510"/>
                  <a:pt x="172" y="521"/>
                  <a:pt x="170" y="515"/>
                </a:cubicBezTo>
                <a:cubicBezTo>
                  <a:pt x="168" y="510"/>
                  <a:pt x="167" y="507"/>
                  <a:pt x="165" y="508"/>
                </a:cubicBezTo>
                <a:cubicBezTo>
                  <a:pt x="156" y="507"/>
                  <a:pt x="161" y="505"/>
                  <a:pt x="156" y="505"/>
                </a:cubicBezTo>
                <a:cubicBezTo>
                  <a:pt x="149" y="505"/>
                  <a:pt x="154" y="501"/>
                  <a:pt x="150" y="497"/>
                </a:cubicBezTo>
                <a:cubicBezTo>
                  <a:pt x="146" y="493"/>
                  <a:pt x="151" y="495"/>
                  <a:pt x="150" y="490"/>
                </a:cubicBezTo>
                <a:cubicBezTo>
                  <a:pt x="149" y="484"/>
                  <a:pt x="150" y="495"/>
                  <a:pt x="145" y="490"/>
                </a:cubicBezTo>
                <a:cubicBezTo>
                  <a:pt x="140" y="486"/>
                  <a:pt x="141" y="492"/>
                  <a:pt x="144" y="496"/>
                </a:cubicBezTo>
                <a:cubicBezTo>
                  <a:pt x="151" y="504"/>
                  <a:pt x="141" y="499"/>
                  <a:pt x="142" y="507"/>
                </a:cubicBezTo>
                <a:cubicBezTo>
                  <a:pt x="142" y="515"/>
                  <a:pt x="136" y="510"/>
                  <a:pt x="133" y="513"/>
                </a:cubicBezTo>
                <a:cubicBezTo>
                  <a:pt x="129" y="516"/>
                  <a:pt x="125" y="504"/>
                  <a:pt x="126" y="512"/>
                </a:cubicBezTo>
                <a:cubicBezTo>
                  <a:pt x="126" y="519"/>
                  <a:pt x="112" y="514"/>
                  <a:pt x="119" y="519"/>
                </a:cubicBezTo>
                <a:cubicBezTo>
                  <a:pt x="125" y="524"/>
                  <a:pt x="113" y="520"/>
                  <a:pt x="114" y="525"/>
                </a:cubicBezTo>
                <a:cubicBezTo>
                  <a:pt x="115" y="530"/>
                  <a:pt x="109" y="524"/>
                  <a:pt x="106" y="532"/>
                </a:cubicBezTo>
                <a:cubicBezTo>
                  <a:pt x="102" y="540"/>
                  <a:pt x="93" y="542"/>
                  <a:pt x="91" y="545"/>
                </a:cubicBezTo>
                <a:cubicBezTo>
                  <a:pt x="85" y="551"/>
                  <a:pt x="70" y="548"/>
                  <a:pt x="63" y="551"/>
                </a:cubicBezTo>
                <a:cubicBezTo>
                  <a:pt x="57" y="553"/>
                  <a:pt x="63" y="551"/>
                  <a:pt x="57" y="548"/>
                </a:cubicBezTo>
                <a:cubicBezTo>
                  <a:pt x="51" y="546"/>
                  <a:pt x="54" y="552"/>
                  <a:pt x="50" y="549"/>
                </a:cubicBezTo>
                <a:cubicBezTo>
                  <a:pt x="46" y="545"/>
                  <a:pt x="54" y="543"/>
                  <a:pt x="49" y="542"/>
                </a:cubicBezTo>
                <a:cubicBezTo>
                  <a:pt x="44" y="541"/>
                  <a:pt x="37" y="538"/>
                  <a:pt x="35" y="534"/>
                </a:cubicBezTo>
                <a:cubicBezTo>
                  <a:pt x="34" y="530"/>
                  <a:pt x="30" y="536"/>
                  <a:pt x="24" y="527"/>
                </a:cubicBezTo>
                <a:cubicBezTo>
                  <a:pt x="22" y="524"/>
                  <a:pt x="21" y="524"/>
                  <a:pt x="22" y="517"/>
                </a:cubicBezTo>
                <a:cubicBezTo>
                  <a:pt x="25" y="504"/>
                  <a:pt x="24" y="518"/>
                  <a:pt x="31" y="514"/>
                </a:cubicBezTo>
                <a:cubicBezTo>
                  <a:pt x="39" y="511"/>
                  <a:pt x="28" y="510"/>
                  <a:pt x="33" y="507"/>
                </a:cubicBezTo>
                <a:cubicBezTo>
                  <a:pt x="39" y="504"/>
                  <a:pt x="29" y="504"/>
                  <a:pt x="34" y="501"/>
                </a:cubicBezTo>
                <a:cubicBezTo>
                  <a:pt x="39" y="498"/>
                  <a:pt x="33" y="492"/>
                  <a:pt x="30" y="498"/>
                </a:cubicBezTo>
                <a:cubicBezTo>
                  <a:pt x="28" y="504"/>
                  <a:pt x="26" y="496"/>
                  <a:pt x="23" y="500"/>
                </a:cubicBezTo>
                <a:cubicBezTo>
                  <a:pt x="21" y="504"/>
                  <a:pt x="10" y="495"/>
                  <a:pt x="18" y="487"/>
                </a:cubicBezTo>
                <a:cubicBezTo>
                  <a:pt x="26" y="479"/>
                  <a:pt x="24" y="489"/>
                  <a:pt x="30" y="484"/>
                </a:cubicBezTo>
                <a:cubicBezTo>
                  <a:pt x="35" y="480"/>
                  <a:pt x="21" y="479"/>
                  <a:pt x="29" y="476"/>
                </a:cubicBezTo>
                <a:cubicBezTo>
                  <a:pt x="34" y="475"/>
                  <a:pt x="42" y="461"/>
                  <a:pt x="36" y="462"/>
                </a:cubicBezTo>
                <a:cubicBezTo>
                  <a:pt x="30" y="463"/>
                  <a:pt x="34" y="471"/>
                  <a:pt x="30" y="472"/>
                </a:cubicBezTo>
                <a:cubicBezTo>
                  <a:pt x="26" y="474"/>
                  <a:pt x="30" y="462"/>
                  <a:pt x="27" y="466"/>
                </a:cubicBezTo>
                <a:cubicBezTo>
                  <a:pt x="24" y="470"/>
                  <a:pt x="26" y="461"/>
                  <a:pt x="22" y="464"/>
                </a:cubicBezTo>
                <a:cubicBezTo>
                  <a:pt x="18" y="468"/>
                  <a:pt x="18" y="464"/>
                  <a:pt x="12" y="459"/>
                </a:cubicBezTo>
                <a:cubicBezTo>
                  <a:pt x="10" y="458"/>
                  <a:pt x="18" y="460"/>
                  <a:pt x="19" y="451"/>
                </a:cubicBezTo>
                <a:cubicBezTo>
                  <a:pt x="21" y="443"/>
                  <a:pt x="14" y="452"/>
                  <a:pt x="11" y="445"/>
                </a:cubicBezTo>
                <a:cubicBezTo>
                  <a:pt x="8" y="437"/>
                  <a:pt x="19" y="449"/>
                  <a:pt x="19" y="442"/>
                </a:cubicBezTo>
                <a:cubicBezTo>
                  <a:pt x="18" y="436"/>
                  <a:pt x="11" y="443"/>
                  <a:pt x="11" y="436"/>
                </a:cubicBezTo>
                <a:cubicBezTo>
                  <a:pt x="11" y="428"/>
                  <a:pt x="10" y="430"/>
                  <a:pt x="17" y="432"/>
                </a:cubicBezTo>
                <a:cubicBezTo>
                  <a:pt x="25" y="434"/>
                  <a:pt x="35" y="424"/>
                  <a:pt x="42" y="429"/>
                </a:cubicBezTo>
                <a:cubicBezTo>
                  <a:pt x="49" y="434"/>
                  <a:pt x="46" y="420"/>
                  <a:pt x="57" y="430"/>
                </a:cubicBezTo>
                <a:cubicBezTo>
                  <a:pt x="69" y="440"/>
                  <a:pt x="54" y="430"/>
                  <a:pt x="66" y="428"/>
                </a:cubicBezTo>
                <a:cubicBezTo>
                  <a:pt x="78" y="425"/>
                  <a:pt x="72" y="423"/>
                  <a:pt x="63" y="425"/>
                </a:cubicBezTo>
                <a:cubicBezTo>
                  <a:pt x="53" y="427"/>
                  <a:pt x="50" y="416"/>
                  <a:pt x="47" y="424"/>
                </a:cubicBezTo>
                <a:cubicBezTo>
                  <a:pt x="44" y="432"/>
                  <a:pt x="35" y="421"/>
                  <a:pt x="25" y="426"/>
                </a:cubicBezTo>
                <a:cubicBezTo>
                  <a:pt x="15" y="432"/>
                  <a:pt x="8" y="424"/>
                  <a:pt x="12" y="421"/>
                </a:cubicBezTo>
                <a:cubicBezTo>
                  <a:pt x="16" y="418"/>
                  <a:pt x="2" y="417"/>
                  <a:pt x="13" y="414"/>
                </a:cubicBezTo>
                <a:cubicBezTo>
                  <a:pt x="24" y="410"/>
                  <a:pt x="0" y="409"/>
                  <a:pt x="14" y="400"/>
                </a:cubicBezTo>
                <a:cubicBezTo>
                  <a:pt x="28" y="391"/>
                  <a:pt x="31" y="404"/>
                  <a:pt x="35" y="401"/>
                </a:cubicBezTo>
                <a:cubicBezTo>
                  <a:pt x="39" y="398"/>
                  <a:pt x="54" y="404"/>
                  <a:pt x="41" y="398"/>
                </a:cubicBezTo>
                <a:cubicBezTo>
                  <a:pt x="29" y="393"/>
                  <a:pt x="16" y="398"/>
                  <a:pt x="10" y="393"/>
                </a:cubicBezTo>
                <a:cubicBezTo>
                  <a:pt x="5" y="388"/>
                  <a:pt x="19" y="394"/>
                  <a:pt x="15" y="389"/>
                </a:cubicBezTo>
                <a:cubicBezTo>
                  <a:pt x="10" y="384"/>
                  <a:pt x="12" y="385"/>
                  <a:pt x="24" y="387"/>
                </a:cubicBezTo>
                <a:cubicBezTo>
                  <a:pt x="35" y="389"/>
                  <a:pt x="22" y="382"/>
                  <a:pt x="31" y="384"/>
                </a:cubicBezTo>
                <a:cubicBezTo>
                  <a:pt x="40" y="386"/>
                  <a:pt x="27" y="383"/>
                  <a:pt x="42" y="377"/>
                </a:cubicBezTo>
                <a:cubicBezTo>
                  <a:pt x="58" y="371"/>
                  <a:pt x="61" y="382"/>
                  <a:pt x="58" y="376"/>
                </a:cubicBezTo>
                <a:cubicBezTo>
                  <a:pt x="55" y="369"/>
                  <a:pt x="32" y="373"/>
                  <a:pt x="48" y="367"/>
                </a:cubicBezTo>
                <a:cubicBezTo>
                  <a:pt x="65" y="362"/>
                  <a:pt x="76" y="374"/>
                  <a:pt x="71" y="368"/>
                </a:cubicBezTo>
                <a:cubicBezTo>
                  <a:pt x="65" y="361"/>
                  <a:pt x="81" y="359"/>
                  <a:pt x="68" y="361"/>
                </a:cubicBezTo>
                <a:cubicBezTo>
                  <a:pt x="56" y="362"/>
                  <a:pt x="58" y="354"/>
                  <a:pt x="59" y="353"/>
                </a:cubicBezTo>
                <a:cubicBezTo>
                  <a:pt x="62" y="351"/>
                  <a:pt x="70" y="355"/>
                  <a:pt x="81" y="353"/>
                </a:cubicBezTo>
                <a:cubicBezTo>
                  <a:pt x="91" y="351"/>
                  <a:pt x="72" y="345"/>
                  <a:pt x="86" y="349"/>
                </a:cubicBezTo>
                <a:cubicBezTo>
                  <a:pt x="99" y="352"/>
                  <a:pt x="79" y="346"/>
                  <a:pt x="94" y="345"/>
                </a:cubicBezTo>
                <a:cubicBezTo>
                  <a:pt x="108" y="344"/>
                  <a:pt x="88" y="339"/>
                  <a:pt x="95" y="337"/>
                </a:cubicBezTo>
                <a:cubicBezTo>
                  <a:pt x="103" y="335"/>
                  <a:pt x="107" y="330"/>
                  <a:pt x="112" y="333"/>
                </a:cubicBezTo>
                <a:cubicBezTo>
                  <a:pt x="116" y="336"/>
                  <a:pt x="110" y="329"/>
                  <a:pt x="118" y="328"/>
                </a:cubicBezTo>
                <a:cubicBezTo>
                  <a:pt x="125" y="328"/>
                  <a:pt x="125" y="321"/>
                  <a:pt x="129" y="329"/>
                </a:cubicBezTo>
                <a:cubicBezTo>
                  <a:pt x="134" y="337"/>
                  <a:pt x="129" y="340"/>
                  <a:pt x="134" y="336"/>
                </a:cubicBezTo>
                <a:cubicBezTo>
                  <a:pt x="141" y="330"/>
                  <a:pt x="150" y="336"/>
                  <a:pt x="155" y="334"/>
                </a:cubicBezTo>
                <a:cubicBezTo>
                  <a:pt x="159" y="331"/>
                  <a:pt x="150" y="332"/>
                  <a:pt x="153" y="329"/>
                </a:cubicBezTo>
                <a:cubicBezTo>
                  <a:pt x="156" y="327"/>
                  <a:pt x="145" y="330"/>
                  <a:pt x="155" y="325"/>
                </a:cubicBezTo>
                <a:cubicBezTo>
                  <a:pt x="164" y="320"/>
                  <a:pt x="175" y="318"/>
                  <a:pt x="167" y="317"/>
                </a:cubicBezTo>
                <a:cubicBezTo>
                  <a:pt x="153" y="314"/>
                  <a:pt x="178" y="310"/>
                  <a:pt x="168" y="309"/>
                </a:cubicBezTo>
                <a:cubicBezTo>
                  <a:pt x="160" y="308"/>
                  <a:pt x="167" y="308"/>
                  <a:pt x="156" y="313"/>
                </a:cubicBezTo>
                <a:cubicBezTo>
                  <a:pt x="148" y="317"/>
                  <a:pt x="169" y="311"/>
                  <a:pt x="156" y="320"/>
                </a:cubicBezTo>
                <a:cubicBezTo>
                  <a:pt x="144" y="330"/>
                  <a:pt x="132" y="333"/>
                  <a:pt x="132" y="328"/>
                </a:cubicBezTo>
                <a:cubicBezTo>
                  <a:pt x="132" y="324"/>
                  <a:pt x="129" y="327"/>
                  <a:pt x="129" y="323"/>
                </a:cubicBezTo>
                <a:cubicBezTo>
                  <a:pt x="129" y="319"/>
                  <a:pt x="120" y="328"/>
                  <a:pt x="122" y="321"/>
                </a:cubicBezTo>
                <a:cubicBezTo>
                  <a:pt x="125" y="314"/>
                  <a:pt x="133" y="317"/>
                  <a:pt x="137" y="304"/>
                </a:cubicBezTo>
                <a:cubicBezTo>
                  <a:pt x="139" y="296"/>
                  <a:pt x="147" y="302"/>
                  <a:pt x="146" y="295"/>
                </a:cubicBezTo>
                <a:cubicBezTo>
                  <a:pt x="145" y="292"/>
                  <a:pt x="147" y="290"/>
                  <a:pt x="154" y="289"/>
                </a:cubicBezTo>
                <a:cubicBezTo>
                  <a:pt x="159" y="289"/>
                  <a:pt x="153" y="286"/>
                  <a:pt x="158" y="286"/>
                </a:cubicBezTo>
                <a:cubicBezTo>
                  <a:pt x="162" y="285"/>
                  <a:pt x="160" y="293"/>
                  <a:pt x="166" y="292"/>
                </a:cubicBezTo>
                <a:cubicBezTo>
                  <a:pt x="172" y="292"/>
                  <a:pt x="169" y="291"/>
                  <a:pt x="173" y="287"/>
                </a:cubicBezTo>
                <a:cubicBezTo>
                  <a:pt x="175" y="285"/>
                  <a:pt x="165" y="283"/>
                  <a:pt x="171" y="280"/>
                </a:cubicBezTo>
                <a:cubicBezTo>
                  <a:pt x="176" y="278"/>
                  <a:pt x="176" y="275"/>
                  <a:pt x="171" y="277"/>
                </a:cubicBezTo>
                <a:cubicBezTo>
                  <a:pt x="160" y="283"/>
                  <a:pt x="172" y="277"/>
                  <a:pt x="164" y="275"/>
                </a:cubicBezTo>
                <a:cubicBezTo>
                  <a:pt x="157" y="274"/>
                  <a:pt x="154" y="277"/>
                  <a:pt x="155" y="274"/>
                </a:cubicBezTo>
                <a:cubicBezTo>
                  <a:pt x="155" y="272"/>
                  <a:pt x="162" y="272"/>
                  <a:pt x="165" y="272"/>
                </a:cubicBezTo>
                <a:cubicBezTo>
                  <a:pt x="169" y="273"/>
                  <a:pt x="169" y="271"/>
                  <a:pt x="175" y="270"/>
                </a:cubicBezTo>
                <a:cubicBezTo>
                  <a:pt x="180" y="270"/>
                  <a:pt x="179" y="266"/>
                  <a:pt x="186" y="267"/>
                </a:cubicBezTo>
                <a:cubicBezTo>
                  <a:pt x="193" y="267"/>
                  <a:pt x="195" y="260"/>
                  <a:pt x="191" y="258"/>
                </a:cubicBezTo>
                <a:cubicBezTo>
                  <a:pt x="188" y="256"/>
                  <a:pt x="198" y="254"/>
                  <a:pt x="197" y="249"/>
                </a:cubicBezTo>
                <a:cubicBezTo>
                  <a:pt x="196" y="243"/>
                  <a:pt x="193" y="250"/>
                  <a:pt x="191" y="243"/>
                </a:cubicBezTo>
                <a:cubicBezTo>
                  <a:pt x="190" y="235"/>
                  <a:pt x="196" y="243"/>
                  <a:pt x="199" y="235"/>
                </a:cubicBezTo>
                <a:cubicBezTo>
                  <a:pt x="201" y="227"/>
                  <a:pt x="207" y="230"/>
                  <a:pt x="207" y="226"/>
                </a:cubicBezTo>
                <a:cubicBezTo>
                  <a:pt x="208" y="222"/>
                  <a:pt x="193" y="226"/>
                  <a:pt x="202" y="222"/>
                </a:cubicBezTo>
                <a:cubicBezTo>
                  <a:pt x="210" y="219"/>
                  <a:pt x="214" y="220"/>
                  <a:pt x="223" y="218"/>
                </a:cubicBezTo>
                <a:cubicBezTo>
                  <a:pt x="232" y="216"/>
                  <a:pt x="242" y="211"/>
                  <a:pt x="234" y="213"/>
                </a:cubicBezTo>
                <a:cubicBezTo>
                  <a:pt x="226" y="215"/>
                  <a:pt x="210" y="219"/>
                  <a:pt x="208" y="218"/>
                </a:cubicBezTo>
                <a:cubicBezTo>
                  <a:pt x="206" y="217"/>
                  <a:pt x="221" y="214"/>
                  <a:pt x="212" y="214"/>
                </a:cubicBezTo>
                <a:cubicBezTo>
                  <a:pt x="203" y="214"/>
                  <a:pt x="213" y="209"/>
                  <a:pt x="209" y="206"/>
                </a:cubicBezTo>
                <a:cubicBezTo>
                  <a:pt x="205" y="204"/>
                  <a:pt x="209" y="203"/>
                  <a:pt x="212" y="204"/>
                </a:cubicBezTo>
                <a:cubicBezTo>
                  <a:pt x="215" y="206"/>
                  <a:pt x="211" y="204"/>
                  <a:pt x="215" y="201"/>
                </a:cubicBezTo>
                <a:cubicBezTo>
                  <a:pt x="219" y="199"/>
                  <a:pt x="208" y="201"/>
                  <a:pt x="214" y="197"/>
                </a:cubicBezTo>
                <a:cubicBezTo>
                  <a:pt x="220" y="193"/>
                  <a:pt x="217" y="197"/>
                  <a:pt x="223" y="193"/>
                </a:cubicBezTo>
                <a:cubicBezTo>
                  <a:pt x="229" y="189"/>
                  <a:pt x="214" y="186"/>
                  <a:pt x="225" y="186"/>
                </a:cubicBezTo>
                <a:cubicBezTo>
                  <a:pt x="239" y="185"/>
                  <a:pt x="230" y="179"/>
                  <a:pt x="235" y="179"/>
                </a:cubicBezTo>
                <a:cubicBezTo>
                  <a:pt x="240" y="178"/>
                  <a:pt x="236" y="176"/>
                  <a:pt x="242" y="177"/>
                </a:cubicBezTo>
                <a:cubicBezTo>
                  <a:pt x="248" y="177"/>
                  <a:pt x="249" y="174"/>
                  <a:pt x="258" y="174"/>
                </a:cubicBezTo>
                <a:cubicBezTo>
                  <a:pt x="267" y="175"/>
                  <a:pt x="271" y="184"/>
                  <a:pt x="269" y="178"/>
                </a:cubicBezTo>
                <a:cubicBezTo>
                  <a:pt x="267" y="172"/>
                  <a:pt x="281" y="176"/>
                  <a:pt x="262" y="173"/>
                </a:cubicBezTo>
                <a:cubicBezTo>
                  <a:pt x="251" y="170"/>
                  <a:pt x="249" y="174"/>
                  <a:pt x="245" y="173"/>
                </a:cubicBezTo>
                <a:cubicBezTo>
                  <a:pt x="242" y="173"/>
                  <a:pt x="242" y="171"/>
                  <a:pt x="246" y="167"/>
                </a:cubicBezTo>
                <a:cubicBezTo>
                  <a:pt x="251" y="164"/>
                  <a:pt x="252" y="170"/>
                  <a:pt x="254" y="167"/>
                </a:cubicBezTo>
                <a:cubicBezTo>
                  <a:pt x="257" y="165"/>
                  <a:pt x="242" y="162"/>
                  <a:pt x="256" y="160"/>
                </a:cubicBezTo>
                <a:cubicBezTo>
                  <a:pt x="268" y="158"/>
                  <a:pt x="256" y="158"/>
                  <a:pt x="265" y="154"/>
                </a:cubicBezTo>
                <a:cubicBezTo>
                  <a:pt x="273" y="151"/>
                  <a:pt x="283" y="154"/>
                  <a:pt x="273" y="151"/>
                </a:cubicBezTo>
                <a:cubicBezTo>
                  <a:pt x="263" y="147"/>
                  <a:pt x="262" y="158"/>
                  <a:pt x="253" y="157"/>
                </a:cubicBezTo>
                <a:cubicBezTo>
                  <a:pt x="244" y="155"/>
                  <a:pt x="258" y="154"/>
                  <a:pt x="252" y="151"/>
                </a:cubicBezTo>
                <a:cubicBezTo>
                  <a:pt x="245" y="147"/>
                  <a:pt x="273" y="143"/>
                  <a:pt x="278" y="143"/>
                </a:cubicBezTo>
                <a:cubicBezTo>
                  <a:pt x="282" y="143"/>
                  <a:pt x="282" y="140"/>
                  <a:pt x="274" y="139"/>
                </a:cubicBezTo>
                <a:cubicBezTo>
                  <a:pt x="267" y="138"/>
                  <a:pt x="267" y="143"/>
                  <a:pt x="265" y="140"/>
                </a:cubicBezTo>
                <a:cubicBezTo>
                  <a:pt x="264" y="137"/>
                  <a:pt x="273" y="133"/>
                  <a:pt x="274" y="135"/>
                </a:cubicBezTo>
                <a:cubicBezTo>
                  <a:pt x="276" y="137"/>
                  <a:pt x="277" y="138"/>
                  <a:pt x="279" y="133"/>
                </a:cubicBezTo>
                <a:cubicBezTo>
                  <a:pt x="282" y="128"/>
                  <a:pt x="285" y="131"/>
                  <a:pt x="284" y="137"/>
                </a:cubicBezTo>
                <a:cubicBezTo>
                  <a:pt x="283" y="142"/>
                  <a:pt x="288" y="149"/>
                  <a:pt x="288" y="143"/>
                </a:cubicBezTo>
                <a:cubicBezTo>
                  <a:pt x="288" y="137"/>
                  <a:pt x="297" y="133"/>
                  <a:pt x="290" y="132"/>
                </a:cubicBezTo>
                <a:cubicBezTo>
                  <a:pt x="282" y="132"/>
                  <a:pt x="291" y="131"/>
                  <a:pt x="286" y="130"/>
                </a:cubicBezTo>
                <a:cubicBezTo>
                  <a:pt x="280" y="128"/>
                  <a:pt x="286" y="125"/>
                  <a:pt x="295" y="124"/>
                </a:cubicBezTo>
                <a:cubicBezTo>
                  <a:pt x="303" y="123"/>
                  <a:pt x="299" y="127"/>
                  <a:pt x="308" y="126"/>
                </a:cubicBezTo>
                <a:cubicBezTo>
                  <a:pt x="316" y="125"/>
                  <a:pt x="325" y="115"/>
                  <a:pt x="317" y="119"/>
                </a:cubicBezTo>
                <a:cubicBezTo>
                  <a:pt x="309" y="122"/>
                  <a:pt x="306" y="123"/>
                  <a:pt x="307" y="120"/>
                </a:cubicBezTo>
                <a:cubicBezTo>
                  <a:pt x="308" y="117"/>
                  <a:pt x="289" y="127"/>
                  <a:pt x="295" y="118"/>
                </a:cubicBezTo>
                <a:cubicBezTo>
                  <a:pt x="301" y="108"/>
                  <a:pt x="305" y="113"/>
                  <a:pt x="311" y="110"/>
                </a:cubicBezTo>
                <a:cubicBezTo>
                  <a:pt x="316" y="108"/>
                  <a:pt x="311" y="106"/>
                  <a:pt x="321" y="103"/>
                </a:cubicBezTo>
                <a:cubicBezTo>
                  <a:pt x="331" y="101"/>
                  <a:pt x="315" y="103"/>
                  <a:pt x="320" y="97"/>
                </a:cubicBezTo>
                <a:cubicBezTo>
                  <a:pt x="325" y="90"/>
                  <a:pt x="337" y="93"/>
                  <a:pt x="333" y="87"/>
                </a:cubicBezTo>
                <a:cubicBezTo>
                  <a:pt x="329" y="81"/>
                  <a:pt x="337" y="83"/>
                  <a:pt x="335" y="77"/>
                </a:cubicBezTo>
                <a:cubicBezTo>
                  <a:pt x="333" y="72"/>
                  <a:pt x="340" y="77"/>
                  <a:pt x="343" y="80"/>
                </a:cubicBezTo>
                <a:cubicBezTo>
                  <a:pt x="348" y="87"/>
                  <a:pt x="351" y="84"/>
                  <a:pt x="348" y="80"/>
                </a:cubicBezTo>
                <a:cubicBezTo>
                  <a:pt x="344" y="77"/>
                  <a:pt x="338" y="76"/>
                  <a:pt x="347" y="74"/>
                </a:cubicBezTo>
                <a:cubicBezTo>
                  <a:pt x="355" y="72"/>
                  <a:pt x="349" y="79"/>
                  <a:pt x="360" y="82"/>
                </a:cubicBezTo>
                <a:cubicBezTo>
                  <a:pt x="371" y="85"/>
                  <a:pt x="354" y="84"/>
                  <a:pt x="369" y="89"/>
                </a:cubicBezTo>
                <a:cubicBezTo>
                  <a:pt x="368" y="75"/>
                  <a:pt x="354" y="80"/>
                  <a:pt x="356" y="75"/>
                </a:cubicBezTo>
                <a:cubicBezTo>
                  <a:pt x="358" y="69"/>
                  <a:pt x="346" y="73"/>
                  <a:pt x="362" y="64"/>
                </a:cubicBezTo>
                <a:cubicBezTo>
                  <a:pt x="365" y="62"/>
                  <a:pt x="378" y="57"/>
                  <a:pt x="372" y="67"/>
                </a:cubicBezTo>
                <a:cubicBezTo>
                  <a:pt x="370" y="72"/>
                  <a:pt x="372" y="73"/>
                  <a:pt x="376" y="70"/>
                </a:cubicBezTo>
                <a:cubicBezTo>
                  <a:pt x="379" y="67"/>
                  <a:pt x="373" y="69"/>
                  <a:pt x="378" y="63"/>
                </a:cubicBezTo>
                <a:cubicBezTo>
                  <a:pt x="382" y="56"/>
                  <a:pt x="382" y="54"/>
                  <a:pt x="385" y="57"/>
                </a:cubicBezTo>
                <a:cubicBezTo>
                  <a:pt x="387" y="60"/>
                  <a:pt x="389" y="50"/>
                  <a:pt x="390" y="57"/>
                </a:cubicBezTo>
                <a:cubicBezTo>
                  <a:pt x="390" y="64"/>
                  <a:pt x="390" y="73"/>
                  <a:pt x="381" y="84"/>
                </a:cubicBezTo>
                <a:cubicBezTo>
                  <a:pt x="397" y="73"/>
                  <a:pt x="392" y="64"/>
                  <a:pt x="396" y="63"/>
                </a:cubicBezTo>
                <a:cubicBezTo>
                  <a:pt x="399" y="62"/>
                  <a:pt x="409" y="52"/>
                  <a:pt x="408" y="56"/>
                </a:cubicBezTo>
                <a:cubicBezTo>
                  <a:pt x="406" y="61"/>
                  <a:pt x="414" y="58"/>
                  <a:pt x="411" y="55"/>
                </a:cubicBezTo>
                <a:cubicBezTo>
                  <a:pt x="409" y="53"/>
                  <a:pt x="413" y="49"/>
                  <a:pt x="421" y="56"/>
                </a:cubicBezTo>
                <a:cubicBezTo>
                  <a:pt x="430" y="64"/>
                  <a:pt x="436" y="67"/>
                  <a:pt x="432" y="62"/>
                </a:cubicBezTo>
                <a:cubicBezTo>
                  <a:pt x="427" y="57"/>
                  <a:pt x="426" y="57"/>
                  <a:pt x="429" y="54"/>
                </a:cubicBezTo>
                <a:cubicBezTo>
                  <a:pt x="432" y="52"/>
                  <a:pt x="426" y="53"/>
                  <a:pt x="425" y="51"/>
                </a:cubicBezTo>
                <a:cubicBezTo>
                  <a:pt x="424" y="48"/>
                  <a:pt x="417" y="50"/>
                  <a:pt x="417" y="47"/>
                </a:cubicBezTo>
                <a:cubicBezTo>
                  <a:pt x="417" y="45"/>
                  <a:pt x="406" y="45"/>
                  <a:pt x="415" y="41"/>
                </a:cubicBezTo>
                <a:cubicBezTo>
                  <a:pt x="424" y="36"/>
                  <a:pt x="427" y="53"/>
                  <a:pt x="427" y="44"/>
                </a:cubicBezTo>
                <a:cubicBezTo>
                  <a:pt x="427" y="34"/>
                  <a:pt x="432" y="42"/>
                  <a:pt x="435" y="41"/>
                </a:cubicBezTo>
                <a:cubicBezTo>
                  <a:pt x="438" y="39"/>
                  <a:pt x="436" y="42"/>
                  <a:pt x="441" y="42"/>
                </a:cubicBezTo>
                <a:cubicBezTo>
                  <a:pt x="445" y="42"/>
                  <a:pt x="458" y="43"/>
                  <a:pt x="455" y="48"/>
                </a:cubicBezTo>
                <a:cubicBezTo>
                  <a:pt x="452" y="54"/>
                  <a:pt x="463" y="54"/>
                  <a:pt x="466" y="54"/>
                </a:cubicBezTo>
                <a:cubicBezTo>
                  <a:pt x="470" y="53"/>
                  <a:pt x="455" y="50"/>
                  <a:pt x="461" y="48"/>
                </a:cubicBezTo>
                <a:cubicBezTo>
                  <a:pt x="467" y="46"/>
                  <a:pt x="455" y="45"/>
                  <a:pt x="465" y="41"/>
                </a:cubicBezTo>
                <a:cubicBezTo>
                  <a:pt x="474" y="37"/>
                  <a:pt x="462" y="39"/>
                  <a:pt x="478" y="31"/>
                </a:cubicBezTo>
                <a:cubicBezTo>
                  <a:pt x="495" y="23"/>
                  <a:pt x="482" y="20"/>
                  <a:pt x="492" y="23"/>
                </a:cubicBezTo>
                <a:cubicBezTo>
                  <a:pt x="502" y="27"/>
                  <a:pt x="501" y="23"/>
                  <a:pt x="492" y="20"/>
                </a:cubicBezTo>
                <a:cubicBezTo>
                  <a:pt x="483" y="17"/>
                  <a:pt x="485" y="12"/>
                  <a:pt x="491" y="16"/>
                </a:cubicBezTo>
                <a:cubicBezTo>
                  <a:pt x="497" y="20"/>
                  <a:pt x="496" y="15"/>
                  <a:pt x="494" y="12"/>
                </a:cubicBezTo>
                <a:cubicBezTo>
                  <a:pt x="491" y="10"/>
                  <a:pt x="495" y="7"/>
                  <a:pt x="498" y="10"/>
                </a:cubicBezTo>
                <a:cubicBezTo>
                  <a:pt x="501" y="13"/>
                  <a:pt x="502" y="9"/>
                  <a:pt x="507" y="11"/>
                </a:cubicBezTo>
                <a:cubicBezTo>
                  <a:pt x="511" y="14"/>
                  <a:pt x="511" y="23"/>
                  <a:pt x="512" y="13"/>
                </a:cubicBezTo>
                <a:cubicBezTo>
                  <a:pt x="514" y="4"/>
                  <a:pt x="513" y="14"/>
                  <a:pt x="522" y="14"/>
                </a:cubicBezTo>
                <a:cubicBezTo>
                  <a:pt x="531" y="13"/>
                  <a:pt x="526" y="15"/>
                  <a:pt x="515" y="24"/>
                </a:cubicBezTo>
                <a:cubicBezTo>
                  <a:pt x="504" y="34"/>
                  <a:pt x="516" y="30"/>
                  <a:pt x="508" y="36"/>
                </a:cubicBezTo>
                <a:cubicBezTo>
                  <a:pt x="505" y="39"/>
                  <a:pt x="511" y="38"/>
                  <a:pt x="505" y="44"/>
                </a:cubicBezTo>
                <a:cubicBezTo>
                  <a:pt x="500" y="49"/>
                  <a:pt x="502" y="51"/>
                  <a:pt x="505" y="49"/>
                </a:cubicBezTo>
                <a:cubicBezTo>
                  <a:pt x="507" y="46"/>
                  <a:pt x="508" y="52"/>
                  <a:pt x="514" y="45"/>
                </a:cubicBezTo>
                <a:cubicBezTo>
                  <a:pt x="520" y="38"/>
                  <a:pt x="511" y="40"/>
                  <a:pt x="520" y="32"/>
                </a:cubicBezTo>
                <a:cubicBezTo>
                  <a:pt x="528" y="25"/>
                  <a:pt x="541" y="9"/>
                  <a:pt x="545" y="11"/>
                </a:cubicBezTo>
                <a:cubicBezTo>
                  <a:pt x="549" y="13"/>
                  <a:pt x="543" y="22"/>
                  <a:pt x="544" y="24"/>
                </a:cubicBezTo>
                <a:cubicBezTo>
                  <a:pt x="546" y="27"/>
                  <a:pt x="536" y="41"/>
                  <a:pt x="545" y="36"/>
                </a:cubicBezTo>
                <a:cubicBezTo>
                  <a:pt x="553" y="30"/>
                  <a:pt x="555" y="34"/>
                  <a:pt x="553" y="29"/>
                </a:cubicBezTo>
                <a:cubicBezTo>
                  <a:pt x="551" y="25"/>
                  <a:pt x="557" y="26"/>
                  <a:pt x="556" y="23"/>
                </a:cubicBezTo>
                <a:cubicBezTo>
                  <a:pt x="556" y="20"/>
                  <a:pt x="563" y="20"/>
                  <a:pt x="561" y="17"/>
                </a:cubicBezTo>
                <a:cubicBezTo>
                  <a:pt x="561" y="18"/>
                  <a:pt x="570" y="14"/>
                  <a:pt x="562" y="14"/>
                </a:cubicBezTo>
                <a:cubicBezTo>
                  <a:pt x="554" y="14"/>
                  <a:pt x="558" y="5"/>
                  <a:pt x="564" y="8"/>
                </a:cubicBezTo>
                <a:cubicBezTo>
                  <a:pt x="569" y="11"/>
                  <a:pt x="565" y="0"/>
                  <a:pt x="572" y="5"/>
                </a:cubicBezTo>
                <a:cubicBezTo>
                  <a:pt x="578" y="10"/>
                  <a:pt x="584" y="2"/>
                  <a:pt x="584" y="7"/>
                </a:cubicBezTo>
                <a:cubicBezTo>
                  <a:pt x="584" y="13"/>
                  <a:pt x="591" y="5"/>
                  <a:pt x="592" y="10"/>
                </a:cubicBezTo>
                <a:cubicBezTo>
                  <a:pt x="593" y="15"/>
                  <a:pt x="581" y="16"/>
                  <a:pt x="580" y="19"/>
                </a:cubicBezTo>
                <a:cubicBezTo>
                  <a:pt x="580" y="21"/>
                  <a:pt x="579" y="22"/>
                  <a:pt x="584" y="21"/>
                </a:cubicBezTo>
                <a:cubicBezTo>
                  <a:pt x="589" y="20"/>
                  <a:pt x="586" y="25"/>
                  <a:pt x="579" y="28"/>
                </a:cubicBezTo>
                <a:cubicBezTo>
                  <a:pt x="573" y="32"/>
                  <a:pt x="576" y="33"/>
                  <a:pt x="582" y="32"/>
                </a:cubicBezTo>
                <a:cubicBezTo>
                  <a:pt x="588" y="30"/>
                  <a:pt x="592" y="38"/>
                  <a:pt x="590" y="30"/>
                </a:cubicBezTo>
                <a:cubicBezTo>
                  <a:pt x="588" y="23"/>
                  <a:pt x="593" y="11"/>
                  <a:pt x="606" y="15"/>
                </a:cubicBezTo>
                <a:cubicBezTo>
                  <a:pt x="618" y="18"/>
                  <a:pt x="606" y="25"/>
                  <a:pt x="616" y="21"/>
                </a:cubicBezTo>
                <a:cubicBezTo>
                  <a:pt x="626" y="18"/>
                  <a:pt x="619" y="25"/>
                  <a:pt x="626" y="22"/>
                </a:cubicBezTo>
                <a:cubicBezTo>
                  <a:pt x="634" y="19"/>
                  <a:pt x="632" y="28"/>
                  <a:pt x="639" y="28"/>
                </a:cubicBezTo>
                <a:cubicBezTo>
                  <a:pt x="646" y="29"/>
                  <a:pt x="641" y="35"/>
                  <a:pt x="649" y="34"/>
                </a:cubicBezTo>
                <a:cubicBezTo>
                  <a:pt x="657" y="33"/>
                  <a:pt x="656" y="44"/>
                  <a:pt x="647" y="42"/>
                </a:cubicBezTo>
                <a:close/>
                <a:moveTo>
                  <a:pt x="478" y="19"/>
                </a:moveTo>
                <a:cubicBezTo>
                  <a:pt x="469" y="17"/>
                  <a:pt x="475" y="30"/>
                  <a:pt x="479" y="29"/>
                </a:cubicBezTo>
                <a:cubicBezTo>
                  <a:pt x="482" y="28"/>
                  <a:pt x="488" y="22"/>
                  <a:pt x="478" y="19"/>
                </a:cubicBezTo>
                <a:close/>
                <a:moveTo>
                  <a:pt x="471" y="25"/>
                </a:moveTo>
                <a:cubicBezTo>
                  <a:pt x="465" y="22"/>
                  <a:pt x="471" y="26"/>
                  <a:pt x="463" y="28"/>
                </a:cubicBezTo>
                <a:cubicBezTo>
                  <a:pt x="454" y="30"/>
                  <a:pt x="452" y="34"/>
                  <a:pt x="459" y="37"/>
                </a:cubicBezTo>
                <a:cubicBezTo>
                  <a:pt x="462" y="39"/>
                  <a:pt x="465" y="40"/>
                  <a:pt x="467" y="37"/>
                </a:cubicBezTo>
                <a:cubicBezTo>
                  <a:pt x="469" y="33"/>
                  <a:pt x="477" y="28"/>
                  <a:pt x="471" y="25"/>
                </a:cubicBezTo>
                <a:close/>
                <a:moveTo>
                  <a:pt x="443" y="37"/>
                </a:moveTo>
                <a:cubicBezTo>
                  <a:pt x="436" y="40"/>
                  <a:pt x="461" y="43"/>
                  <a:pt x="456" y="38"/>
                </a:cubicBezTo>
                <a:cubicBezTo>
                  <a:pt x="453" y="35"/>
                  <a:pt x="450" y="34"/>
                  <a:pt x="443" y="37"/>
                </a:cubicBezTo>
                <a:close/>
                <a:moveTo>
                  <a:pt x="462" y="15"/>
                </a:moveTo>
                <a:cubicBezTo>
                  <a:pt x="455" y="17"/>
                  <a:pt x="463" y="19"/>
                  <a:pt x="458" y="20"/>
                </a:cubicBezTo>
                <a:cubicBezTo>
                  <a:pt x="453" y="21"/>
                  <a:pt x="453" y="16"/>
                  <a:pt x="451" y="22"/>
                </a:cubicBezTo>
                <a:cubicBezTo>
                  <a:pt x="448" y="27"/>
                  <a:pt x="451" y="19"/>
                  <a:pt x="444" y="21"/>
                </a:cubicBezTo>
                <a:cubicBezTo>
                  <a:pt x="438" y="24"/>
                  <a:pt x="429" y="25"/>
                  <a:pt x="435" y="27"/>
                </a:cubicBezTo>
                <a:cubicBezTo>
                  <a:pt x="442" y="29"/>
                  <a:pt x="431" y="31"/>
                  <a:pt x="441" y="30"/>
                </a:cubicBezTo>
                <a:cubicBezTo>
                  <a:pt x="444" y="30"/>
                  <a:pt x="446" y="26"/>
                  <a:pt x="450" y="28"/>
                </a:cubicBezTo>
                <a:cubicBezTo>
                  <a:pt x="454" y="30"/>
                  <a:pt x="455" y="28"/>
                  <a:pt x="464" y="21"/>
                </a:cubicBezTo>
                <a:cubicBezTo>
                  <a:pt x="473" y="15"/>
                  <a:pt x="468" y="14"/>
                  <a:pt x="462" y="15"/>
                </a:cubicBezTo>
                <a:close/>
                <a:moveTo>
                  <a:pt x="395" y="43"/>
                </a:moveTo>
                <a:cubicBezTo>
                  <a:pt x="391" y="46"/>
                  <a:pt x="391" y="49"/>
                  <a:pt x="397" y="50"/>
                </a:cubicBezTo>
                <a:cubicBezTo>
                  <a:pt x="402" y="51"/>
                  <a:pt x="402" y="49"/>
                  <a:pt x="402" y="45"/>
                </a:cubicBezTo>
                <a:cubicBezTo>
                  <a:pt x="403" y="41"/>
                  <a:pt x="401" y="39"/>
                  <a:pt x="395" y="43"/>
                </a:cubicBezTo>
                <a:close/>
                <a:moveTo>
                  <a:pt x="381" y="43"/>
                </a:moveTo>
                <a:cubicBezTo>
                  <a:pt x="376" y="42"/>
                  <a:pt x="373" y="37"/>
                  <a:pt x="372" y="41"/>
                </a:cubicBezTo>
                <a:cubicBezTo>
                  <a:pt x="372" y="44"/>
                  <a:pt x="377" y="50"/>
                  <a:pt x="385" y="47"/>
                </a:cubicBezTo>
                <a:cubicBezTo>
                  <a:pt x="388" y="46"/>
                  <a:pt x="385" y="44"/>
                  <a:pt x="381" y="43"/>
                </a:cubicBezTo>
                <a:close/>
                <a:moveTo>
                  <a:pt x="485" y="9"/>
                </a:moveTo>
                <a:cubicBezTo>
                  <a:pt x="482" y="7"/>
                  <a:pt x="477" y="7"/>
                  <a:pt x="480" y="10"/>
                </a:cubicBezTo>
                <a:cubicBezTo>
                  <a:pt x="482" y="13"/>
                  <a:pt x="489" y="11"/>
                  <a:pt x="485" y="9"/>
                </a:cubicBezTo>
                <a:close/>
                <a:moveTo>
                  <a:pt x="397" y="61"/>
                </a:moveTo>
                <a:cubicBezTo>
                  <a:pt x="399" y="60"/>
                  <a:pt x="402" y="57"/>
                  <a:pt x="400" y="55"/>
                </a:cubicBezTo>
                <a:cubicBezTo>
                  <a:pt x="398" y="54"/>
                  <a:pt x="394" y="62"/>
                  <a:pt x="397" y="61"/>
                </a:cubicBezTo>
                <a:close/>
                <a:moveTo>
                  <a:pt x="402" y="51"/>
                </a:moveTo>
                <a:cubicBezTo>
                  <a:pt x="401" y="54"/>
                  <a:pt x="403" y="55"/>
                  <a:pt x="407" y="54"/>
                </a:cubicBezTo>
                <a:cubicBezTo>
                  <a:pt x="410" y="53"/>
                  <a:pt x="404" y="48"/>
                  <a:pt x="402" y="51"/>
                </a:cubicBezTo>
                <a:close/>
                <a:moveTo>
                  <a:pt x="372" y="58"/>
                </a:moveTo>
                <a:cubicBezTo>
                  <a:pt x="370" y="61"/>
                  <a:pt x="380" y="56"/>
                  <a:pt x="380" y="54"/>
                </a:cubicBezTo>
                <a:cubicBezTo>
                  <a:pt x="380" y="51"/>
                  <a:pt x="374" y="54"/>
                  <a:pt x="372" y="58"/>
                </a:cubicBezTo>
                <a:close/>
                <a:moveTo>
                  <a:pt x="372" y="50"/>
                </a:moveTo>
                <a:cubicBezTo>
                  <a:pt x="369" y="49"/>
                  <a:pt x="367" y="52"/>
                  <a:pt x="364" y="49"/>
                </a:cubicBezTo>
                <a:cubicBezTo>
                  <a:pt x="361" y="46"/>
                  <a:pt x="362" y="50"/>
                  <a:pt x="358" y="50"/>
                </a:cubicBezTo>
                <a:cubicBezTo>
                  <a:pt x="355" y="50"/>
                  <a:pt x="357" y="51"/>
                  <a:pt x="353" y="54"/>
                </a:cubicBezTo>
                <a:cubicBezTo>
                  <a:pt x="349" y="57"/>
                  <a:pt x="357" y="56"/>
                  <a:pt x="360" y="59"/>
                </a:cubicBezTo>
                <a:cubicBezTo>
                  <a:pt x="364" y="62"/>
                  <a:pt x="367" y="60"/>
                  <a:pt x="371" y="56"/>
                </a:cubicBezTo>
                <a:cubicBezTo>
                  <a:pt x="375" y="52"/>
                  <a:pt x="376" y="52"/>
                  <a:pt x="372" y="50"/>
                </a:cubicBezTo>
                <a:close/>
                <a:moveTo>
                  <a:pt x="361" y="46"/>
                </a:moveTo>
                <a:cubicBezTo>
                  <a:pt x="363" y="46"/>
                  <a:pt x="366" y="42"/>
                  <a:pt x="364" y="41"/>
                </a:cubicBezTo>
                <a:cubicBezTo>
                  <a:pt x="362" y="40"/>
                  <a:pt x="356" y="46"/>
                  <a:pt x="361" y="46"/>
                </a:cubicBezTo>
                <a:close/>
                <a:moveTo>
                  <a:pt x="352" y="47"/>
                </a:moveTo>
                <a:cubicBezTo>
                  <a:pt x="351" y="46"/>
                  <a:pt x="350" y="47"/>
                  <a:pt x="349" y="50"/>
                </a:cubicBezTo>
                <a:cubicBezTo>
                  <a:pt x="349" y="54"/>
                  <a:pt x="358" y="49"/>
                  <a:pt x="357" y="47"/>
                </a:cubicBezTo>
                <a:cubicBezTo>
                  <a:pt x="356" y="46"/>
                  <a:pt x="353" y="48"/>
                  <a:pt x="352" y="47"/>
                </a:cubicBezTo>
                <a:close/>
                <a:moveTo>
                  <a:pt x="356" y="59"/>
                </a:moveTo>
                <a:cubicBezTo>
                  <a:pt x="348" y="55"/>
                  <a:pt x="352" y="61"/>
                  <a:pt x="349" y="60"/>
                </a:cubicBezTo>
                <a:cubicBezTo>
                  <a:pt x="345" y="60"/>
                  <a:pt x="346" y="63"/>
                  <a:pt x="344" y="62"/>
                </a:cubicBezTo>
                <a:cubicBezTo>
                  <a:pt x="342" y="61"/>
                  <a:pt x="340" y="61"/>
                  <a:pt x="339" y="66"/>
                </a:cubicBezTo>
                <a:cubicBezTo>
                  <a:pt x="339" y="71"/>
                  <a:pt x="334" y="67"/>
                  <a:pt x="333" y="69"/>
                </a:cubicBezTo>
                <a:cubicBezTo>
                  <a:pt x="332" y="72"/>
                  <a:pt x="334" y="72"/>
                  <a:pt x="344" y="72"/>
                </a:cubicBezTo>
                <a:cubicBezTo>
                  <a:pt x="346" y="72"/>
                  <a:pt x="352" y="73"/>
                  <a:pt x="352" y="70"/>
                </a:cubicBezTo>
                <a:cubicBezTo>
                  <a:pt x="352" y="67"/>
                  <a:pt x="364" y="63"/>
                  <a:pt x="356" y="59"/>
                </a:cubicBezTo>
                <a:close/>
                <a:moveTo>
                  <a:pt x="329" y="71"/>
                </a:moveTo>
                <a:cubicBezTo>
                  <a:pt x="326" y="73"/>
                  <a:pt x="325" y="67"/>
                  <a:pt x="324" y="70"/>
                </a:cubicBezTo>
                <a:cubicBezTo>
                  <a:pt x="324" y="73"/>
                  <a:pt x="320" y="69"/>
                  <a:pt x="320" y="72"/>
                </a:cubicBezTo>
                <a:cubicBezTo>
                  <a:pt x="320" y="76"/>
                  <a:pt x="318" y="71"/>
                  <a:pt x="314" y="73"/>
                </a:cubicBezTo>
                <a:cubicBezTo>
                  <a:pt x="311" y="76"/>
                  <a:pt x="318" y="77"/>
                  <a:pt x="317" y="78"/>
                </a:cubicBezTo>
                <a:cubicBezTo>
                  <a:pt x="316" y="79"/>
                  <a:pt x="304" y="79"/>
                  <a:pt x="308" y="81"/>
                </a:cubicBezTo>
                <a:cubicBezTo>
                  <a:pt x="311" y="83"/>
                  <a:pt x="304" y="81"/>
                  <a:pt x="307" y="84"/>
                </a:cubicBezTo>
                <a:cubicBezTo>
                  <a:pt x="311" y="86"/>
                  <a:pt x="304" y="85"/>
                  <a:pt x="307" y="88"/>
                </a:cubicBezTo>
                <a:cubicBezTo>
                  <a:pt x="309" y="90"/>
                  <a:pt x="300" y="94"/>
                  <a:pt x="307" y="93"/>
                </a:cubicBezTo>
                <a:cubicBezTo>
                  <a:pt x="314" y="92"/>
                  <a:pt x="308" y="97"/>
                  <a:pt x="312" y="96"/>
                </a:cubicBezTo>
                <a:cubicBezTo>
                  <a:pt x="316" y="95"/>
                  <a:pt x="316" y="89"/>
                  <a:pt x="320" y="88"/>
                </a:cubicBezTo>
                <a:cubicBezTo>
                  <a:pt x="323" y="87"/>
                  <a:pt x="318" y="92"/>
                  <a:pt x="327" y="90"/>
                </a:cubicBezTo>
                <a:cubicBezTo>
                  <a:pt x="330" y="89"/>
                  <a:pt x="332" y="90"/>
                  <a:pt x="330" y="86"/>
                </a:cubicBezTo>
                <a:cubicBezTo>
                  <a:pt x="328" y="81"/>
                  <a:pt x="333" y="81"/>
                  <a:pt x="333" y="79"/>
                </a:cubicBezTo>
                <a:cubicBezTo>
                  <a:pt x="332" y="76"/>
                  <a:pt x="334" y="72"/>
                  <a:pt x="333" y="73"/>
                </a:cubicBezTo>
                <a:cubicBezTo>
                  <a:pt x="331" y="74"/>
                  <a:pt x="331" y="68"/>
                  <a:pt x="329" y="71"/>
                </a:cubicBezTo>
                <a:close/>
                <a:moveTo>
                  <a:pt x="312" y="103"/>
                </a:moveTo>
                <a:cubicBezTo>
                  <a:pt x="314" y="104"/>
                  <a:pt x="319" y="101"/>
                  <a:pt x="316" y="100"/>
                </a:cubicBezTo>
                <a:cubicBezTo>
                  <a:pt x="314" y="98"/>
                  <a:pt x="309" y="100"/>
                  <a:pt x="312" y="103"/>
                </a:cubicBezTo>
                <a:close/>
                <a:moveTo>
                  <a:pt x="303" y="106"/>
                </a:moveTo>
                <a:cubicBezTo>
                  <a:pt x="301" y="109"/>
                  <a:pt x="305" y="109"/>
                  <a:pt x="309" y="108"/>
                </a:cubicBezTo>
                <a:cubicBezTo>
                  <a:pt x="313" y="107"/>
                  <a:pt x="306" y="102"/>
                  <a:pt x="303" y="106"/>
                </a:cubicBezTo>
                <a:close/>
                <a:moveTo>
                  <a:pt x="259" y="141"/>
                </a:moveTo>
                <a:cubicBezTo>
                  <a:pt x="256" y="140"/>
                  <a:pt x="254" y="145"/>
                  <a:pt x="258" y="144"/>
                </a:cubicBezTo>
                <a:cubicBezTo>
                  <a:pt x="263" y="143"/>
                  <a:pt x="262" y="142"/>
                  <a:pt x="259" y="141"/>
                </a:cubicBezTo>
                <a:close/>
                <a:moveTo>
                  <a:pt x="256" y="122"/>
                </a:moveTo>
                <a:cubicBezTo>
                  <a:pt x="254" y="122"/>
                  <a:pt x="250" y="122"/>
                  <a:pt x="245" y="123"/>
                </a:cubicBezTo>
                <a:cubicBezTo>
                  <a:pt x="241" y="125"/>
                  <a:pt x="247" y="126"/>
                  <a:pt x="242" y="127"/>
                </a:cubicBezTo>
                <a:cubicBezTo>
                  <a:pt x="237" y="127"/>
                  <a:pt x="242" y="129"/>
                  <a:pt x="239" y="131"/>
                </a:cubicBezTo>
                <a:cubicBezTo>
                  <a:pt x="236" y="133"/>
                  <a:pt x="238" y="134"/>
                  <a:pt x="245" y="132"/>
                </a:cubicBezTo>
                <a:cubicBezTo>
                  <a:pt x="248" y="131"/>
                  <a:pt x="252" y="130"/>
                  <a:pt x="257" y="125"/>
                </a:cubicBezTo>
                <a:cubicBezTo>
                  <a:pt x="263" y="120"/>
                  <a:pt x="258" y="122"/>
                  <a:pt x="256" y="122"/>
                </a:cubicBezTo>
                <a:close/>
                <a:moveTo>
                  <a:pt x="265" y="106"/>
                </a:moveTo>
                <a:cubicBezTo>
                  <a:pt x="268" y="105"/>
                  <a:pt x="262" y="95"/>
                  <a:pt x="259" y="97"/>
                </a:cubicBezTo>
                <a:cubicBezTo>
                  <a:pt x="255" y="99"/>
                  <a:pt x="263" y="105"/>
                  <a:pt x="258" y="104"/>
                </a:cubicBezTo>
                <a:cubicBezTo>
                  <a:pt x="253" y="102"/>
                  <a:pt x="255" y="107"/>
                  <a:pt x="252" y="107"/>
                </a:cubicBezTo>
                <a:cubicBezTo>
                  <a:pt x="249" y="107"/>
                  <a:pt x="249" y="103"/>
                  <a:pt x="248" y="105"/>
                </a:cubicBezTo>
                <a:cubicBezTo>
                  <a:pt x="247" y="107"/>
                  <a:pt x="244" y="105"/>
                  <a:pt x="244" y="107"/>
                </a:cubicBezTo>
                <a:cubicBezTo>
                  <a:pt x="243" y="110"/>
                  <a:pt x="239" y="111"/>
                  <a:pt x="243" y="113"/>
                </a:cubicBezTo>
                <a:cubicBezTo>
                  <a:pt x="248" y="116"/>
                  <a:pt x="246" y="112"/>
                  <a:pt x="256" y="110"/>
                </a:cubicBezTo>
                <a:cubicBezTo>
                  <a:pt x="267" y="108"/>
                  <a:pt x="248" y="115"/>
                  <a:pt x="253" y="115"/>
                </a:cubicBezTo>
                <a:cubicBezTo>
                  <a:pt x="257" y="115"/>
                  <a:pt x="261" y="114"/>
                  <a:pt x="265" y="113"/>
                </a:cubicBezTo>
                <a:cubicBezTo>
                  <a:pt x="269" y="111"/>
                  <a:pt x="263" y="107"/>
                  <a:pt x="265" y="106"/>
                </a:cubicBezTo>
                <a:close/>
                <a:moveTo>
                  <a:pt x="281" y="85"/>
                </a:moveTo>
                <a:cubicBezTo>
                  <a:pt x="276" y="88"/>
                  <a:pt x="272" y="90"/>
                  <a:pt x="268" y="97"/>
                </a:cubicBezTo>
                <a:cubicBezTo>
                  <a:pt x="267" y="99"/>
                  <a:pt x="267" y="101"/>
                  <a:pt x="269" y="102"/>
                </a:cubicBezTo>
                <a:cubicBezTo>
                  <a:pt x="271" y="104"/>
                  <a:pt x="270" y="97"/>
                  <a:pt x="274" y="97"/>
                </a:cubicBezTo>
                <a:cubicBezTo>
                  <a:pt x="279" y="97"/>
                  <a:pt x="279" y="95"/>
                  <a:pt x="283" y="90"/>
                </a:cubicBezTo>
                <a:cubicBezTo>
                  <a:pt x="286" y="85"/>
                  <a:pt x="287" y="82"/>
                  <a:pt x="281" y="85"/>
                </a:cubicBezTo>
                <a:close/>
                <a:moveTo>
                  <a:pt x="289" y="98"/>
                </a:moveTo>
                <a:cubicBezTo>
                  <a:pt x="287" y="99"/>
                  <a:pt x="294" y="102"/>
                  <a:pt x="297" y="101"/>
                </a:cubicBezTo>
                <a:cubicBezTo>
                  <a:pt x="299" y="99"/>
                  <a:pt x="291" y="96"/>
                  <a:pt x="289" y="98"/>
                </a:cubicBezTo>
                <a:close/>
                <a:moveTo>
                  <a:pt x="290" y="102"/>
                </a:moveTo>
                <a:cubicBezTo>
                  <a:pt x="289" y="101"/>
                  <a:pt x="289" y="100"/>
                  <a:pt x="286" y="103"/>
                </a:cubicBezTo>
                <a:cubicBezTo>
                  <a:pt x="283" y="105"/>
                  <a:pt x="288" y="107"/>
                  <a:pt x="281" y="112"/>
                </a:cubicBezTo>
                <a:cubicBezTo>
                  <a:pt x="274" y="117"/>
                  <a:pt x="285" y="107"/>
                  <a:pt x="279" y="108"/>
                </a:cubicBezTo>
                <a:cubicBezTo>
                  <a:pt x="273" y="109"/>
                  <a:pt x="284" y="101"/>
                  <a:pt x="280" y="99"/>
                </a:cubicBezTo>
                <a:cubicBezTo>
                  <a:pt x="276" y="97"/>
                  <a:pt x="270" y="103"/>
                  <a:pt x="269" y="107"/>
                </a:cubicBezTo>
                <a:cubicBezTo>
                  <a:pt x="267" y="112"/>
                  <a:pt x="273" y="115"/>
                  <a:pt x="266" y="116"/>
                </a:cubicBezTo>
                <a:cubicBezTo>
                  <a:pt x="259" y="117"/>
                  <a:pt x="266" y="117"/>
                  <a:pt x="260" y="126"/>
                </a:cubicBezTo>
                <a:cubicBezTo>
                  <a:pt x="255" y="133"/>
                  <a:pt x="265" y="124"/>
                  <a:pt x="270" y="127"/>
                </a:cubicBezTo>
                <a:cubicBezTo>
                  <a:pt x="274" y="131"/>
                  <a:pt x="275" y="121"/>
                  <a:pt x="277" y="124"/>
                </a:cubicBezTo>
                <a:cubicBezTo>
                  <a:pt x="279" y="126"/>
                  <a:pt x="280" y="126"/>
                  <a:pt x="282" y="122"/>
                </a:cubicBezTo>
                <a:cubicBezTo>
                  <a:pt x="284" y="119"/>
                  <a:pt x="284" y="116"/>
                  <a:pt x="292" y="115"/>
                </a:cubicBezTo>
                <a:cubicBezTo>
                  <a:pt x="299" y="115"/>
                  <a:pt x="294" y="105"/>
                  <a:pt x="290" y="102"/>
                </a:cubicBezTo>
                <a:close/>
                <a:moveTo>
                  <a:pt x="286" y="121"/>
                </a:moveTo>
                <a:cubicBezTo>
                  <a:pt x="284" y="125"/>
                  <a:pt x="291" y="122"/>
                  <a:pt x="293" y="120"/>
                </a:cubicBezTo>
                <a:cubicBezTo>
                  <a:pt x="294" y="117"/>
                  <a:pt x="287" y="117"/>
                  <a:pt x="286" y="121"/>
                </a:cubicBezTo>
                <a:close/>
                <a:moveTo>
                  <a:pt x="367" y="45"/>
                </a:moveTo>
                <a:cubicBezTo>
                  <a:pt x="366" y="47"/>
                  <a:pt x="371" y="48"/>
                  <a:pt x="373" y="47"/>
                </a:cubicBezTo>
                <a:cubicBezTo>
                  <a:pt x="374" y="46"/>
                  <a:pt x="368" y="43"/>
                  <a:pt x="367" y="45"/>
                </a:cubicBezTo>
                <a:close/>
                <a:moveTo>
                  <a:pt x="234" y="127"/>
                </a:moveTo>
                <a:cubicBezTo>
                  <a:pt x="233" y="129"/>
                  <a:pt x="238" y="131"/>
                  <a:pt x="238" y="129"/>
                </a:cubicBezTo>
                <a:cubicBezTo>
                  <a:pt x="239" y="127"/>
                  <a:pt x="235" y="125"/>
                  <a:pt x="234" y="127"/>
                </a:cubicBezTo>
                <a:close/>
                <a:moveTo>
                  <a:pt x="220" y="133"/>
                </a:moveTo>
                <a:cubicBezTo>
                  <a:pt x="219" y="135"/>
                  <a:pt x="221" y="135"/>
                  <a:pt x="220" y="137"/>
                </a:cubicBezTo>
                <a:cubicBezTo>
                  <a:pt x="218" y="138"/>
                  <a:pt x="220" y="140"/>
                  <a:pt x="222" y="138"/>
                </a:cubicBezTo>
                <a:cubicBezTo>
                  <a:pt x="224" y="136"/>
                  <a:pt x="223" y="138"/>
                  <a:pt x="226" y="138"/>
                </a:cubicBezTo>
                <a:cubicBezTo>
                  <a:pt x="229" y="137"/>
                  <a:pt x="229" y="134"/>
                  <a:pt x="234" y="132"/>
                </a:cubicBezTo>
                <a:cubicBezTo>
                  <a:pt x="239" y="130"/>
                  <a:pt x="232" y="131"/>
                  <a:pt x="228" y="129"/>
                </a:cubicBezTo>
                <a:cubicBezTo>
                  <a:pt x="225" y="128"/>
                  <a:pt x="222" y="129"/>
                  <a:pt x="220" y="133"/>
                </a:cubicBezTo>
                <a:close/>
                <a:moveTo>
                  <a:pt x="215" y="136"/>
                </a:moveTo>
                <a:cubicBezTo>
                  <a:pt x="216" y="140"/>
                  <a:pt x="211" y="135"/>
                  <a:pt x="213" y="141"/>
                </a:cubicBezTo>
                <a:cubicBezTo>
                  <a:pt x="213" y="143"/>
                  <a:pt x="214" y="142"/>
                  <a:pt x="218" y="138"/>
                </a:cubicBezTo>
                <a:cubicBezTo>
                  <a:pt x="221" y="135"/>
                  <a:pt x="215" y="133"/>
                  <a:pt x="215" y="136"/>
                </a:cubicBezTo>
                <a:close/>
                <a:moveTo>
                  <a:pt x="205" y="144"/>
                </a:moveTo>
                <a:cubicBezTo>
                  <a:pt x="202" y="150"/>
                  <a:pt x="203" y="149"/>
                  <a:pt x="207" y="146"/>
                </a:cubicBezTo>
                <a:cubicBezTo>
                  <a:pt x="211" y="144"/>
                  <a:pt x="210" y="143"/>
                  <a:pt x="210" y="139"/>
                </a:cubicBezTo>
                <a:cubicBezTo>
                  <a:pt x="210" y="136"/>
                  <a:pt x="208" y="137"/>
                  <a:pt x="205" y="144"/>
                </a:cubicBezTo>
                <a:close/>
                <a:moveTo>
                  <a:pt x="269" y="142"/>
                </a:moveTo>
                <a:cubicBezTo>
                  <a:pt x="269" y="144"/>
                  <a:pt x="278" y="142"/>
                  <a:pt x="276" y="141"/>
                </a:cubicBezTo>
                <a:cubicBezTo>
                  <a:pt x="274" y="141"/>
                  <a:pt x="269" y="140"/>
                  <a:pt x="269" y="142"/>
                </a:cubicBezTo>
                <a:close/>
                <a:moveTo>
                  <a:pt x="195" y="219"/>
                </a:moveTo>
                <a:cubicBezTo>
                  <a:pt x="196" y="221"/>
                  <a:pt x="188" y="227"/>
                  <a:pt x="193" y="225"/>
                </a:cubicBezTo>
                <a:cubicBezTo>
                  <a:pt x="196" y="224"/>
                  <a:pt x="197" y="225"/>
                  <a:pt x="199" y="220"/>
                </a:cubicBezTo>
                <a:cubicBezTo>
                  <a:pt x="201" y="216"/>
                  <a:pt x="193" y="218"/>
                  <a:pt x="195" y="219"/>
                </a:cubicBezTo>
                <a:close/>
                <a:moveTo>
                  <a:pt x="201" y="226"/>
                </a:moveTo>
                <a:cubicBezTo>
                  <a:pt x="197" y="225"/>
                  <a:pt x="196" y="225"/>
                  <a:pt x="194" y="229"/>
                </a:cubicBezTo>
                <a:cubicBezTo>
                  <a:pt x="193" y="232"/>
                  <a:pt x="196" y="232"/>
                  <a:pt x="199" y="229"/>
                </a:cubicBezTo>
                <a:cubicBezTo>
                  <a:pt x="203" y="226"/>
                  <a:pt x="205" y="226"/>
                  <a:pt x="201" y="226"/>
                </a:cubicBezTo>
                <a:close/>
                <a:moveTo>
                  <a:pt x="189" y="249"/>
                </a:moveTo>
                <a:cubicBezTo>
                  <a:pt x="189" y="252"/>
                  <a:pt x="186" y="250"/>
                  <a:pt x="186" y="254"/>
                </a:cubicBezTo>
                <a:cubicBezTo>
                  <a:pt x="186" y="258"/>
                  <a:pt x="182" y="260"/>
                  <a:pt x="186" y="259"/>
                </a:cubicBezTo>
                <a:cubicBezTo>
                  <a:pt x="189" y="259"/>
                  <a:pt x="187" y="255"/>
                  <a:pt x="190" y="254"/>
                </a:cubicBezTo>
                <a:cubicBezTo>
                  <a:pt x="193" y="253"/>
                  <a:pt x="195" y="253"/>
                  <a:pt x="193" y="249"/>
                </a:cubicBezTo>
                <a:cubicBezTo>
                  <a:pt x="191" y="245"/>
                  <a:pt x="189" y="244"/>
                  <a:pt x="189" y="249"/>
                </a:cubicBezTo>
                <a:close/>
                <a:moveTo>
                  <a:pt x="177" y="242"/>
                </a:moveTo>
                <a:cubicBezTo>
                  <a:pt x="178" y="245"/>
                  <a:pt x="184" y="241"/>
                  <a:pt x="183" y="239"/>
                </a:cubicBezTo>
                <a:cubicBezTo>
                  <a:pt x="182" y="237"/>
                  <a:pt x="176" y="239"/>
                  <a:pt x="177" y="242"/>
                </a:cubicBezTo>
                <a:close/>
                <a:moveTo>
                  <a:pt x="186" y="261"/>
                </a:moveTo>
                <a:cubicBezTo>
                  <a:pt x="184" y="262"/>
                  <a:pt x="186" y="262"/>
                  <a:pt x="183" y="264"/>
                </a:cubicBezTo>
                <a:cubicBezTo>
                  <a:pt x="180" y="266"/>
                  <a:pt x="187" y="266"/>
                  <a:pt x="190" y="264"/>
                </a:cubicBezTo>
                <a:cubicBezTo>
                  <a:pt x="193" y="262"/>
                  <a:pt x="189" y="260"/>
                  <a:pt x="186" y="261"/>
                </a:cubicBezTo>
                <a:close/>
                <a:moveTo>
                  <a:pt x="172" y="265"/>
                </a:moveTo>
                <a:cubicBezTo>
                  <a:pt x="171" y="267"/>
                  <a:pt x="175" y="267"/>
                  <a:pt x="178" y="265"/>
                </a:cubicBezTo>
                <a:cubicBezTo>
                  <a:pt x="182" y="263"/>
                  <a:pt x="175" y="262"/>
                  <a:pt x="172" y="265"/>
                </a:cubicBezTo>
                <a:close/>
                <a:moveTo>
                  <a:pt x="167" y="287"/>
                </a:moveTo>
                <a:cubicBezTo>
                  <a:pt x="164" y="287"/>
                  <a:pt x="165" y="284"/>
                  <a:pt x="163" y="286"/>
                </a:cubicBezTo>
                <a:cubicBezTo>
                  <a:pt x="161" y="287"/>
                  <a:pt x="163" y="290"/>
                  <a:pt x="166" y="290"/>
                </a:cubicBezTo>
                <a:cubicBezTo>
                  <a:pt x="170" y="291"/>
                  <a:pt x="170" y="288"/>
                  <a:pt x="167" y="287"/>
                </a:cubicBezTo>
                <a:close/>
                <a:moveTo>
                  <a:pt x="164" y="281"/>
                </a:moveTo>
                <a:cubicBezTo>
                  <a:pt x="162" y="281"/>
                  <a:pt x="165" y="285"/>
                  <a:pt x="167" y="285"/>
                </a:cubicBezTo>
                <a:cubicBezTo>
                  <a:pt x="169" y="284"/>
                  <a:pt x="167" y="282"/>
                  <a:pt x="164" y="281"/>
                </a:cubicBezTo>
                <a:close/>
                <a:moveTo>
                  <a:pt x="158" y="282"/>
                </a:moveTo>
                <a:cubicBezTo>
                  <a:pt x="157" y="284"/>
                  <a:pt x="160" y="285"/>
                  <a:pt x="162" y="284"/>
                </a:cubicBezTo>
                <a:cubicBezTo>
                  <a:pt x="163" y="283"/>
                  <a:pt x="160" y="281"/>
                  <a:pt x="158" y="282"/>
                </a:cubicBezTo>
                <a:close/>
                <a:moveTo>
                  <a:pt x="201" y="217"/>
                </a:moveTo>
                <a:cubicBezTo>
                  <a:pt x="203" y="219"/>
                  <a:pt x="206" y="215"/>
                  <a:pt x="205" y="214"/>
                </a:cubicBezTo>
                <a:cubicBezTo>
                  <a:pt x="203" y="213"/>
                  <a:pt x="199" y="215"/>
                  <a:pt x="201" y="217"/>
                </a:cubicBezTo>
                <a:close/>
                <a:moveTo>
                  <a:pt x="79" y="335"/>
                </a:moveTo>
                <a:cubicBezTo>
                  <a:pt x="84" y="340"/>
                  <a:pt x="89" y="336"/>
                  <a:pt x="89" y="334"/>
                </a:cubicBezTo>
                <a:cubicBezTo>
                  <a:pt x="89" y="332"/>
                  <a:pt x="77" y="333"/>
                  <a:pt x="79" y="335"/>
                </a:cubicBezTo>
                <a:close/>
                <a:moveTo>
                  <a:pt x="103" y="319"/>
                </a:moveTo>
                <a:cubicBezTo>
                  <a:pt x="102" y="321"/>
                  <a:pt x="91" y="321"/>
                  <a:pt x="92" y="324"/>
                </a:cubicBezTo>
                <a:cubicBezTo>
                  <a:pt x="94" y="324"/>
                  <a:pt x="98" y="324"/>
                  <a:pt x="103" y="323"/>
                </a:cubicBezTo>
                <a:cubicBezTo>
                  <a:pt x="108" y="322"/>
                  <a:pt x="104" y="316"/>
                  <a:pt x="103" y="319"/>
                </a:cubicBezTo>
                <a:close/>
                <a:moveTo>
                  <a:pt x="109" y="325"/>
                </a:moveTo>
                <a:cubicBezTo>
                  <a:pt x="110" y="322"/>
                  <a:pt x="102" y="327"/>
                  <a:pt x="99" y="328"/>
                </a:cubicBezTo>
                <a:cubicBezTo>
                  <a:pt x="95" y="329"/>
                  <a:pt x="91" y="329"/>
                  <a:pt x="92" y="333"/>
                </a:cubicBezTo>
                <a:cubicBezTo>
                  <a:pt x="92" y="334"/>
                  <a:pt x="95" y="334"/>
                  <a:pt x="101" y="332"/>
                </a:cubicBezTo>
                <a:cubicBezTo>
                  <a:pt x="107" y="331"/>
                  <a:pt x="112" y="330"/>
                  <a:pt x="113" y="329"/>
                </a:cubicBezTo>
                <a:cubicBezTo>
                  <a:pt x="114" y="325"/>
                  <a:pt x="108" y="329"/>
                  <a:pt x="109" y="325"/>
                </a:cubicBezTo>
                <a:close/>
                <a:moveTo>
                  <a:pt x="83" y="344"/>
                </a:moveTo>
                <a:cubicBezTo>
                  <a:pt x="84" y="347"/>
                  <a:pt x="89" y="346"/>
                  <a:pt x="88" y="343"/>
                </a:cubicBezTo>
                <a:cubicBezTo>
                  <a:pt x="87" y="340"/>
                  <a:pt x="82" y="342"/>
                  <a:pt x="83" y="344"/>
                </a:cubicBezTo>
                <a:close/>
                <a:moveTo>
                  <a:pt x="74" y="348"/>
                </a:moveTo>
                <a:cubicBezTo>
                  <a:pt x="73" y="351"/>
                  <a:pt x="70" y="347"/>
                  <a:pt x="69" y="350"/>
                </a:cubicBezTo>
                <a:cubicBezTo>
                  <a:pt x="68" y="352"/>
                  <a:pt x="75" y="352"/>
                  <a:pt x="77" y="351"/>
                </a:cubicBezTo>
                <a:cubicBezTo>
                  <a:pt x="79" y="351"/>
                  <a:pt x="75" y="345"/>
                  <a:pt x="74" y="348"/>
                </a:cubicBezTo>
                <a:close/>
                <a:moveTo>
                  <a:pt x="50" y="364"/>
                </a:moveTo>
                <a:cubicBezTo>
                  <a:pt x="51" y="366"/>
                  <a:pt x="59" y="365"/>
                  <a:pt x="57" y="363"/>
                </a:cubicBezTo>
                <a:cubicBezTo>
                  <a:pt x="56" y="360"/>
                  <a:pt x="49" y="362"/>
                  <a:pt x="50" y="364"/>
                </a:cubicBezTo>
                <a:close/>
                <a:moveTo>
                  <a:pt x="34" y="375"/>
                </a:moveTo>
                <a:cubicBezTo>
                  <a:pt x="31" y="374"/>
                  <a:pt x="29" y="379"/>
                  <a:pt x="30" y="381"/>
                </a:cubicBezTo>
                <a:cubicBezTo>
                  <a:pt x="31" y="384"/>
                  <a:pt x="39" y="377"/>
                  <a:pt x="34" y="375"/>
                </a:cubicBezTo>
                <a:close/>
                <a:moveTo>
                  <a:pt x="23" y="382"/>
                </a:moveTo>
                <a:cubicBezTo>
                  <a:pt x="22" y="385"/>
                  <a:pt x="29" y="383"/>
                  <a:pt x="28" y="381"/>
                </a:cubicBezTo>
                <a:cubicBezTo>
                  <a:pt x="27" y="379"/>
                  <a:pt x="23" y="379"/>
                  <a:pt x="23" y="382"/>
                </a:cubicBezTo>
                <a:close/>
                <a:moveTo>
                  <a:pt x="12" y="397"/>
                </a:moveTo>
                <a:cubicBezTo>
                  <a:pt x="9" y="395"/>
                  <a:pt x="3" y="397"/>
                  <a:pt x="7" y="400"/>
                </a:cubicBezTo>
                <a:cubicBezTo>
                  <a:pt x="9" y="401"/>
                  <a:pt x="16" y="398"/>
                  <a:pt x="12" y="397"/>
                </a:cubicBezTo>
                <a:close/>
                <a:moveTo>
                  <a:pt x="7" y="430"/>
                </a:moveTo>
                <a:cubicBezTo>
                  <a:pt x="9" y="431"/>
                  <a:pt x="9" y="426"/>
                  <a:pt x="8" y="426"/>
                </a:cubicBezTo>
                <a:cubicBezTo>
                  <a:pt x="6" y="426"/>
                  <a:pt x="4" y="429"/>
                  <a:pt x="7" y="430"/>
                </a:cubicBezTo>
                <a:close/>
                <a:moveTo>
                  <a:pt x="18" y="474"/>
                </a:moveTo>
                <a:cubicBezTo>
                  <a:pt x="14" y="478"/>
                  <a:pt x="18" y="481"/>
                  <a:pt x="22" y="481"/>
                </a:cubicBezTo>
                <a:cubicBezTo>
                  <a:pt x="24" y="482"/>
                  <a:pt x="22" y="478"/>
                  <a:pt x="21" y="476"/>
                </a:cubicBezTo>
                <a:cubicBezTo>
                  <a:pt x="20" y="474"/>
                  <a:pt x="21" y="473"/>
                  <a:pt x="23" y="476"/>
                </a:cubicBezTo>
                <a:cubicBezTo>
                  <a:pt x="25" y="478"/>
                  <a:pt x="26" y="475"/>
                  <a:pt x="27" y="471"/>
                </a:cubicBezTo>
                <a:cubicBezTo>
                  <a:pt x="27" y="467"/>
                  <a:pt x="21" y="470"/>
                  <a:pt x="18" y="474"/>
                </a:cubicBezTo>
                <a:close/>
                <a:moveTo>
                  <a:pt x="14" y="499"/>
                </a:moveTo>
                <a:cubicBezTo>
                  <a:pt x="14" y="503"/>
                  <a:pt x="12" y="507"/>
                  <a:pt x="15" y="507"/>
                </a:cubicBezTo>
                <a:cubicBezTo>
                  <a:pt x="15" y="506"/>
                  <a:pt x="15" y="506"/>
                  <a:pt x="15" y="506"/>
                </a:cubicBezTo>
                <a:cubicBezTo>
                  <a:pt x="20" y="506"/>
                  <a:pt x="13" y="493"/>
                  <a:pt x="14" y="499"/>
                </a:cubicBezTo>
                <a:close/>
                <a:moveTo>
                  <a:pt x="15" y="479"/>
                </a:moveTo>
                <a:cubicBezTo>
                  <a:pt x="12" y="477"/>
                  <a:pt x="13" y="483"/>
                  <a:pt x="13" y="487"/>
                </a:cubicBezTo>
                <a:cubicBezTo>
                  <a:pt x="13" y="488"/>
                  <a:pt x="13" y="488"/>
                  <a:pt x="13" y="488"/>
                </a:cubicBezTo>
                <a:cubicBezTo>
                  <a:pt x="14" y="491"/>
                  <a:pt x="14" y="484"/>
                  <a:pt x="16" y="483"/>
                </a:cubicBezTo>
                <a:cubicBezTo>
                  <a:pt x="17" y="482"/>
                  <a:pt x="17" y="486"/>
                  <a:pt x="18" y="485"/>
                </a:cubicBezTo>
                <a:cubicBezTo>
                  <a:pt x="20" y="483"/>
                  <a:pt x="18" y="481"/>
                  <a:pt x="15" y="479"/>
                </a:cubicBezTo>
                <a:close/>
                <a:moveTo>
                  <a:pt x="11" y="465"/>
                </a:moveTo>
                <a:cubicBezTo>
                  <a:pt x="14" y="466"/>
                  <a:pt x="11" y="459"/>
                  <a:pt x="10" y="456"/>
                </a:cubicBezTo>
                <a:cubicBezTo>
                  <a:pt x="9" y="453"/>
                  <a:pt x="8" y="464"/>
                  <a:pt x="11" y="465"/>
                </a:cubicBezTo>
                <a:close/>
                <a:moveTo>
                  <a:pt x="9" y="451"/>
                </a:moveTo>
                <a:cubicBezTo>
                  <a:pt x="10" y="454"/>
                  <a:pt x="13" y="458"/>
                  <a:pt x="14" y="455"/>
                </a:cubicBezTo>
                <a:cubicBezTo>
                  <a:pt x="15" y="454"/>
                  <a:pt x="9" y="448"/>
                  <a:pt x="9" y="451"/>
                </a:cubicBezTo>
                <a:close/>
                <a:moveTo>
                  <a:pt x="7" y="444"/>
                </a:moveTo>
                <a:cubicBezTo>
                  <a:pt x="4" y="442"/>
                  <a:pt x="7" y="446"/>
                  <a:pt x="10" y="448"/>
                </a:cubicBezTo>
                <a:cubicBezTo>
                  <a:pt x="10" y="448"/>
                  <a:pt x="10" y="448"/>
                  <a:pt x="10" y="448"/>
                </a:cubicBezTo>
                <a:cubicBezTo>
                  <a:pt x="12" y="450"/>
                  <a:pt x="11" y="445"/>
                  <a:pt x="7" y="444"/>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50" name="Freeform 49"/>
          <p:cNvSpPr>
            <a:spLocks noEditPoints="1"/>
          </p:cNvSpPr>
          <p:nvPr/>
        </p:nvSpPr>
        <p:spPr bwMode="auto">
          <a:xfrm>
            <a:off x="8549625" y="4768873"/>
            <a:ext cx="758563" cy="736281"/>
          </a:xfrm>
          <a:custGeom>
            <a:avLst/>
            <a:gdLst/>
            <a:ahLst/>
            <a:cxnLst>
              <a:cxn ang="0">
                <a:pos x="141" y="32"/>
              </a:cxn>
              <a:cxn ang="0">
                <a:pos x="105" y="47"/>
              </a:cxn>
              <a:cxn ang="0">
                <a:pos x="106" y="58"/>
              </a:cxn>
              <a:cxn ang="0">
                <a:pos x="91" y="60"/>
              </a:cxn>
              <a:cxn ang="0">
                <a:pos x="89" y="94"/>
              </a:cxn>
              <a:cxn ang="0">
                <a:pos x="90" y="110"/>
              </a:cxn>
              <a:cxn ang="0">
                <a:pos x="110" y="142"/>
              </a:cxn>
              <a:cxn ang="0">
                <a:pos x="90" y="144"/>
              </a:cxn>
              <a:cxn ang="0">
                <a:pos x="78" y="145"/>
              </a:cxn>
              <a:cxn ang="0">
                <a:pos x="67" y="178"/>
              </a:cxn>
              <a:cxn ang="0">
                <a:pos x="44" y="145"/>
              </a:cxn>
              <a:cxn ang="0">
                <a:pos x="52" y="125"/>
              </a:cxn>
              <a:cxn ang="0">
                <a:pos x="83" y="124"/>
              </a:cxn>
              <a:cxn ang="0">
                <a:pos x="41" y="120"/>
              </a:cxn>
              <a:cxn ang="0">
                <a:pos x="26" y="96"/>
              </a:cxn>
              <a:cxn ang="0">
                <a:pos x="18" y="64"/>
              </a:cxn>
              <a:cxn ang="0">
                <a:pos x="34" y="35"/>
              </a:cxn>
              <a:cxn ang="0">
                <a:pos x="96" y="17"/>
              </a:cxn>
              <a:cxn ang="0">
                <a:pos x="135" y="18"/>
              </a:cxn>
              <a:cxn ang="0">
                <a:pos x="169" y="21"/>
              </a:cxn>
              <a:cxn ang="0">
                <a:pos x="25" y="134"/>
              </a:cxn>
              <a:cxn ang="0">
                <a:pos x="26" y="128"/>
              </a:cxn>
              <a:cxn ang="0">
                <a:pos x="83" y="192"/>
              </a:cxn>
              <a:cxn ang="0">
                <a:pos x="156" y="224"/>
              </a:cxn>
              <a:cxn ang="0">
                <a:pos x="110" y="212"/>
              </a:cxn>
              <a:cxn ang="0">
                <a:pos x="125" y="229"/>
              </a:cxn>
              <a:cxn ang="0">
                <a:pos x="200" y="193"/>
              </a:cxn>
              <a:cxn ang="0">
                <a:pos x="200" y="193"/>
              </a:cxn>
              <a:cxn ang="0">
                <a:pos x="158" y="126"/>
              </a:cxn>
              <a:cxn ang="0">
                <a:pos x="156" y="88"/>
              </a:cxn>
              <a:cxn ang="0">
                <a:pos x="166" y="85"/>
              </a:cxn>
              <a:cxn ang="0">
                <a:pos x="124" y="37"/>
              </a:cxn>
              <a:cxn ang="0">
                <a:pos x="94" y="100"/>
              </a:cxn>
              <a:cxn ang="0">
                <a:pos x="104" y="118"/>
              </a:cxn>
              <a:cxn ang="0">
                <a:pos x="144" y="159"/>
              </a:cxn>
              <a:cxn ang="0">
                <a:pos x="187" y="217"/>
              </a:cxn>
              <a:cxn ang="0">
                <a:pos x="0" y="73"/>
              </a:cxn>
              <a:cxn ang="0">
                <a:pos x="0" y="73"/>
              </a:cxn>
              <a:cxn ang="0">
                <a:pos x="137" y="69"/>
              </a:cxn>
              <a:cxn ang="0">
                <a:pos x="149" y="59"/>
              </a:cxn>
              <a:cxn ang="0">
                <a:pos x="136" y="164"/>
              </a:cxn>
              <a:cxn ang="0">
                <a:pos x="116" y="173"/>
              </a:cxn>
              <a:cxn ang="0">
                <a:pos x="116" y="173"/>
              </a:cxn>
              <a:cxn ang="0">
                <a:pos x="115" y="146"/>
              </a:cxn>
              <a:cxn ang="0">
                <a:pos x="118" y="154"/>
              </a:cxn>
              <a:cxn ang="0">
                <a:pos x="157" y="146"/>
              </a:cxn>
              <a:cxn ang="0">
                <a:pos x="24" y="111"/>
              </a:cxn>
              <a:cxn ang="0">
                <a:pos x="120" y="98"/>
              </a:cxn>
              <a:cxn ang="0">
                <a:pos x="137" y="143"/>
              </a:cxn>
            </a:cxnLst>
            <a:rect l="0" t="0" r="r" b="b"/>
            <a:pathLst>
              <a:path w="214" h="236">
                <a:moveTo>
                  <a:pt x="169" y="21"/>
                </a:moveTo>
                <a:cubicBezTo>
                  <a:pt x="162" y="24"/>
                  <a:pt x="167" y="34"/>
                  <a:pt x="159" y="39"/>
                </a:cubicBezTo>
                <a:cubicBezTo>
                  <a:pt x="159" y="30"/>
                  <a:pt x="151" y="38"/>
                  <a:pt x="141" y="32"/>
                </a:cubicBezTo>
                <a:cubicBezTo>
                  <a:pt x="132" y="27"/>
                  <a:pt x="134" y="37"/>
                  <a:pt x="125" y="33"/>
                </a:cubicBezTo>
                <a:cubicBezTo>
                  <a:pt x="116" y="30"/>
                  <a:pt x="117" y="38"/>
                  <a:pt x="107" y="40"/>
                </a:cubicBezTo>
                <a:cubicBezTo>
                  <a:pt x="97" y="41"/>
                  <a:pt x="107" y="42"/>
                  <a:pt x="105" y="47"/>
                </a:cubicBezTo>
                <a:cubicBezTo>
                  <a:pt x="103" y="52"/>
                  <a:pt x="108" y="47"/>
                  <a:pt x="114" y="54"/>
                </a:cubicBezTo>
                <a:cubicBezTo>
                  <a:pt x="121" y="61"/>
                  <a:pt x="119" y="61"/>
                  <a:pt x="111" y="57"/>
                </a:cubicBezTo>
                <a:cubicBezTo>
                  <a:pt x="104" y="53"/>
                  <a:pt x="98" y="49"/>
                  <a:pt x="106" y="58"/>
                </a:cubicBezTo>
                <a:cubicBezTo>
                  <a:pt x="113" y="67"/>
                  <a:pt x="109" y="67"/>
                  <a:pt x="101" y="59"/>
                </a:cubicBezTo>
                <a:cubicBezTo>
                  <a:pt x="93" y="51"/>
                  <a:pt x="93" y="57"/>
                  <a:pt x="99" y="63"/>
                </a:cubicBezTo>
                <a:cubicBezTo>
                  <a:pt x="104" y="68"/>
                  <a:pt x="92" y="69"/>
                  <a:pt x="91" y="60"/>
                </a:cubicBezTo>
                <a:cubicBezTo>
                  <a:pt x="89" y="49"/>
                  <a:pt x="80" y="55"/>
                  <a:pt x="81" y="49"/>
                </a:cubicBezTo>
                <a:cubicBezTo>
                  <a:pt x="83" y="38"/>
                  <a:pt x="75" y="47"/>
                  <a:pt x="73" y="53"/>
                </a:cubicBezTo>
                <a:cubicBezTo>
                  <a:pt x="67" y="66"/>
                  <a:pt x="99" y="86"/>
                  <a:pt x="89" y="94"/>
                </a:cubicBezTo>
                <a:cubicBezTo>
                  <a:pt x="84" y="98"/>
                  <a:pt x="90" y="86"/>
                  <a:pt x="83" y="87"/>
                </a:cubicBezTo>
                <a:cubicBezTo>
                  <a:pt x="73" y="87"/>
                  <a:pt x="92" y="99"/>
                  <a:pt x="77" y="100"/>
                </a:cubicBezTo>
                <a:cubicBezTo>
                  <a:pt x="63" y="102"/>
                  <a:pt x="88" y="104"/>
                  <a:pt x="90" y="110"/>
                </a:cubicBezTo>
                <a:cubicBezTo>
                  <a:pt x="93" y="116"/>
                  <a:pt x="96" y="112"/>
                  <a:pt x="98" y="117"/>
                </a:cubicBezTo>
                <a:cubicBezTo>
                  <a:pt x="101" y="123"/>
                  <a:pt x="111" y="122"/>
                  <a:pt x="110" y="128"/>
                </a:cubicBezTo>
                <a:cubicBezTo>
                  <a:pt x="108" y="133"/>
                  <a:pt x="113" y="140"/>
                  <a:pt x="110" y="142"/>
                </a:cubicBezTo>
                <a:cubicBezTo>
                  <a:pt x="106" y="144"/>
                  <a:pt x="101" y="136"/>
                  <a:pt x="98" y="132"/>
                </a:cubicBezTo>
                <a:cubicBezTo>
                  <a:pt x="95" y="127"/>
                  <a:pt x="83" y="134"/>
                  <a:pt x="86" y="138"/>
                </a:cubicBezTo>
                <a:cubicBezTo>
                  <a:pt x="90" y="142"/>
                  <a:pt x="85" y="144"/>
                  <a:pt x="90" y="144"/>
                </a:cubicBezTo>
                <a:cubicBezTo>
                  <a:pt x="96" y="144"/>
                  <a:pt x="100" y="151"/>
                  <a:pt x="95" y="152"/>
                </a:cubicBezTo>
                <a:cubicBezTo>
                  <a:pt x="91" y="153"/>
                  <a:pt x="87" y="158"/>
                  <a:pt x="86" y="153"/>
                </a:cubicBezTo>
                <a:cubicBezTo>
                  <a:pt x="85" y="148"/>
                  <a:pt x="84" y="146"/>
                  <a:pt x="78" y="145"/>
                </a:cubicBezTo>
                <a:cubicBezTo>
                  <a:pt x="72" y="145"/>
                  <a:pt x="93" y="181"/>
                  <a:pt x="87" y="183"/>
                </a:cubicBezTo>
                <a:cubicBezTo>
                  <a:pt x="81" y="186"/>
                  <a:pt x="75" y="159"/>
                  <a:pt x="73" y="175"/>
                </a:cubicBezTo>
                <a:cubicBezTo>
                  <a:pt x="72" y="184"/>
                  <a:pt x="67" y="189"/>
                  <a:pt x="67" y="178"/>
                </a:cubicBezTo>
                <a:cubicBezTo>
                  <a:pt x="67" y="168"/>
                  <a:pt x="59" y="156"/>
                  <a:pt x="58" y="168"/>
                </a:cubicBezTo>
                <a:cubicBezTo>
                  <a:pt x="57" y="180"/>
                  <a:pt x="45" y="162"/>
                  <a:pt x="48" y="157"/>
                </a:cubicBezTo>
                <a:cubicBezTo>
                  <a:pt x="52" y="153"/>
                  <a:pt x="51" y="144"/>
                  <a:pt x="44" y="145"/>
                </a:cubicBezTo>
                <a:cubicBezTo>
                  <a:pt x="37" y="145"/>
                  <a:pt x="44" y="141"/>
                  <a:pt x="38" y="137"/>
                </a:cubicBezTo>
                <a:cubicBezTo>
                  <a:pt x="33" y="134"/>
                  <a:pt x="41" y="137"/>
                  <a:pt x="41" y="129"/>
                </a:cubicBezTo>
                <a:cubicBezTo>
                  <a:pt x="42" y="120"/>
                  <a:pt x="48" y="129"/>
                  <a:pt x="52" y="125"/>
                </a:cubicBezTo>
                <a:cubicBezTo>
                  <a:pt x="56" y="120"/>
                  <a:pt x="57" y="120"/>
                  <a:pt x="66" y="125"/>
                </a:cubicBezTo>
                <a:cubicBezTo>
                  <a:pt x="76" y="130"/>
                  <a:pt x="76" y="133"/>
                  <a:pt x="84" y="130"/>
                </a:cubicBezTo>
                <a:cubicBezTo>
                  <a:pt x="93" y="127"/>
                  <a:pt x="88" y="124"/>
                  <a:pt x="83" y="124"/>
                </a:cubicBezTo>
                <a:cubicBezTo>
                  <a:pt x="78" y="125"/>
                  <a:pt x="74" y="118"/>
                  <a:pt x="68" y="120"/>
                </a:cubicBezTo>
                <a:cubicBezTo>
                  <a:pt x="62" y="122"/>
                  <a:pt x="66" y="116"/>
                  <a:pt x="54" y="119"/>
                </a:cubicBezTo>
                <a:cubicBezTo>
                  <a:pt x="41" y="122"/>
                  <a:pt x="46" y="115"/>
                  <a:pt x="41" y="120"/>
                </a:cubicBezTo>
                <a:cubicBezTo>
                  <a:pt x="35" y="125"/>
                  <a:pt x="37" y="114"/>
                  <a:pt x="29" y="106"/>
                </a:cubicBezTo>
                <a:cubicBezTo>
                  <a:pt x="21" y="98"/>
                  <a:pt x="44" y="104"/>
                  <a:pt x="37" y="99"/>
                </a:cubicBezTo>
                <a:cubicBezTo>
                  <a:pt x="25" y="92"/>
                  <a:pt x="30" y="104"/>
                  <a:pt x="26" y="96"/>
                </a:cubicBezTo>
                <a:cubicBezTo>
                  <a:pt x="23" y="91"/>
                  <a:pt x="19" y="93"/>
                  <a:pt x="11" y="75"/>
                </a:cubicBezTo>
                <a:cubicBezTo>
                  <a:pt x="13" y="73"/>
                  <a:pt x="19" y="73"/>
                  <a:pt x="20" y="70"/>
                </a:cubicBezTo>
                <a:cubicBezTo>
                  <a:pt x="20" y="68"/>
                  <a:pt x="16" y="67"/>
                  <a:pt x="18" y="64"/>
                </a:cubicBezTo>
                <a:cubicBezTo>
                  <a:pt x="19" y="61"/>
                  <a:pt x="26" y="64"/>
                  <a:pt x="27" y="57"/>
                </a:cubicBezTo>
                <a:cubicBezTo>
                  <a:pt x="28" y="42"/>
                  <a:pt x="32" y="51"/>
                  <a:pt x="35" y="45"/>
                </a:cubicBezTo>
                <a:cubicBezTo>
                  <a:pt x="37" y="39"/>
                  <a:pt x="33" y="39"/>
                  <a:pt x="34" y="35"/>
                </a:cubicBezTo>
                <a:cubicBezTo>
                  <a:pt x="69" y="33"/>
                  <a:pt x="49" y="21"/>
                  <a:pt x="65" y="25"/>
                </a:cubicBezTo>
                <a:cubicBezTo>
                  <a:pt x="82" y="30"/>
                  <a:pt x="75" y="19"/>
                  <a:pt x="82" y="18"/>
                </a:cubicBezTo>
                <a:cubicBezTo>
                  <a:pt x="91" y="24"/>
                  <a:pt x="86" y="14"/>
                  <a:pt x="96" y="17"/>
                </a:cubicBezTo>
                <a:cubicBezTo>
                  <a:pt x="106" y="19"/>
                  <a:pt x="112" y="8"/>
                  <a:pt x="116" y="12"/>
                </a:cubicBezTo>
                <a:cubicBezTo>
                  <a:pt x="120" y="15"/>
                  <a:pt x="120" y="6"/>
                  <a:pt x="124" y="14"/>
                </a:cubicBezTo>
                <a:cubicBezTo>
                  <a:pt x="129" y="22"/>
                  <a:pt x="129" y="11"/>
                  <a:pt x="135" y="18"/>
                </a:cubicBezTo>
                <a:cubicBezTo>
                  <a:pt x="141" y="26"/>
                  <a:pt x="145" y="20"/>
                  <a:pt x="156" y="19"/>
                </a:cubicBezTo>
                <a:cubicBezTo>
                  <a:pt x="168" y="19"/>
                  <a:pt x="152" y="0"/>
                  <a:pt x="166" y="6"/>
                </a:cubicBezTo>
                <a:cubicBezTo>
                  <a:pt x="175" y="11"/>
                  <a:pt x="176" y="18"/>
                  <a:pt x="169" y="21"/>
                </a:cubicBezTo>
                <a:close/>
                <a:moveTo>
                  <a:pt x="25" y="134"/>
                </a:moveTo>
                <a:cubicBezTo>
                  <a:pt x="23" y="136"/>
                  <a:pt x="27" y="143"/>
                  <a:pt x="32" y="142"/>
                </a:cubicBezTo>
                <a:cubicBezTo>
                  <a:pt x="37" y="141"/>
                  <a:pt x="26" y="132"/>
                  <a:pt x="25" y="134"/>
                </a:cubicBezTo>
                <a:close/>
                <a:moveTo>
                  <a:pt x="23" y="118"/>
                </a:moveTo>
                <a:cubicBezTo>
                  <a:pt x="21" y="122"/>
                  <a:pt x="17" y="117"/>
                  <a:pt x="18" y="123"/>
                </a:cubicBezTo>
                <a:cubicBezTo>
                  <a:pt x="19" y="128"/>
                  <a:pt x="22" y="126"/>
                  <a:pt x="26" y="128"/>
                </a:cubicBezTo>
                <a:cubicBezTo>
                  <a:pt x="30" y="130"/>
                  <a:pt x="30" y="128"/>
                  <a:pt x="27" y="124"/>
                </a:cubicBezTo>
                <a:cubicBezTo>
                  <a:pt x="24" y="121"/>
                  <a:pt x="24" y="115"/>
                  <a:pt x="23" y="118"/>
                </a:cubicBezTo>
                <a:close/>
                <a:moveTo>
                  <a:pt x="83" y="192"/>
                </a:moveTo>
                <a:cubicBezTo>
                  <a:pt x="86" y="196"/>
                  <a:pt x="87" y="191"/>
                  <a:pt x="84" y="186"/>
                </a:cubicBezTo>
                <a:cubicBezTo>
                  <a:pt x="81" y="182"/>
                  <a:pt x="79" y="189"/>
                  <a:pt x="83" y="192"/>
                </a:cubicBezTo>
                <a:close/>
                <a:moveTo>
                  <a:pt x="156" y="224"/>
                </a:moveTo>
                <a:cubicBezTo>
                  <a:pt x="147" y="230"/>
                  <a:pt x="157" y="218"/>
                  <a:pt x="146" y="220"/>
                </a:cubicBezTo>
                <a:cubicBezTo>
                  <a:pt x="136" y="222"/>
                  <a:pt x="136" y="214"/>
                  <a:pt x="121" y="218"/>
                </a:cubicBezTo>
                <a:cubicBezTo>
                  <a:pt x="112" y="220"/>
                  <a:pt x="115" y="209"/>
                  <a:pt x="110" y="212"/>
                </a:cubicBezTo>
                <a:cubicBezTo>
                  <a:pt x="105" y="215"/>
                  <a:pt x="102" y="206"/>
                  <a:pt x="101" y="210"/>
                </a:cubicBezTo>
                <a:cubicBezTo>
                  <a:pt x="100" y="214"/>
                  <a:pt x="96" y="211"/>
                  <a:pt x="97" y="220"/>
                </a:cubicBezTo>
                <a:cubicBezTo>
                  <a:pt x="98" y="228"/>
                  <a:pt x="113" y="219"/>
                  <a:pt x="125" y="229"/>
                </a:cubicBezTo>
                <a:cubicBezTo>
                  <a:pt x="134" y="236"/>
                  <a:pt x="142" y="230"/>
                  <a:pt x="156" y="230"/>
                </a:cubicBezTo>
                <a:cubicBezTo>
                  <a:pt x="170" y="230"/>
                  <a:pt x="167" y="217"/>
                  <a:pt x="156" y="224"/>
                </a:cubicBezTo>
                <a:close/>
                <a:moveTo>
                  <a:pt x="200" y="193"/>
                </a:moveTo>
                <a:cubicBezTo>
                  <a:pt x="202" y="196"/>
                  <a:pt x="197" y="198"/>
                  <a:pt x="201" y="202"/>
                </a:cubicBezTo>
                <a:cubicBezTo>
                  <a:pt x="205" y="205"/>
                  <a:pt x="214" y="185"/>
                  <a:pt x="212" y="183"/>
                </a:cubicBezTo>
                <a:cubicBezTo>
                  <a:pt x="210" y="181"/>
                  <a:pt x="197" y="190"/>
                  <a:pt x="200" y="193"/>
                </a:cubicBezTo>
                <a:close/>
                <a:moveTo>
                  <a:pt x="155" y="112"/>
                </a:moveTo>
                <a:cubicBezTo>
                  <a:pt x="153" y="113"/>
                  <a:pt x="154" y="115"/>
                  <a:pt x="156" y="117"/>
                </a:cubicBezTo>
                <a:cubicBezTo>
                  <a:pt x="158" y="118"/>
                  <a:pt x="151" y="129"/>
                  <a:pt x="158" y="126"/>
                </a:cubicBezTo>
                <a:cubicBezTo>
                  <a:pt x="164" y="123"/>
                  <a:pt x="162" y="108"/>
                  <a:pt x="155" y="112"/>
                </a:cubicBezTo>
                <a:close/>
                <a:moveTo>
                  <a:pt x="166" y="85"/>
                </a:moveTo>
                <a:cubicBezTo>
                  <a:pt x="163" y="83"/>
                  <a:pt x="162" y="85"/>
                  <a:pt x="156" y="88"/>
                </a:cubicBezTo>
                <a:cubicBezTo>
                  <a:pt x="150" y="91"/>
                  <a:pt x="156" y="94"/>
                  <a:pt x="164" y="98"/>
                </a:cubicBezTo>
                <a:cubicBezTo>
                  <a:pt x="168" y="100"/>
                  <a:pt x="176" y="97"/>
                  <a:pt x="170" y="92"/>
                </a:cubicBezTo>
                <a:cubicBezTo>
                  <a:pt x="165" y="87"/>
                  <a:pt x="169" y="87"/>
                  <a:pt x="166" y="85"/>
                </a:cubicBezTo>
                <a:close/>
                <a:moveTo>
                  <a:pt x="124" y="37"/>
                </a:moveTo>
                <a:cubicBezTo>
                  <a:pt x="120" y="37"/>
                  <a:pt x="119" y="43"/>
                  <a:pt x="123" y="44"/>
                </a:cubicBezTo>
                <a:cubicBezTo>
                  <a:pt x="127" y="45"/>
                  <a:pt x="129" y="37"/>
                  <a:pt x="124" y="37"/>
                </a:cubicBezTo>
                <a:close/>
                <a:moveTo>
                  <a:pt x="119" y="126"/>
                </a:moveTo>
                <a:cubicBezTo>
                  <a:pt x="114" y="123"/>
                  <a:pt x="114" y="120"/>
                  <a:pt x="112" y="111"/>
                </a:cubicBezTo>
                <a:cubicBezTo>
                  <a:pt x="111" y="103"/>
                  <a:pt x="108" y="113"/>
                  <a:pt x="94" y="100"/>
                </a:cubicBezTo>
                <a:cubicBezTo>
                  <a:pt x="90" y="96"/>
                  <a:pt x="78" y="100"/>
                  <a:pt x="81" y="103"/>
                </a:cubicBezTo>
                <a:cubicBezTo>
                  <a:pt x="83" y="103"/>
                  <a:pt x="87" y="103"/>
                  <a:pt x="95" y="108"/>
                </a:cubicBezTo>
                <a:cubicBezTo>
                  <a:pt x="103" y="114"/>
                  <a:pt x="97" y="118"/>
                  <a:pt x="104" y="118"/>
                </a:cubicBezTo>
                <a:cubicBezTo>
                  <a:pt x="111" y="118"/>
                  <a:pt x="115" y="130"/>
                  <a:pt x="119" y="132"/>
                </a:cubicBezTo>
                <a:cubicBezTo>
                  <a:pt x="124" y="135"/>
                  <a:pt x="124" y="129"/>
                  <a:pt x="119" y="126"/>
                </a:cubicBezTo>
                <a:close/>
                <a:moveTo>
                  <a:pt x="144" y="159"/>
                </a:moveTo>
                <a:cubicBezTo>
                  <a:pt x="141" y="160"/>
                  <a:pt x="141" y="164"/>
                  <a:pt x="144" y="166"/>
                </a:cubicBezTo>
                <a:cubicBezTo>
                  <a:pt x="148" y="169"/>
                  <a:pt x="149" y="157"/>
                  <a:pt x="144" y="159"/>
                </a:cubicBezTo>
                <a:close/>
                <a:moveTo>
                  <a:pt x="187" y="217"/>
                </a:moveTo>
                <a:cubicBezTo>
                  <a:pt x="190" y="216"/>
                  <a:pt x="188" y="213"/>
                  <a:pt x="186" y="208"/>
                </a:cubicBezTo>
                <a:cubicBezTo>
                  <a:pt x="185" y="202"/>
                  <a:pt x="182" y="217"/>
                  <a:pt x="187" y="217"/>
                </a:cubicBezTo>
                <a:close/>
                <a:moveTo>
                  <a:pt x="0" y="73"/>
                </a:moveTo>
                <a:cubicBezTo>
                  <a:pt x="0" y="76"/>
                  <a:pt x="4" y="83"/>
                  <a:pt x="11" y="85"/>
                </a:cubicBezTo>
                <a:cubicBezTo>
                  <a:pt x="14" y="85"/>
                  <a:pt x="5" y="77"/>
                  <a:pt x="6" y="74"/>
                </a:cubicBezTo>
                <a:cubicBezTo>
                  <a:pt x="6" y="70"/>
                  <a:pt x="1" y="68"/>
                  <a:pt x="0" y="73"/>
                </a:cubicBezTo>
                <a:close/>
                <a:moveTo>
                  <a:pt x="142" y="64"/>
                </a:moveTo>
                <a:cubicBezTo>
                  <a:pt x="139" y="66"/>
                  <a:pt x="134" y="60"/>
                  <a:pt x="133" y="67"/>
                </a:cubicBezTo>
                <a:cubicBezTo>
                  <a:pt x="133" y="71"/>
                  <a:pt x="135" y="72"/>
                  <a:pt x="137" y="69"/>
                </a:cubicBezTo>
                <a:cubicBezTo>
                  <a:pt x="139" y="66"/>
                  <a:pt x="141" y="74"/>
                  <a:pt x="142" y="70"/>
                </a:cubicBezTo>
                <a:cubicBezTo>
                  <a:pt x="143" y="66"/>
                  <a:pt x="145" y="62"/>
                  <a:pt x="142" y="64"/>
                </a:cubicBezTo>
                <a:close/>
                <a:moveTo>
                  <a:pt x="149" y="59"/>
                </a:moveTo>
                <a:cubicBezTo>
                  <a:pt x="149" y="61"/>
                  <a:pt x="153" y="61"/>
                  <a:pt x="158" y="59"/>
                </a:cubicBezTo>
                <a:cubicBezTo>
                  <a:pt x="162" y="58"/>
                  <a:pt x="151" y="52"/>
                  <a:pt x="149" y="59"/>
                </a:cubicBezTo>
                <a:close/>
                <a:moveTo>
                  <a:pt x="136" y="164"/>
                </a:moveTo>
                <a:cubicBezTo>
                  <a:pt x="139" y="165"/>
                  <a:pt x="141" y="161"/>
                  <a:pt x="139" y="159"/>
                </a:cubicBezTo>
                <a:cubicBezTo>
                  <a:pt x="137" y="158"/>
                  <a:pt x="133" y="163"/>
                  <a:pt x="136" y="164"/>
                </a:cubicBezTo>
                <a:close/>
                <a:moveTo>
                  <a:pt x="116" y="173"/>
                </a:moveTo>
                <a:cubicBezTo>
                  <a:pt x="116" y="174"/>
                  <a:pt x="116" y="174"/>
                  <a:pt x="116" y="174"/>
                </a:cubicBezTo>
                <a:cubicBezTo>
                  <a:pt x="111" y="176"/>
                  <a:pt x="119" y="178"/>
                  <a:pt x="121" y="175"/>
                </a:cubicBezTo>
                <a:cubicBezTo>
                  <a:pt x="123" y="172"/>
                  <a:pt x="120" y="170"/>
                  <a:pt x="116" y="173"/>
                </a:cubicBezTo>
                <a:close/>
                <a:moveTo>
                  <a:pt x="115" y="146"/>
                </a:moveTo>
                <a:cubicBezTo>
                  <a:pt x="117" y="147"/>
                  <a:pt x="119" y="143"/>
                  <a:pt x="117" y="142"/>
                </a:cubicBezTo>
                <a:cubicBezTo>
                  <a:pt x="116" y="140"/>
                  <a:pt x="114" y="145"/>
                  <a:pt x="115" y="146"/>
                </a:cubicBezTo>
                <a:close/>
                <a:moveTo>
                  <a:pt x="118" y="154"/>
                </a:moveTo>
                <a:cubicBezTo>
                  <a:pt x="120" y="154"/>
                  <a:pt x="121" y="153"/>
                  <a:pt x="119" y="150"/>
                </a:cubicBezTo>
                <a:cubicBezTo>
                  <a:pt x="118" y="147"/>
                  <a:pt x="114" y="154"/>
                  <a:pt x="118" y="154"/>
                </a:cubicBezTo>
                <a:close/>
                <a:moveTo>
                  <a:pt x="157" y="146"/>
                </a:moveTo>
                <a:cubicBezTo>
                  <a:pt x="157" y="149"/>
                  <a:pt x="166" y="144"/>
                  <a:pt x="167" y="142"/>
                </a:cubicBezTo>
                <a:cubicBezTo>
                  <a:pt x="167" y="140"/>
                  <a:pt x="157" y="142"/>
                  <a:pt x="157" y="146"/>
                </a:cubicBezTo>
                <a:close/>
                <a:moveTo>
                  <a:pt x="24" y="111"/>
                </a:moveTo>
                <a:cubicBezTo>
                  <a:pt x="26" y="111"/>
                  <a:pt x="27" y="109"/>
                  <a:pt x="26" y="105"/>
                </a:cubicBezTo>
                <a:cubicBezTo>
                  <a:pt x="24" y="102"/>
                  <a:pt x="19" y="111"/>
                  <a:pt x="24" y="111"/>
                </a:cubicBezTo>
                <a:close/>
                <a:moveTo>
                  <a:pt x="120" y="98"/>
                </a:moveTo>
                <a:cubicBezTo>
                  <a:pt x="120" y="101"/>
                  <a:pt x="120" y="106"/>
                  <a:pt x="125" y="105"/>
                </a:cubicBezTo>
                <a:cubicBezTo>
                  <a:pt x="127" y="105"/>
                  <a:pt x="120" y="96"/>
                  <a:pt x="120" y="98"/>
                </a:cubicBezTo>
                <a:close/>
                <a:moveTo>
                  <a:pt x="126" y="132"/>
                </a:moveTo>
                <a:cubicBezTo>
                  <a:pt x="124" y="135"/>
                  <a:pt x="129" y="138"/>
                  <a:pt x="133" y="144"/>
                </a:cubicBezTo>
                <a:cubicBezTo>
                  <a:pt x="138" y="150"/>
                  <a:pt x="141" y="146"/>
                  <a:pt x="137" y="143"/>
                </a:cubicBezTo>
                <a:cubicBezTo>
                  <a:pt x="133" y="140"/>
                  <a:pt x="129" y="128"/>
                  <a:pt x="126" y="132"/>
                </a:cubicBezTo>
                <a:close/>
              </a:path>
            </a:pathLst>
          </a:custGeom>
          <a:solidFill>
            <a:schemeClr val="accent1"/>
          </a:solidFill>
          <a:ln w="6350" cap="rnd" cmpd="sng">
            <a:solidFill>
              <a:schemeClr val="bg2">
                <a:lumMod val="50000"/>
              </a:schemeClr>
            </a:solidFill>
            <a:prstDash val="solid"/>
            <a:round/>
            <a:headEnd type="none" w="med" len="med"/>
            <a:tailEnd type="none" w="med" len="med"/>
          </a:ln>
          <a:effectLst/>
        </p:spPr>
        <p:txBody>
          <a:bodyPr/>
          <a:lstStyle/>
          <a:p>
            <a:pPr>
              <a:defRPr/>
            </a:pPr>
            <a:endParaRPr lang="de-DE" sz="1800">
              <a:solidFill>
                <a:srgbClr val="000000"/>
              </a:solidFill>
              <a:latin typeface="Arial" charset="0"/>
              <a:ea typeface="ＭＳ Ｐゴシック"/>
            </a:endParaRPr>
          </a:p>
        </p:txBody>
      </p:sp>
      <p:sp>
        <p:nvSpPr>
          <p:cNvPr id="51" name="Freeform 50"/>
          <p:cNvSpPr>
            <a:spLocks/>
          </p:cNvSpPr>
          <p:nvPr/>
        </p:nvSpPr>
        <p:spPr bwMode="auto">
          <a:xfrm>
            <a:off x="8016029" y="4259562"/>
            <a:ext cx="524302" cy="461331"/>
          </a:xfrm>
          <a:custGeom>
            <a:avLst/>
            <a:gdLst/>
            <a:ahLst/>
            <a:cxnLst>
              <a:cxn ang="0">
                <a:pos x="137" y="43"/>
              </a:cxn>
              <a:cxn ang="0">
                <a:pos x="131" y="23"/>
              </a:cxn>
              <a:cxn ang="0">
                <a:pos x="121" y="29"/>
              </a:cxn>
              <a:cxn ang="0">
                <a:pos x="98" y="22"/>
              </a:cxn>
              <a:cxn ang="0">
                <a:pos x="75" y="3"/>
              </a:cxn>
              <a:cxn ang="0">
                <a:pos x="68" y="2"/>
              </a:cxn>
              <a:cxn ang="0">
                <a:pos x="68" y="7"/>
              </a:cxn>
              <a:cxn ang="0">
                <a:pos x="52" y="14"/>
              </a:cxn>
              <a:cxn ang="0">
                <a:pos x="55" y="25"/>
              </a:cxn>
              <a:cxn ang="0">
                <a:pos x="45" y="37"/>
              </a:cxn>
              <a:cxn ang="0">
                <a:pos x="37" y="38"/>
              </a:cxn>
              <a:cxn ang="0">
                <a:pos x="29" y="35"/>
              </a:cxn>
              <a:cxn ang="0">
                <a:pos x="1" y="39"/>
              </a:cxn>
              <a:cxn ang="0">
                <a:pos x="1" y="40"/>
              </a:cxn>
              <a:cxn ang="0">
                <a:pos x="13" y="63"/>
              </a:cxn>
              <a:cxn ang="0">
                <a:pos x="26" y="46"/>
              </a:cxn>
              <a:cxn ang="0">
                <a:pos x="39" y="73"/>
              </a:cxn>
              <a:cxn ang="0">
                <a:pos x="49" y="92"/>
              </a:cxn>
              <a:cxn ang="0">
                <a:pos x="68" y="107"/>
              </a:cxn>
              <a:cxn ang="0">
                <a:pos x="99" y="126"/>
              </a:cxn>
              <a:cxn ang="0">
                <a:pos x="103" y="132"/>
              </a:cxn>
              <a:cxn ang="0">
                <a:pos x="123" y="146"/>
              </a:cxn>
              <a:cxn ang="0">
                <a:pos x="129" y="148"/>
              </a:cxn>
              <a:cxn ang="0">
                <a:pos x="122" y="140"/>
              </a:cxn>
              <a:cxn ang="0">
                <a:pos x="109" y="130"/>
              </a:cxn>
              <a:cxn ang="0">
                <a:pos x="103" y="126"/>
              </a:cxn>
              <a:cxn ang="0">
                <a:pos x="97" y="117"/>
              </a:cxn>
              <a:cxn ang="0">
                <a:pos x="89" y="106"/>
              </a:cxn>
              <a:cxn ang="0">
                <a:pos x="67" y="83"/>
              </a:cxn>
              <a:cxn ang="0">
                <a:pos x="66" y="77"/>
              </a:cxn>
              <a:cxn ang="0">
                <a:pos x="58" y="64"/>
              </a:cxn>
              <a:cxn ang="0">
                <a:pos x="65" y="51"/>
              </a:cxn>
              <a:cxn ang="0">
                <a:pos x="73" y="50"/>
              </a:cxn>
              <a:cxn ang="0">
                <a:pos x="93" y="50"/>
              </a:cxn>
              <a:cxn ang="0">
                <a:pos x="110" y="52"/>
              </a:cxn>
              <a:cxn ang="0">
                <a:pos x="126" y="52"/>
              </a:cxn>
              <a:cxn ang="0">
                <a:pos x="136" y="60"/>
              </a:cxn>
              <a:cxn ang="0">
                <a:pos x="146" y="49"/>
              </a:cxn>
              <a:cxn ang="0">
                <a:pos x="137" y="43"/>
              </a:cxn>
            </a:cxnLst>
            <a:rect l="0" t="0" r="r" b="b"/>
            <a:pathLst>
              <a:path w="148" h="148">
                <a:moveTo>
                  <a:pt x="137" y="43"/>
                </a:moveTo>
                <a:cubicBezTo>
                  <a:pt x="134" y="40"/>
                  <a:pt x="136" y="28"/>
                  <a:pt x="131" y="23"/>
                </a:cubicBezTo>
                <a:cubicBezTo>
                  <a:pt x="124" y="22"/>
                  <a:pt x="128" y="27"/>
                  <a:pt x="121" y="29"/>
                </a:cubicBezTo>
                <a:cubicBezTo>
                  <a:pt x="114" y="31"/>
                  <a:pt x="104" y="22"/>
                  <a:pt x="98" y="22"/>
                </a:cubicBezTo>
                <a:cubicBezTo>
                  <a:pt x="91" y="22"/>
                  <a:pt x="98" y="17"/>
                  <a:pt x="75" y="3"/>
                </a:cubicBezTo>
                <a:cubicBezTo>
                  <a:pt x="73" y="2"/>
                  <a:pt x="70" y="0"/>
                  <a:pt x="68" y="2"/>
                </a:cubicBezTo>
                <a:cubicBezTo>
                  <a:pt x="67" y="4"/>
                  <a:pt x="70" y="4"/>
                  <a:pt x="68" y="7"/>
                </a:cubicBezTo>
                <a:cubicBezTo>
                  <a:pt x="67" y="9"/>
                  <a:pt x="54" y="11"/>
                  <a:pt x="52" y="14"/>
                </a:cubicBezTo>
                <a:cubicBezTo>
                  <a:pt x="50" y="16"/>
                  <a:pt x="56" y="22"/>
                  <a:pt x="55" y="25"/>
                </a:cubicBezTo>
                <a:cubicBezTo>
                  <a:pt x="54" y="29"/>
                  <a:pt x="44" y="28"/>
                  <a:pt x="45" y="37"/>
                </a:cubicBezTo>
                <a:cubicBezTo>
                  <a:pt x="46" y="43"/>
                  <a:pt x="42" y="40"/>
                  <a:pt x="37" y="38"/>
                </a:cubicBezTo>
                <a:cubicBezTo>
                  <a:pt x="32" y="35"/>
                  <a:pt x="37" y="43"/>
                  <a:pt x="29" y="35"/>
                </a:cubicBezTo>
                <a:cubicBezTo>
                  <a:pt x="24" y="30"/>
                  <a:pt x="31" y="39"/>
                  <a:pt x="1" y="39"/>
                </a:cubicBezTo>
                <a:cubicBezTo>
                  <a:pt x="1" y="39"/>
                  <a:pt x="1" y="39"/>
                  <a:pt x="1" y="40"/>
                </a:cubicBezTo>
                <a:cubicBezTo>
                  <a:pt x="0" y="45"/>
                  <a:pt x="10" y="71"/>
                  <a:pt x="13" y="63"/>
                </a:cubicBezTo>
                <a:cubicBezTo>
                  <a:pt x="16" y="55"/>
                  <a:pt x="16" y="39"/>
                  <a:pt x="26" y="46"/>
                </a:cubicBezTo>
                <a:cubicBezTo>
                  <a:pt x="42" y="59"/>
                  <a:pt x="28" y="61"/>
                  <a:pt x="39" y="73"/>
                </a:cubicBezTo>
                <a:cubicBezTo>
                  <a:pt x="50" y="85"/>
                  <a:pt x="31" y="78"/>
                  <a:pt x="49" y="92"/>
                </a:cubicBezTo>
                <a:cubicBezTo>
                  <a:pt x="67" y="107"/>
                  <a:pt x="56" y="108"/>
                  <a:pt x="68" y="107"/>
                </a:cubicBezTo>
                <a:cubicBezTo>
                  <a:pt x="79" y="105"/>
                  <a:pt x="88" y="116"/>
                  <a:pt x="99" y="126"/>
                </a:cubicBezTo>
                <a:cubicBezTo>
                  <a:pt x="82" y="122"/>
                  <a:pt x="83" y="125"/>
                  <a:pt x="103" y="132"/>
                </a:cubicBezTo>
                <a:cubicBezTo>
                  <a:pt x="122" y="139"/>
                  <a:pt x="118" y="146"/>
                  <a:pt x="123" y="146"/>
                </a:cubicBezTo>
                <a:cubicBezTo>
                  <a:pt x="128" y="145"/>
                  <a:pt x="126" y="146"/>
                  <a:pt x="129" y="148"/>
                </a:cubicBezTo>
                <a:cubicBezTo>
                  <a:pt x="133" y="141"/>
                  <a:pt x="123" y="145"/>
                  <a:pt x="122" y="140"/>
                </a:cubicBezTo>
                <a:cubicBezTo>
                  <a:pt x="119" y="136"/>
                  <a:pt x="111" y="134"/>
                  <a:pt x="109" y="130"/>
                </a:cubicBezTo>
                <a:cubicBezTo>
                  <a:pt x="106" y="126"/>
                  <a:pt x="102" y="128"/>
                  <a:pt x="103" y="126"/>
                </a:cubicBezTo>
                <a:cubicBezTo>
                  <a:pt x="104" y="123"/>
                  <a:pt x="103" y="121"/>
                  <a:pt x="97" y="117"/>
                </a:cubicBezTo>
                <a:cubicBezTo>
                  <a:pt x="90" y="113"/>
                  <a:pt x="94" y="109"/>
                  <a:pt x="89" y="106"/>
                </a:cubicBezTo>
                <a:cubicBezTo>
                  <a:pt x="83" y="104"/>
                  <a:pt x="72" y="84"/>
                  <a:pt x="67" y="83"/>
                </a:cubicBezTo>
                <a:cubicBezTo>
                  <a:pt x="62" y="83"/>
                  <a:pt x="70" y="79"/>
                  <a:pt x="66" y="77"/>
                </a:cubicBezTo>
                <a:cubicBezTo>
                  <a:pt x="63" y="75"/>
                  <a:pt x="63" y="66"/>
                  <a:pt x="58" y="64"/>
                </a:cubicBezTo>
                <a:cubicBezTo>
                  <a:pt x="52" y="61"/>
                  <a:pt x="55" y="39"/>
                  <a:pt x="65" y="51"/>
                </a:cubicBezTo>
                <a:cubicBezTo>
                  <a:pt x="71" y="58"/>
                  <a:pt x="69" y="56"/>
                  <a:pt x="73" y="50"/>
                </a:cubicBezTo>
                <a:cubicBezTo>
                  <a:pt x="77" y="44"/>
                  <a:pt x="89" y="52"/>
                  <a:pt x="93" y="50"/>
                </a:cubicBezTo>
                <a:cubicBezTo>
                  <a:pt x="97" y="48"/>
                  <a:pt x="104" y="57"/>
                  <a:pt x="110" y="52"/>
                </a:cubicBezTo>
                <a:cubicBezTo>
                  <a:pt x="115" y="47"/>
                  <a:pt x="121" y="54"/>
                  <a:pt x="126" y="52"/>
                </a:cubicBezTo>
                <a:cubicBezTo>
                  <a:pt x="130" y="50"/>
                  <a:pt x="127" y="61"/>
                  <a:pt x="136" y="60"/>
                </a:cubicBezTo>
                <a:cubicBezTo>
                  <a:pt x="138" y="48"/>
                  <a:pt x="144" y="52"/>
                  <a:pt x="146" y="49"/>
                </a:cubicBezTo>
                <a:cubicBezTo>
                  <a:pt x="148" y="45"/>
                  <a:pt x="144" y="50"/>
                  <a:pt x="137" y="43"/>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endParaRPr lang="de-DE" sz="1800">
              <a:solidFill>
                <a:srgbClr val="000000"/>
              </a:solidFill>
              <a:latin typeface="Arial" charset="0"/>
              <a:ea typeface="ＭＳ Ｐゴシック"/>
            </a:endParaRPr>
          </a:p>
        </p:txBody>
      </p:sp>
      <p:sp>
        <p:nvSpPr>
          <p:cNvPr id="52" name="Freeform 51"/>
          <p:cNvSpPr>
            <a:spLocks/>
          </p:cNvSpPr>
          <p:nvPr/>
        </p:nvSpPr>
        <p:spPr bwMode="auto">
          <a:xfrm>
            <a:off x="8265166" y="4626781"/>
            <a:ext cx="72511" cy="12918"/>
          </a:xfrm>
          <a:custGeom>
            <a:avLst/>
            <a:gdLst/>
            <a:ahLst/>
            <a:cxnLst>
              <a:cxn ang="0">
                <a:pos x="17" y="2"/>
              </a:cxn>
              <a:cxn ang="0">
                <a:pos x="4" y="1"/>
              </a:cxn>
              <a:cxn ang="0">
                <a:pos x="7" y="3"/>
              </a:cxn>
              <a:cxn ang="0">
                <a:pos x="17" y="2"/>
              </a:cxn>
            </a:cxnLst>
            <a:rect l="0" t="0" r="r" b="b"/>
            <a:pathLst>
              <a:path w="21" h="5">
                <a:moveTo>
                  <a:pt x="17" y="2"/>
                </a:moveTo>
                <a:cubicBezTo>
                  <a:pt x="15" y="1"/>
                  <a:pt x="8" y="0"/>
                  <a:pt x="4" y="1"/>
                </a:cubicBezTo>
                <a:cubicBezTo>
                  <a:pt x="0" y="1"/>
                  <a:pt x="0" y="2"/>
                  <a:pt x="7" y="3"/>
                </a:cubicBezTo>
                <a:cubicBezTo>
                  <a:pt x="15" y="4"/>
                  <a:pt x="21" y="5"/>
                  <a:pt x="17" y="2"/>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53" name="Freeform 52"/>
          <p:cNvSpPr>
            <a:spLocks/>
          </p:cNvSpPr>
          <p:nvPr/>
        </p:nvSpPr>
        <p:spPr bwMode="auto">
          <a:xfrm>
            <a:off x="8265166" y="4604635"/>
            <a:ext cx="55777" cy="16609"/>
          </a:xfrm>
          <a:custGeom>
            <a:avLst/>
            <a:gdLst/>
            <a:ahLst/>
            <a:cxnLst>
              <a:cxn ang="0">
                <a:pos x="2" y="3"/>
              </a:cxn>
              <a:cxn ang="0">
                <a:pos x="12" y="4"/>
              </a:cxn>
              <a:cxn ang="0">
                <a:pos x="2" y="3"/>
              </a:cxn>
            </a:cxnLst>
            <a:rect l="0" t="0" r="r" b="b"/>
            <a:pathLst>
              <a:path w="16" h="6">
                <a:moveTo>
                  <a:pt x="2" y="3"/>
                </a:moveTo>
                <a:cubicBezTo>
                  <a:pt x="4" y="5"/>
                  <a:pt x="9" y="6"/>
                  <a:pt x="12" y="4"/>
                </a:cubicBezTo>
                <a:cubicBezTo>
                  <a:pt x="16" y="3"/>
                  <a:pt x="0" y="0"/>
                  <a:pt x="2" y="3"/>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54" name="Freeform 53"/>
          <p:cNvSpPr>
            <a:spLocks/>
          </p:cNvSpPr>
          <p:nvPr/>
        </p:nvSpPr>
        <p:spPr bwMode="auto">
          <a:xfrm>
            <a:off x="8274460" y="4647075"/>
            <a:ext cx="61353" cy="18454"/>
          </a:xfrm>
          <a:custGeom>
            <a:avLst/>
            <a:gdLst/>
            <a:ahLst/>
            <a:cxnLst>
              <a:cxn ang="0">
                <a:pos x="5" y="4"/>
              </a:cxn>
              <a:cxn ang="0">
                <a:pos x="10" y="5"/>
              </a:cxn>
              <a:cxn ang="0">
                <a:pos x="16" y="3"/>
              </a:cxn>
              <a:cxn ang="0">
                <a:pos x="5" y="4"/>
              </a:cxn>
            </a:cxnLst>
            <a:rect l="0" t="0" r="r" b="b"/>
            <a:pathLst>
              <a:path w="17" h="6">
                <a:moveTo>
                  <a:pt x="5" y="4"/>
                </a:moveTo>
                <a:cubicBezTo>
                  <a:pt x="6" y="6"/>
                  <a:pt x="6" y="5"/>
                  <a:pt x="10" y="5"/>
                </a:cubicBezTo>
                <a:cubicBezTo>
                  <a:pt x="14" y="4"/>
                  <a:pt x="17" y="4"/>
                  <a:pt x="16" y="3"/>
                </a:cubicBezTo>
                <a:cubicBezTo>
                  <a:pt x="14" y="2"/>
                  <a:pt x="0" y="0"/>
                  <a:pt x="5" y="4"/>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55" name="Freeform 54"/>
          <p:cNvSpPr>
            <a:spLocks/>
          </p:cNvSpPr>
          <p:nvPr/>
        </p:nvSpPr>
        <p:spPr bwMode="auto">
          <a:xfrm>
            <a:off x="8094115" y="4410878"/>
            <a:ext cx="37184" cy="27680"/>
          </a:xfrm>
          <a:custGeom>
            <a:avLst/>
            <a:gdLst/>
            <a:ahLst/>
            <a:cxnLst>
              <a:cxn ang="0">
                <a:pos x="8" y="5"/>
              </a:cxn>
              <a:cxn ang="0">
                <a:pos x="3" y="0"/>
              </a:cxn>
              <a:cxn ang="0">
                <a:pos x="2" y="4"/>
              </a:cxn>
              <a:cxn ang="0">
                <a:pos x="10" y="8"/>
              </a:cxn>
              <a:cxn ang="0">
                <a:pos x="8" y="5"/>
              </a:cxn>
            </a:cxnLst>
            <a:rect l="0" t="0" r="r" b="b"/>
            <a:pathLst>
              <a:path w="10" h="9">
                <a:moveTo>
                  <a:pt x="8" y="5"/>
                </a:moveTo>
                <a:cubicBezTo>
                  <a:pt x="5" y="3"/>
                  <a:pt x="6" y="1"/>
                  <a:pt x="3" y="0"/>
                </a:cubicBezTo>
                <a:cubicBezTo>
                  <a:pt x="1" y="0"/>
                  <a:pt x="3" y="1"/>
                  <a:pt x="2" y="4"/>
                </a:cubicBezTo>
                <a:cubicBezTo>
                  <a:pt x="0" y="6"/>
                  <a:pt x="6" y="9"/>
                  <a:pt x="10" y="8"/>
                </a:cubicBezTo>
                <a:cubicBezTo>
                  <a:pt x="10" y="8"/>
                  <a:pt x="10" y="7"/>
                  <a:pt x="8" y="5"/>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56" name="Freeform 55"/>
          <p:cNvSpPr>
            <a:spLocks/>
          </p:cNvSpPr>
          <p:nvPr/>
        </p:nvSpPr>
        <p:spPr bwMode="auto">
          <a:xfrm>
            <a:off x="8079241" y="4407187"/>
            <a:ext cx="27890" cy="71967"/>
          </a:xfrm>
          <a:custGeom>
            <a:avLst/>
            <a:gdLst/>
            <a:ahLst/>
            <a:cxnLst>
              <a:cxn ang="0">
                <a:pos x="3" y="8"/>
              </a:cxn>
              <a:cxn ang="0">
                <a:pos x="2" y="11"/>
              </a:cxn>
              <a:cxn ang="0">
                <a:pos x="7" y="21"/>
              </a:cxn>
              <a:cxn ang="0">
                <a:pos x="3" y="3"/>
              </a:cxn>
              <a:cxn ang="0">
                <a:pos x="3" y="8"/>
              </a:cxn>
            </a:cxnLst>
            <a:rect l="0" t="0" r="r" b="b"/>
            <a:pathLst>
              <a:path w="8" h="23">
                <a:moveTo>
                  <a:pt x="3" y="8"/>
                </a:moveTo>
                <a:cubicBezTo>
                  <a:pt x="5" y="14"/>
                  <a:pt x="2" y="10"/>
                  <a:pt x="2" y="11"/>
                </a:cubicBezTo>
                <a:cubicBezTo>
                  <a:pt x="1" y="13"/>
                  <a:pt x="3" y="17"/>
                  <a:pt x="7" y="21"/>
                </a:cubicBezTo>
                <a:cubicBezTo>
                  <a:pt x="8" y="23"/>
                  <a:pt x="4" y="6"/>
                  <a:pt x="3" y="3"/>
                </a:cubicBezTo>
                <a:cubicBezTo>
                  <a:pt x="3" y="0"/>
                  <a:pt x="0" y="3"/>
                  <a:pt x="3" y="8"/>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57" name="Freeform 56"/>
          <p:cNvSpPr>
            <a:spLocks/>
          </p:cNvSpPr>
          <p:nvPr/>
        </p:nvSpPr>
        <p:spPr bwMode="auto">
          <a:xfrm>
            <a:off x="8116430" y="4458857"/>
            <a:ext cx="50197" cy="53514"/>
          </a:xfrm>
          <a:custGeom>
            <a:avLst/>
            <a:gdLst/>
            <a:ahLst/>
            <a:cxnLst>
              <a:cxn ang="0">
                <a:pos x="6" y="6"/>
              </a:cxn>
              <a:cxn ang="0">
                <a:pos x="1" y="4"/>
              </a:cxn>
              <a:cxn ang="0">
                <a:pos x="11" y="14"/>
              </a:cxn>
              <a:cxn ang="0">
                <a:pos x="6" y="6"/>
              </a:cxn>
            </a:cxnLst>
            <a:rect l="0" t="0" r="r" b="b"/>
            <a:pathLst>
              <a:path w="14" h="17">
                <a:moveTo>
                  <a:pt x="6" y="6"/>
                </a:moveTo>
                <a:cubicBezTo>
                  <a:pt x="2" y="3"/>
                  <a:pt x="0" y="0"/>
                  <a:pt x="1" y="4"/>
                </a:cubicBezTo>
                <a:cubicBezTo>
                  <a:pt x="3" y="7"/>
                  <a:pt x="6" y="10"/>
                  <a:pt x="11" y="14"/>
                </a:cubicBezTo>
                <a:cubicBezTo>
                  <a:pt x="14" y="17"/>
                  <a:pt x="10" y="10"/>
                  <a:pt x="6" y="6"/>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sp>
        <p:nvSpPr>
          <p:cNvPr id="58" name="Freeform 57"/>
          <p:cNvSpPr>
            <a:spLocks/>
          </p:cNvSpPr>
          <p:nvPr/>
        </p:nvSpPr>
        <p:spPr bwMode="auto">
          <a:xfrm>
            <a:off x="6965567" y="4680293"/>
            <a:ext cx="24169" cy="25835"/>
          </a:xfrm>
          <a:custGeom>
            <a:avLst/>
            <a:gdLst/>
            <a:ahLst/>
            <a:cxnLst>
              <a:cxn ang="0">
                <a:pos x="0" y="2"/>
              </a:cxn>
              <a:cxn ang="0">
                <a:pos x="7" y="6"/>
              </a:cxn>
              <a:cxn ang="0">
                <a:pos x="0" y="2"/>
              </a:cxn>
            </a:cxnLst>
            <a:rect l="0" t="0" r="r" b="b"/>
            <a:pathLst>
              <a:path w="7" h="8">
                <a:moveTo>
                  <a:pt x="0" y="2"/>
                </a:moveTo>
                <a:cubicBezTo>
                  <a:pt x="0" y="8"/>
                  <a:pt x="5" y="8"/>
                  <a:pt x="7" y="6"/>
                </a:cubicBezTo>
                <a:cubicBezTo>
                  <a:pt x="7" y="4"/>
                  <a:pt x="5" y="0"/>
                  <a:pt x="0" y="2"/>
                </a:cubicBezTo>
                <a:close/>
              </a:path>
            </a:pathLst>
          </a:custGeom>
          <a:solidFill>
            <a:schemeClr val="bg2">
              <a:lumMod val="20000"/>
              <a:lumOff val="80000"/>
            </a:schemeClr>
          </a:solidFill>
          <a:ln w="6350" cap="rnd" cmpd="sng">
            <a:solidFill>
              <a:schemeClr val="bg2">
                <a:lumMod val="50000"/>
              </a:schemeClr>
            </a:solidFill>
            <a:prstDash val="solid"/>
            <a:round/>
            <a:headEnd/>
            <a:tailEnd/>
          </a:ln>
        </p:spPr>
        <p:txBody>
          <a:bodyPr/>
          <a:lstStyle/>
          <a:p>
            <a:pPr>
              <a:defRPr/>
            </a:pPr>
            <a:endParaRPr lang="de-DE" sz="1800">
              <a:solidFill>
                <a:srgbClr val="000000"/>
              </a:solidFill>
              <a:latin typeface="Arial" charset="0"/>
              <a:ea typeface="ＭＳ Ｐゴシック"/>
            </a:endParaRPr>
          </a:p>
        </p:txBody>
      </p:sp>
      <p:cxnSp>
        <p:nvCxnSpPr>
          <p:cNvPr id="62" name="Straight Arrow Connector 467"/>
          <p:cNvCxnSpPr/>
          <p:nvPr/>
        </p:nvCxnSpPr>
        <p:spPr>
          <a:xfrm flipH="1">
            <a:off x="8391097" y="2459088"/>
            <a:ext cx="1601286" cy="1138517"/>
          </a:xfrm>
          <a:prstGeom prst="straightConnector1">
            <a:avLst/>
          </a:prstGeom>
          <a:ln>
            <a:solidFill>
              <a:schemeClr val="tx1"/>
            </a:solidFill>
            <a:tailEnd type="triangle" w="med" len="lg"/>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3" name="Straight Arrow Connector 467"/>
          <p:cNvCxnSpPr/>
          <p:nvPr/>
        </p:nvCxnSpPr>
        <p:spPr>
          <a:xfrm flipH="1">
            <a:off x="8116434" y="3329019"/>
            <a:ext cx="1788232" cy="571628"/>
          </a:xfrm>
          <a:prstGeom prst="straightConnector1">
            <a:avLst/>
          </a:prstGeom>
          <a:ln>
            <a:solidFill>
              <a:schemeClr val="tx1"/>
            </a:solidFill>
            <a:tailEnd type="triangle" w="med" len="lg"/>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4" name="TextBox 454"/>
          <p:cNvSpPr txBox="1"/>
          <p:nvPr/>
        </p:nvSpPr>
        <p:spPr>
          <a:xfrm>
            <a:off x="10248260" y="3025230"/>
            <a:ext cx="1402984" cy="572701"/>
          </a:xfrm>
          <a:prstGeom prst="rect">
            <a:avLst/>
          </a:prstGeom>
          <a:noFill/>
        </p:spPr>
        <p:txBody>
          <a:bodyPr wrap="square" lIns="0" tIns="0" rIns="0" bIns="0" rtlCol="0">
            <a:noAutofit/>
          </a:bodyPr>
          <a:lstStyle/>
          <a:p>
            <a:pPr indent="-274138"/>
            <a:r>
              <a:rPr lang="de-DE" sz="1400" b="1" dirty="0" err="1">
                <a:solidFill>
                  <a:schemeClr val="accent1"/>
                </a:solidFill>
                <a:ea typeface="ＭＳ Ｐゴシック"/>
              </a:rPr>
              <a:t>Czechia</a:t>
            </a:r>
            <a:endParaRPr lang="de-DE" sz="1400" b="1" dirty="0">
              <a:solidFill>
                <a:schemeClr val="accent1"/>
              </a:solidFill>
              <a:ea typeface="ＭＳ Ｐゴシック"/>
            </a:endParaRPr>
          </a:p>
          <a:p>
            <a:pPr indent="-274138"/>
            <a:r>
              <a:rPr lang="de-DE" sz="1000" b="1" dirty="0">
                <a:latin typeface="Arial"/>
                <a:ea typeface="ＭＳ Ｐゴシック"/>
              </a:rPr>
              <a:t>POS Systems </a:t>
            </a:r>
          </a:p>
        </p:txBody>
      </p:sp>
      <p:cxnSp>
        <p:nvCxnSpPr>
          <p:cNvPr id="67" name="Straight Arrow Connector 467"/>
          <p:cNvCxnSpPr/>
          <p:nvPr/>
        </p:nvCxnSpPr>
        <p:spPr>
          <a:xfrm flipH="1" flipV="1">
            <a:off x="9088117" y="4697202"/>
            <a:ext cx="1555847" cy="697229"/>
          </a:xfrm>
          <a:prstGeom prst="straightConnector1">
            <a:avLst/>
          </a:prstGeom>
          <a:ln>
            <a:solidFill>
              <a:schemeClr val="tx1"/>
            </a:solidFill>
            <a:tailEnd type="triangle" w="med" len="lg"/>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8" name="TextBox 454"/>
          <p:cNvSpPr txBox="1"/>
          <p:nvPr/>
        </p:nvSpPr>
        <p:spPr>
          <a:xfrm>
            <a:off x="7554888" y="5495985"/>
            <a:ext cx="2311568" cy="1117476"/>
          </a:xfrm>
          <a:prstGeom prst="rect">
            <a:avLst/>
          </a:prstGeom>
          <a:noFill/>
        </p:spPr>
        <p:txBody>
          <a:bodyPr wrap="square" lIns="0" tIns="0" rIns="0" bIns="0" rtlCol="0">
            <a:noAutofit/>
          </a:bodyPr>
          <a:lstStyle/>
          <a:p>
            <a:pPr indent="-274138"/>
            <a:r>
              <a:rPr lang="de-DE" sz="1400" b="1" dirty="0" err="1">
                <a:solidFill>
                  <a:schemeClr val="accent1"/>
                </a:solidFill>
                <a:latin typeface="Arial"/>
                <a:ea typeface="ＭＳ Ｐゴシック"/>
              </a:rPr>
              <a:t>Greece</a:t>
            </a:r>
            <a:endParaRPr lang="de-DE" sz="1400" b="1" dirty="0">
              <a:solidFill>
                <a:schemeClr val="accent1"/>
              </a:solidFill>
              <a:latin typeface="Arial"/>
              <a:ea typeface="ＭＳ Ｐゴシック"/>
            </a:endParaRPr>
          </a:p>
          <a:p>
            <a:pPr>
              <a:spcAft>
                <a:spcPts val="300"/>
              </a:spcAft>
            </a:pPr>
            <a:r>
              <a:rPr lang="de-DE" sz="1000" b="1" dirty="0">
                <a:latin typeface="Arial"/>
                <a:ea typeface="ＭＳ Ｐゴシック"/>
              </a:rPr>
              <a:t>Support WWS/LSYS</a:t>
            </a:r>
          </a:p>
          <a:p>
            <a:pPr>
              <a:spcAft>
                <a:spcPts val="300"/>
              </a:spcAft>
            </a:pPr>
            <a:r>
              <a:rPr lang="de-DE" sz="1000" b="1" dirty="0" err="1">
                <a:latin typeface="Arial"/>
                <a:ea typeface="ＭＳ Ｐゴシック"/>
              </a:rPr>
              <a:t>Product</a:t>
            </a:r>
            <a:r>
              <a:rPr lang="de-DE" sz="1000" b="1" dirty="0">
                <a:latin typeface="Arial"/>
                <a:ea typeface="ＭＳ Ｐゴシック"/>
              </a:rPr>
              <a:t> </a:t>
            </a:r>
            <a:r>
              <a:rPr lang="de-DE" sz="1000" b="1" dirty="0" err="1">
                <a:latin typeface="Arial"/>
                <a:ea typeface="ＭＳ Ｐゴシック"/>
              </a:rPr>
              <a:t>management</a:t>
            </a:r>
            <a:r>
              <a:rPr lang="de-DE" sz="1000" b="1" dirty="0">
                <a:latin typeface="Arial"/>
                <a:ea typeface="ＭＳ Ｐゴシック"/>
              </a:rPr>
              <a:t> </a:t>
            </a:r>
            <a:r>
              <a:rPr lang="de-DE" sz="1000" b="1" dirty="0" err="1">
                <a:latin typeface="Arial"/>
                <a:ea typeface="ＭＳ Ｐゴシック"/>
              </a:rPr>
              <a:t>WaWi</a:t>
            </a:r>
            <a:r>
              <a:rPr lang="de-DE" sz="1000" b="1" dirty="0">
                <a:latin typeface="Arial"/>
                <a:ea typeface="ＭＳ Ｐゴシック"/>
              </a:rPr>
              <a:t>/FWWS</a:t>
            </a:r>
          </a:p>
          <a:p>
            <a:pPr>
              <a:spcAft>
                <a:spcPts val="300"/>
              </a:spcAft>
            </a:pPr>
            <a:r>
              <a:rPr lang="de-DE" sz="1000" b="1" dirty="0">
                <a:ea typeface="ＭＳ Ｐゴシック"/>
              </a:rPr>
              <a:t>APEX Development</a:t>
            </a:r>
            <a:endParaRPr lang="de-DE" sz="1000" b="1" dirty="0">
              <a:latin typeface="Arial"/>
              <a:ea typeface="ＭＳ Ｐゴシック"/>
            </a:endParaRPr>
          </a:p>
          <a:p>
            <a:pPr>
              <a:spcAft>
                <a:spcPts val="300"/>
              </a:spcAft>
            </a:pPr>
            <a:r>
              <a:rPr lang="de-DE" sz="1000" b="1" dirty="0" err="1">
                <a:ea typeface="ＭＳ Ｐゴシック"/>
              </a:rPr>
              <a:t>Application</a:t>
            </a:r>
            <a:r>
              <a:rPr lang="de-DE" sz="1000" b="1" dirty="0">
                <a:ea typeface="ＭＳ Ｐゴシック"/>
              </a:rPr>
              <a:t> </a:t>
            </a:r>
            <a:r>
              <a:rPr lang="de-DE" sz="1000" b="1" dirty="0" err="1">
                <a:ea typeface="ＭＳ Ｐゴシック"/>
              </a:rPr>
              <a:t>development</a:t>
            </a:r>
            <a:r>
              <a:rPr lang="de-DE" sz="1000" b="1" dirty="0">
                <a:latin typeface="Arial"/>
                <a:ea typeface="ＭＳ Ｐゴシック"/>
              </a:rPr>
              <a:t> WWS</a:t>
            </a:r>
          </a:p>
          <a:p>
            <a:pPr>
              <a:spcAft>
                <a:spcPts val="300"/>
              </a:spcAft>
            </a:pPr>
            <a:endParaRPr lang="de-DE" sz="1000" b="1" dirty="0">
              <a:latin typeface="Arial"/>
              <a:ea typeface="ＭＳ Ｐゴシック"/>
            </a:endParaRPr>
          </a:p>
        </p:txBody>
      </p:sp>
      <p:cxnSp>
        <p:nvCxnSpPr>
          <p:cNvPr id="69" name="Straight Arrow Connector 467"/>
          <p:cNvCxnSpPr>
            <a:stCxn id="68" idx="0"/>
          </p:cNvCxnSpPr>
          <p:nvPr/>
        </p:nvCxnSpPr>
        <p:spPr>
          <a:xfrm flipV="1">
            <a:off x="8710672" y="5094566"/>
            <a:ext cx="52722" cy="401421"/>
          </a:xfrm>
          <a:prstGeom prst="straightConnector1">
            <a:avLst/>
          </a:prstGeom>
          <a:ln>
            <a:solidFill>
              <a:schemeClr val="tx1"/>
            </a:solidFill>
            <a:tailEnd type="triangle" w="med" len="lg"/>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6394065" y="2693001"/>
            <a:ext cx="682435" cy="1407863"/>
          </a:xfrm>
          <a:prstGeom prst="straightConnector1">
            <a:avLst/>
          </a:prstGeom>
          <a:ln>
            <a:solidFill>
              <a:schemeClr val="tx1"/>
            </a:solidFill>
            <a:tailEnd type="triangle" w="med" len="lg"/>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1" name="Freeform 31"/>
          <p:cNvSpPr>
            <a:spLocks/>
          </p:cNvSpPr>
          <p:nvPr/>
        </p:nvSpPr>
        <p:spPr bwMode="auto">
          <a:xfrm>
            <a:off x="8289336" y="3914485"/>
            <a:ext cx="520583" cy="223286"/>
          </a:xfrm>
          <a:custGeom>
            <a:avLst/>
            <a:gdLst/>
            <a:ahLst/>
            <a:cxnLst>
              <a:cxn ang="0">
                <a:pos x="131" y="13"/>
              </a:cxn>
              <a:cxn ang="0">
                <a:pos x="95" y="10"/>
              </a:cxn>
              <a:cxn ang="0">
                <a:pos x="84" y="18"/>
              </a:cxn>
              <a:cxn ang="0">
                <a:pos x="79" y="14"/>
              </a:cxn>
              <a:cxn ang="0">
                <a:pos x="66" y="6"/>
              </a:cxn>
              <a:cxn ang="0">
                <a:pos x="58" y="9"/>
              </a:cxn>
              <a:cxn ang="0">
                <a:pos x="55" y="6"/>
              </a:cxn>
              <a:cxn ang="0">
                <a:pos x="29" y="29"/>
              </a:cxn>
              <a:cxn ang="0">
                <a:pos x="9" y="37"/>
              </a:cxn>
              <a:cxn ang="0">
                <a:pos x="13" y="59"/>
              </a:cxn>
              <a:cxn ang="0">
                <a:pos x="37" y="70"/>
              </a:cxn>
              <a:cxn ang="0">
                <a:pos x="55" y="67"/>
              </a:cxn>
              <a:cxn ang="0">
                <a:pos x="56" y="58"/>
              </a:cxn>
              <a:cxn ang="0">
                <a:pos x="72" y="55"/>
              </a:cxn>
              <a:cxn ang="0">
                <a:pos x="82" y="56"/>
              </a:cxn>
              <a:cxn ang="0">
                <a:pos x="91" y="51"/>
              </a:cxn>
              <a:cxn ang="0">
                <a:pos x="99" y="40"/>
              </a:cxn>
              <a:cxn ang="0">
                <a:pos x="115" y="41"/>
              </a:cxn>
              <a:cxn ang="0">
                <a:pos x="125" y="47"/>
              </a:cxn>
              <a:cxn ang="0">
                <a:pos x="135" y="45"/>
              </a:cxn>
              <a:cxn ang="0">
                <a:pos x="143" y="31"/>
              </a:cxn>
              <a:cxn ang="0">
                <a:pos x="146" y="22"/>
              </a:cxn>
              <a:cxn ang="0">
                <a:pos x="131" y="13"/>
              </a:cxn>
            </a:cxnLst>
            <a:rect l="0" t="0" r="r" b="b"/>
            <a:pathLst>
              <a:path w="147" h="72">
                <a:moveTo>
                  <a:pt x="131" y="13"/>
                </a:moveTo>
                <a:cubicBezTo>
                  <a:pt x="117" y="8"/>
                  <a:pt x="99" y="10"/>
                  <a:pt x="95" y="10"/>
                </a:cubicBezTo>
                <a:cubicBezTo>
                  <a:pt x="89" y="9"/>
                  <a:pt x="87" y="20"/>
                  <a:pt x="84" y="18"/>
                </a:cubicBezTo>
                <a:cubicBezTo>
                  <a:pt x="81" y="15"/>
                  <a:pt x="77" y="19"/>
                  <a:pt x="79" y="14"/>
                </a:cubicBezTo>
                <a:cubicBezTo>
                  <a:pt x="81" y="6"/>
                  <a:pt x="70" y="0"/>
                  <a:pt x="66" y="6"/>
                </a:cubicBezTo>
                <a:cubicBezTo>
                  <a:pt x="61" y="12"/>
                  <a:pt x="58" y="12"/>
                  <a:pt x="58" y="9"/>
                </a:cubicBezTo>
                <a:cubicBezTo>
                  <a:pt x="58" y="6"/>
                  <a:pt x="57" y="7"/>
                  <a:pt x="55" y="6"/>
                </a:cubicBezTo>
                <a:cubicBezTo>
                  <a:pt x="29" y="15"/>
                  <a:pt x="42" y="22"/>
                  <a:pt x="29" y="29"/>
                </a:cubicBezTo>
                <a:cubicBezTo>
                  <a:pt x="21" y="34"/>
                  <a:pt x="15" y="24"/>
                  <a:pt x="9" y="37"/>
                </a:cubicBezTo>
                <a:cubicBezTo>
                  <a:pt x="7" y="46"/>
                  <a:pt x="0" y="45"/>
                  <a:pt x="13" y="59"/>
                </a:cubicBezTo>
                <a:cubicBezTo>
                  <a:pt x="21" y="60"/>
                  <a:pt x="24" y="72"/>
                  <a:pt x="37" y="70"/>
                </a:cubicBezTo>
                <a:cubicBezTo>
                  <a:pt x="50" y="68"/>
                  <a:pt x="53" y="67"/>
                  <a:pt x="55" y="67"/>
                </a:cubicBezTo>
                <a:cubicBezTo>
                  <a:pt x="56" y="67"/>
                  <a:pt x="49" y="60"/>
                  <a:pt x="56" y="58"/>
                </a:cubicBezTo>
                <a:cubicBezTo>
                  <a:pt x="63" y="56"/>
                  <a:pt x="70" y="62"/>
                  <a:pt x="72" y="55"/>
                </a:cubicBezTo>
                <a:cubicBezTo>
                  <a:pt x="74" y="48"/>
                  <a:pt x="79" y="57"/>
                  <a:pt x="82" y="56"/>
                </a:cubicBezTo>
                <a:cubicBezTo>
                  <a:pt x="85" y="55"/>
                  <a:pt x="90" y="52"/>
                  <a:pt x="91" y="51"/>
                </a:cubicBezTo>
                <a:cubicBezTo>
                  <a:pt x="95" y="49"/>
                  <a:pt x="93" y="41"/>
                  <a:pt x="99" y="40"/>
                </a:cubicBezTo>
                <a:cubicBezTo>
                  <a:pt x="106" y="39"/>
                  <a:pt x="109" y="45"/>
                  <a:pt x="115" y="41"/>
                </a:cubicBezTo>
                <a:cubicBezTo>
                  <a:pt x="122" y="36"/>
                  <a:pt x="123" y="45"/>
                  <a:pt x="125" y="47"/>
                </a:cubicBezTo>
                <a:cubicBezTo>
                  <a:pt x="127" y="49"/>
                  <a:pt x="135" y="46"/>
                  <a:pt x="135" y="45"/>
                </a:cubicBezTo>
                <a:cubicBezTo>
                  <a:pt x="138" y="34"/>
                  <a:pt x="142" y="36"/>
                  <a:pt x="143" y="31"/>
                </a:cubicBezTo>
                <a:cubicBezTo>
                  <a:pt x="145" y="25"/>
                  <a:pt x="147" y="25"/>
                  <a:pt x="146" y="22"/>
                </a:cubicBezTo>
                <a:cubicBezTo>
                  <a:pt x="129" y="17"/>
                  <a:pt x="135" y="14"/>
                  <a:pt x="131" y="13"/>
                </a:cubicBezTo>
                <a:close/>
              </a:path>
            </a:pathLst>
          </a:custGeom>
          <a:solidFill>
            <a:schemeClr val="bg2">
              <a:lumMod val="20000"/>
              <a:lumOff val="80000"/>
            </a:schemeClr>
          </a:solidFill>
          <a:ln w="6350" cap="rnd" cmpd="sng">
            <a:solidFill>
              <a:schemeClr val="bg2">
                <a:lumMod val="50000"/>
              </a:schemeClr>
            </a:solidFill>
            <a:prstDash val="solid"/>
            <a:round/>
            <a:headEnd type="none" w="med" len="med"/>
            <a:tailEnd type="none" w="med" len="med"/>
          </a:ln>
          <a:effectLst/>
        </p:spPr>
        <p:txBody>
          <a:bodyPr/>
          <a:lstStyle/>
          <a:p>
            <a:endParaRPr lang="de-DE" sz="1800">
              <a:solidFill>
                <a:srgbClr val="000000"/>
              </a:solidFill>
              <a:latin typeface="Arial" charset="0"/>
              <a:ea typeface="ＭＳ Ｐゴシック"/>
            </a:endParaRPr>
          </a:p>
        </p:txBody>
      </p:sp>
      <p:sp>
        <p:nvSpPr>
          <p:cNvPr id="75" name="TextBox 454"/>
          <p:cNvSpPr txBox="1"/>
          <p:nvPr/>
        </p:nvSpPr>
        <p:spPr>
          <a:xfrm>
            <a:off x="4724935" y="5114493"/>
            <a:ext cx="2075980" cy="644469"/>
          </a:xfrm>
          <a:prstGeom prst="rect">
            <a:avLst/>
          </a:prstGeom>
          <a:noFill/>
        </p:spPr>
        <p:txBody>
          <a:bodyPr wrap="square" lIns="0" tIns="0" rIns="0" bIns="0" rtlCol="0">
            <a:noAutofit/>
          </a:bodyPr>
          <a:lstStyle/>
          <a:p>
            <a:pPr indent="-274138"/>
            <a:r>
              <a:rPr lang="de-DE" sz="1400" b="1" dirty="0">
                <a:solidFill>
                  <a:schemeClr val="accent1"/>
                </a:solidFill>
                <a:latin typeface="Arial"/>
                <a:ea typeface="ＭＳ Ｐゴシック"/>
              </a:rPr>
              <a:t>Spain</a:t>
            </a:r>
          </a:p>
          <a:p>
            <a:pPr>
              <a:spcAft>
                <a:spcPts val="300"/>
              </a:spcAft>
            </a:pPr>
            <a:r>
              <a:rPr lang="de-DE" sz="1000" b="1" dirty="0">
                <a:latin typeface="Arial"/>
                <a:ea typeface="ＭＳ Ｐゴシック"/>
              </a:rPr>
              <a:t>SAP Support</a:t>
            </a:r>
          </a:p>
          <a:p>
            <a:pPr>
              <a:spcAft>
                <a:spcPts val="300"/>
              </a:spcAft>
            </a:pPr>
            <a:r>
              <a:rPr lang="de-DE" sz="1000" b="1" dirty="0">
                <a:latin typeface="Arial"/>
                <a:ea typeface="ＭＳ Ｐゴシック"/>
              </a:rPr>
              <a:t>Lidl Payment Security</a:t>
            </a:r>
          </a:p>
          <a:p>
            <a:pPr>
              <a:spcAft>
                <a:spcPts val="300"/>
              </a:spcAft>
            </a:pPr>
            <a:r>
              <a:rPr lang="de-DE" sz="1000" b="1" dirty="0">
                <a:latin typeface="Arial"/>
                <a:ea typeface="ＭＳ Ｐゴシック"/>
              </a:rPr>
              <a:t>Salesforce Support</a:t>
            </a:r>
          </a:p>
          <a:p>
            <a:pPr>
              <a:spcAft>
                <a:spcPts val="300"/>
              </a:spcAft>
            </a:pPr>
            <a:r>
              <a:rPr lang="de-DE" sz="1000" b="1" dirty="0">
                <a:latin typeface="Arial"/>
                <a:ea typeface="ＭＳ Ｐゴシック"/>
              </a:rPr>
              <a:t>Salesforce </a:t>
            </a:r>
            <a:r>
              <a:rPr lang="de-DE" sz="1000" b="1" dirty="0" err="1">
                <a:latin typeface="Arial"/>
                <a:ea typeface="ＭＳ Ｐゴシック"/>
              </a:rPr>
              <a:t>Appl</a:t>
            </a:r>
            <a:r>
              <a:rPr lang="de-DE" sz="1000" b="1" dirty="0">
                <a:latin typeface="Arial"/>
                <a:ea typeface="ＭＳ Ｐゴシック"/>
              </a:rPr>
              <a:t>. Development</a:t>
            </a:r>
          </a:p>
          <a:p>
            <a:pPr>
              <a:spcAft>
                <a:spcPts val="300"/>
              </a:spcAft>
            </a:pPr>
            <a:r>
              <a:rPr lang="de-DE" sz="1000" b="1" dirty="0">
                <a:latin typeface="Arial"/>
                <a:ea typeface="ＭＳ Ｐゴシック"/>
              </a:rPr>
              <a:t>E-Commerce</a:t>
            </a:r>
          </a:p>
          <a:p>
            <a:pPr>
              <a:spcAft>
                <a:spcPts val="300"/>
              </a:spcAft>
            </a:pPr>
            <a:r>
              <a:rPr lang="de-DE" sz="1000" b="1" dirty="0">
                <a:ea typeface="ＭＳ Ｐゴシック"/>
              </a:rPr>
              <a:t>Technical Consulting</a:t>
            </a:r>
          </a:p>
        </p:txBody>
      </p:sp>
      <p:cxnSp>
        <p:nvCxnSpPr>
          <p:cNvPr id="76" name="Straight Arrow Connector 467"/>
          <p:cNvCxnSpPr/>
          <p:nvPr/>
        </p:nvCxnSpPr>
        <p:spPr>
          <a:xfrm flipV="1">
            <a:off x="5457410" y="4968165"/>
            <a:ext cx="1318179" cy="236536"/>
          </a:xfrm>
          <a:prstGeom prst="straightConnector1">
            <a:avLst/>
          </a:prstGeom>
          <a:ln>
            <a:solidFill>
              <a:schemeClr val="tx1"/>
            </a:solidFill>
            <a:tailEnd type="triangle" w="med" len="lg"/>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9" name="Straight Arrow Connector 467"/>
          <p:cNvCxnSpPr/>
          <p:nvPr/>
        </p:nvCxnSpPr>
        <p:spPr>
          <a:xfrm flipH="1" flipV="1">
            <a:off x="8845155" y="4434385"/>
            <a:ext cx="1403104" cy="56714"/>
          </a:xfrm>
          <a:prstGeom prst="straightConnector1">
            <a:avLst/>
          </a:prstGeom>
          <a:ln>
            <a:solidFill>
              <a:schemeClr val="tx1"/>
            </a:solidFill>
            <a:tailEnd type="triangle" w="med" len="lg"/>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83" name="Land Masses"/>
          <p:cNvGrpSpPr>
            <a:grpSpLocks/>
          </p:cNvGrpSpPr>
          <p:nvPr>
            <p:custDataLst>
              <p:tags r:id="rId4"/>
            </p:custDataLst>
          </p:nvPr>
        </p:nvGrpSpPr>
        <p:grpSpPr>
          <a:xfrm>
            <a:off x="619213" y="1348266"/>
            <a:ext cx="5533443" cy="2585691"/>
            <a:chOff x="1027111" y="1663676"/>
            <a:chExt cx="7075477" cy="3517847"/>
          </a:xfrm>
          <a:solidFill>
            <a:schemeClr val="bg2">
              <a:lumMod val="20000"/>
              <a:lumOff val="80000"/>
            </a:schemeClr>
          </a:solidFill>
        </p:grpSpPr>
        <p:sp>
          <p:nvSpPr>
            <p:cNvPr id="84" name="Freeform 2"/>
            <p:cNvSpPr>
              <a:spLocks/>
            </p:cNvSpPr>
            <p:nvPr/>
          </p:nvSpPr>
          <p:spPr bwMode="auto">
            <a:xfrm>
              <a:off x="3998906" y="3149554"/>
              <a:ext cx="1347785" cy="1511277"/>
            </a:xfrm>
            <a:custGeom>
              <a:avLst/>
              <a:gdLst/>
              <a:ahLst/>
              <a:cxnLst>
                <a:cxn ang="0">
                  <a:pos x="505" y="72"/>
                </a:cxn>
                <a:cxn ang="0">
                  <a:pos x="569" y="88"/>
                </a:cxn>
                <a:cxn ang="0">
                  <a:pos x="625" y="88"/>
                </a:cxn>
                <a:cxn ang="0">
                  <a:pos x="649" y="96"/>
                </a:cxn>
                <a:cxn ang="0">
                  <a:pos x="641" y="136"/>
                </a:cxn>
                <a:cxn ang="0">
                  <a:pos x="617" y="104"/>
                </a:cxn>
                <a:cxn ang="0">
                  <a:pos x="657" y="184"/>
                </a:cxn>
                <a:cxn ang="0">
                  <a:pos x="673" y="216"/>
                </a:cxn>
                <a:cxn ang="0">
                  <a:pos x="689" y="256"/>
                </a:cxn>
                <a:cxn ang="0">
                  <a:pos x="729" y="304"/>
                </a:cxn>
                <a:cxn ang="0">
                  <a:pos x="753" y="328"/>
                </a:cxn>
                <a:cxn ang="0">
                  <a:pos x="753" y="344"/>
                </a:cxn>
                <a:cxn ang="0">
                  <a:pos x="777" y="352"/>
                </a:cxn>
                <a:cxn ang="0">
                  <a:pos x="801" y="352"/>
                </a:cxn>
                <a:cxn ang="0">
                  <a:pos x="849" y="344"/>
                </a:cxn>
                <a:cxn ang="0">
                  <a:pos x="809" y="440"/>
                </a:cxn>
                <a:cxn ang="0">
                  <a:pos x="713" y="544"/>
                </a:cxn>
                <a:cxn ang="0">
                  <a:pos x="705" y="600"/>
                </a:cxn>
                <a:cxn ang="0">
                  <a:pos x="713" y="632"/>
                </a:cxn>
                <a:cxn ang="0">
                  <a:pos x="721" y="696"/>
                </a:cxn>
                <a:cxn ang="0">
                  <a:pos x="649" y="736"/>
                </a:cxn>
                <a:cxn ang="0">
                  <a:pos x="657" y="784"/>
                </a:cxn>
                <a:cxn ang="0">
                  <a:pos x="625" y="824"/>
                </a:cxn>
                <a:cxn ang="0">
                  <a:pos x="625" y="848"/>
                </a:cxn>
                <a:cxn ang="0">
                  <a:pos x="585" y="904"/>
                </a:cxn>
                <a:cxn ang="0">
                  <a:pos x="537" y="936"/>
                </a:cxn>
                <a:cxn ang="0">
                  <a:pos x="497" y="936"/>
                </a:cxn>
                <a:cxn ang="0">
                  <a:pos x="449" y="944"/>
                </a:cxn>
                <a:cxn ang="0">
                  <a:pos x="441" y="912"/>
                </a:cxn>
                <a:cxn ang="0">
                  <a:pos x="393" y="816"/>
                </a:cxn>
                <a:cxn ang="0">
                  <a:pos x="385" y="768"/>
                </a:cxn>
                <a:cxn ang="0">
                  <a:pos x="385" y="648"/>
                </a:cxn>
                <a:cxn ang="0">
                  <a:pos x="369" y="584"/>
                </a:cxn>
                <a:cxn ang="0">
                  <a:pos x="328" y="512"/>
                </a:cxn>
                <a:cxn ang="0">
                  <a:pos x="336" y="480"/>
                </a:cxn>
                <a:cxn ang="0">
                  <a:pos x="336" y="456"/>
                </a:cxn>
                <a:cxn ang="0">
                  <a:pos x="296" y="440"/>
                </a:cxn>
                <a:cxn ang="0">
                  <a:pos x="216" y="424"/>
                </a:cxn>
                <a:cxn ang="0">
                  <a:pos x="152" y="432"/>
                </a:cxn>
                <a:cxn ang="0">
                  <a:pos x="64" y="408"/>
                </a:cxn>
                <a:cxn ang="0">
                  <a:pos x="16" y="336"/>
                </a:cxn>
                <a:cxn ang="0">
                  <a:pos x="8" y="320"/>
                </a:cxn>
                <a:cxn ang="0">
                  <a:pos x="16" y="272"/>
                </a:cxn>
                <a:cxn ang="0">
                  <a:pos x="24" y="200"/>
                </a:cxn>
                <a:cxn ang="0">
                  <a:pos x="80" y="128"/>
                </a:cxn>
                <a:cxn ang="0">
                  <a:pos x="96" y="88"/>
                </a:cxn>
                <a:cxn ang="0">
                  <a:pos x="144" y="32"/>
                </a:cxn>
                <a:cxn ang="0">
                  <a:pos x="152" y="24"/>
                </a:cxn>
                <a:cxn ang="0">
                  <a:pos x="216" y="16"/>
                </a:cxn>
                <a:cxn ang="0">
                  <a:pos x="288" y="8"/>
                </a:cxn>
                <a:cxn ang="0">
                  <a:pos x="328" y="0"/>
                </a:cxn>
                <a:cxn ang="0">
                  <a:pos x="352" y="0"/>
                </a:cxn>
                <a:cxn ang="0">
                  <a:pos x="352" y="16"/>
                </a:cxn>
                <a:cxn ang="0">
                  <a:pos x="352" y="48"/>
                </a:cxn>
                <a:cxn ang="0">
                  <a:pos x="393" y="64"/>
                </a:cxn>
                <a:cxn ang="0">
                  <a:pos x="465" y="80"/>
                </a:cxn>
                <a:cxn ang="0">
                  <a:pos x="489" y="64"/>
                </a:cxn>
              </a:cxnLst>
              <a:rect l="0" t="0" r="r" b="b"/>
              <a:pathLst>
                <a:path w="849" h="952">
                  <a:moveTo>
                    <a:pt x="497" y="64"/>
                  </a:moveTo>
                  <a:lnTo>
                    <a:pt x="497" y="64"/>
                  </a:lnTo>
                  <a:lnTo>
                    <a:pt x="497" y="64"/>
                  </a:lnTo>
                  <a:lnTo>
                    <a:pt x="505" y="72"/>
                  </a:lnTo>
                  <a:lnTo>
                    <a:pt x="505" y="80"/>
                  </a:lnTo>
                  <a:lnTo>
                    <a:pt x="521" y="80"/>
                  </a:lnTo>
                  <a:lnTo>
                    <a:pt x="537" y="80"/>
                  </a:lnTo>
                  <a:lnTo>
                    <a:pt x="569" y="88"/>
                  </a:lnTo>
                  <a:lnTo>
                    <a:pt x="585" y="88"/>
                  </a:lnTo>
                  <a:lnTo>
                    <a:pt x="601" y="80"/>
                  </a:lnTo>
                  <a:lnTo>
                    <a:pt x="609" y="80"/>
                  </a:lnTo>
                  <a:lnTo>
                    <a:pt x="625" y="88"/>
                  </a:lnTo>
                  <a:lnTo>
                    <a:pt x="633" y="88"/>
                  </a:lnTo>
                  <a:lnTo>
                    <a:pt x="641" y="88"/>
                  </a:lnTo>
                  <a:lnTo>
                    <a:pt x="641" y="88"/>
                  </a:lnTo>
                  <a:lnTo>
                    <a:pt x="649" y="96"/>
                  </a:lnTo>
                  <a:lnTo>
                    <a:pt x="649" y="104"/>
                  </a:lnTo>
                  <a:lnTo>
                    <a:pt x="649" y="112"/>
                  </a:lnTo>
                  <a:lnTo>
                    <a:pt x="641" y="128"/>
                  </a:lnTo>
                  <a:lnTo>
                    <a:pt x="641" y="136"/>
                  </a:lnTo>
                  <a:lnTo>
                    <a:pt x="641" y="136"/>
                  </a:lnTo>
                  <a:lnTo>
                    <a:pt x="633" y="128"/>
                  </a:lnTo>
                  <a:lnTo>
                    <a:pt x="625" y="112"/>
                  </a:lnTo>
                  <a:lnTo>
                    <a:pt x="617" y="104"/>
                  </a:lnTo>
                  <a:lnTo>
                    <a:pt x="617" y="104"/>
                  </a:lnTo>
                  <a:lnTo>
                    <a:pt x="617" y="112"/>
                  </a:lnTo>
                  <a:lnTo>
                    <a:pt x="617" y="112"/>
                  </a:lnTo>
                  <a:lnTo>
                    <a:pt x="657" y="184"/>
                  </a:lnTo>
                  <a:lnTo>
                    <a:pt x="657" y="192"/>
                  </a:lnTo>
                  <a:lnTo>
                    <a:pt x="657" y="192"/>
                  </a:lnTo>
                  <a:lnTo>
                    <a:pt x="673" y="216"/>
                  </a:lnTo>
                  <a:lnTo>
                    <a:pt x="673" y="216"/>
                  </a:lnTo>
                  <a:lnTo>
                    <a:pt x="673" y="216"/>
                  </a:lnTo>
                  <a:lnTo>
                    <a:pt x="673" y="240"/>
                  </a:lnTo>
                  <a:lnTo>
                    <a:pt x="681" y="248"/>
                  </a:lnTo>
                  <a:lnTo>
                    <a:pt x="689" y="256"/>
                  </a:lnTo>
                  <a:lnTo>
                    <a:pt x="697" y="280"/>
                  </a:lnTo>
                  <a:lnTo>
                    <a:pt x="713" y="296"/>
                  </a:lnTo>
                  <a:lnTo>
                    <a:pt x="721" y="304"/>
                  </a:lnTo>
                  <a:lnTo>
                    <a:pt x="729" y="304"/>
                  </a:lnTo>
                  <a:lnTo>
                    <a:pt x="729" y="304"/>
                  </a:lnTo>
                  <a:lnTo>
                    <a:pt x="737" y="320"/>
                  </a:lnTo>
                  <a:lnTo>
                    <a:pt x="745" y="328"/>
                  </a:lnTo>
                  <a:lnTo>
                    <a:pt x="753" y="328"/>
                  </a:lnTo>
                  <a:lnTo>
                    <a:pt x="753" y="328"/>
                  </a:lnTo>
                  <a:lnTo>
                    <a:pt x="753" y="336"/>
                  </a:lnTo>
                  <a:lnTo>
                    <a:pt x="753" y="336"/>
                  </a:lnTo>
                  <a:lnTo>
                    <a:pt x="753" y="344"/>
                  </a:lnTo>
                  <a:lnTo>
                    <a:pt x="753" y="344"/>
                  </a:lnTo>
                  <a:lnTo>
                    <a:pt x="761" y="352"/>
                  </a:lnTo>
                  <a:lnTo>
                    <a:pt x="777" y="360"/>
                  </a:lnTo>
                  <a:lnTo>
                    <a:pt x="777" y="352"/>
                  </a:lnTo>
                  <a:lnTo>
                    <a:pt x="785" y="352"/>
                  </a:lnTo>
                  <a:lnTo>
                    <a:pt x="793" y="352"/>
                  </a:lnTo>
                  <a:lnTo>
                    <a:pt x="801" y="352"/>
                  </a:lnTo>
                  <a:lnTo>
                    <a:pt x="801" y="352"/>
                  </a:lnTo>
                  <a:lnTo>
                    <a:pt x="809" y="352"/>
                  </a:lnTo>
                  <a:lnTo>
                    <a:pt x="833" y="344"/>
                  </a:lnTo>
                  <a:lnTo>
                    <a:pt x="849" y="344"/>
                  </a:lnTo>
                  <a:lnTo>
                    <a:pt x="849" y="344"/>
                  </a:lnTo>
                  <a:lnTo>
                    <a:pt x="849" y="344"/>
                  </a:lnTo>
                  <a:lnTo>
                    <a:pt x="849" y="360"/>
                  </a:lnTo>
                  <a:lnTo>
                    <a:pt x="833" y="400"/>
                  </a:lnTo>
                  <a:lnTo>
                    <a:pt x="809" y="440"/>
                  </a:lnTo>
                  <a:lnTo>
                    <a:pt x="793" y="456"/>
                  </a:lnTo>
                  <a:lnTo>
                    <a:pt x="761" y="480"/>
                  </a:lnTo>
                  <a:lnTo>
                    <a:pt x="721" y="512"/>
                  </a:lnTo>
                  <a:lnTo>
                    <a:pt x="713" y="544"/>
                  </a:lnTo>
                  <a:lnTo>
                    <a:pt x="697" y="552"/>
                  </a:lnTo>
                  <a:lnTo>
                    <a:pt x="697" y="568"/>
                  </a:lnTo>
                  <a:lnTo>
                    <a:pt x="705" y="592"/>
                  </a:lnTo>
                  <a:lnTo>
                    <a:pt x="705" y="600"/>
                  </a:lnTo>
                  <a:lnTo>
                    <a:pt x="721" y="624"/>
                  </a:lnTo>
                  <a:lnTo>
                    <a:pt x="721" y="624"/>
                  </a:lnTo>
                  <a:lnTo>
                    <a:pt x="721" y="632"/>
                  </a:lnTo>
                  <a:lnTo>
                    <a:pt x="713" y="632"/>
                  </a:lnTo>
                  <a:lnTo>
                    <a:pt x="713" y="640"/>
                  </a:lnTo>
                  <a:lnTo>
                    <a:pt x="713" y="656"/>
                  </a:lnTo>
                  <a:lnTo>
                    <a:pt x="721" y="672"/>
                  </a:lnTo>
                  <a:lnTo>
                    <a:pt x="721" y="696"/>
                  </a:lnTo>
                  <a:lnTo>
                    <a:pt x="657" y="720"/>
                  </a:lnTo>
                  <a:lnTo>
                    <a:pt x="657" y="736"/>
                  </a:lnTo>
                  <a:lnTo>
                    <a:pt x="657" y="736"/>
                  </a:lnTo>
                  <a:lnTo>
                    <a:pt x="649" y="736"/>
                  </a:lnTo>
                  <a:lnTo>
                    <a:pt x="641" y="744"/>
                  </a:lnTo>
                  <a:lnTo>
                    <a:pt x="641" y="752"/>
                  </a:lnTo>
                  <a:lnTo>
                    <a:pt x="657" y="776"/>
                  </a:lnTo>
                  <a:lnTo>
                    <a:pt x="657" y="784"/>
                  </a:lnTo>
                  <a:lnTo>
                    <a:pt x="657" y="800"/>
                  </a:lnTo>
                  <a:lnTo>
                    <a:pt x="641" y="808"/>
                  </a:lnTo>
                  <a:lnTo>
                    <a:pt x="633" y="816"/>
                  </a:lnTo>
                  <a:lnTo>
                    <a:pt x="625" y="824"/>
                  </a:lnTo>
                  <a:lnTo>
                    <a:pt x="617" y="832"/>
                  </a:lnTo>
                  <a:lnTo>
                    <a:pt x="617" y="832"/>
                  </a:lnTo>
                  <a:lnTo>
                    <a:pt x="625" y="832"/>
                  </a:lnTo>
                  <a:lnTo>
                    <a:pt x="625" y="848"/>
                  </a:lnTo>
                  <a:lnTo>
                    <a:pt x="617" y="856"/>
                  </a:lnTo>
                  <a:lnTo>
                    <a:pt x="601" y="872"/>
                  </a:lnTo>
                  <a:lnTo>
                    <a:pt x="593" y="888"/>
                  </a:lnTo>
                  <a:lnTo>
                    <a:pt x="585" y="904"/>
                  </a:lnTo>
                  <a:lnTo>
                    <a:pt x="569" y="920"/>
                  </a:lnTo>
                  <a:lnTo>
                    <a:pt x="553" y="928"/>
                  </a:lnTo>
                  <a:lnTo>
                    <a:pt x="537" y="928"/>
                  </a:lnTo>
                  <a:lnTo>
                    <a:pt x="537" y="936"/>
                  </a:lnTo>
                  <a:lnTo>
                    <a:pt x="537" y="936"/>
                  </a:lnTo>
                  <a:lnTo>
                    <a:pt x="529" y="936"/>
                  </a:lnTo>
                  <a:lnTo>
                    <a:pt x="513" y="936"/>
                  </a:lnTo>
                  <a:lnTo>
                    <a:pt x="497" y="936"/>
                  </a:lnTo>
                  <a:lnTo>
                    <a:pt x="473" y="952"/>
                  </a:lnTo>
                  <a:lnTo>
                    <a:pt x="457" y="952"/>
                  </a:lnTo>
                  <a:lnTo>
                    <a:pt x="449" y="944"/>
                  </a:lnTo>
                  <a:lnTo>
                    <a:pt x="449" y="944"/>
                  </a:lnTo>
                  <a:lnTo>
                    <a:pt x="449" y="928"/>
                  </a:lnTo>
                  <a:lnTo>
                    <a:pt x="441" y="920"/>
                  </a:lnTo>
                  <a:lnTo>
                    <a:pt x="441" y="920"/>
                  </a:lnTo>
                  <a:lnTo>
                    <a:pt x="441" y="912"/>
                  </a:lnTo>
                  <a:lnTo>
                    <a:pt x="441" y="904"/>
                  </a:lnTo>
                  <a:lnTo>
                    <a:pt x="433" y="888"/>
                  </a:lnTo>
                  <a:lnTo>
                    <a:pt x="409" y="848"/>
                  </a:lnTo>
                  <a:lnTo>
                    <a:pt x="393" y="816"/>
                  </a:lnTo>
                  <a:lnTo>
                    <a:pt x="393" y="792"/>
                  </a:lnTo>
                  <a:lnTo>
                    <a:pt x="393" y="784"/>
                  </a:lnTo>
                  <a:lnTo>
                    <a:pt x="393" y="776"/>
                  </a:lnTo>
                  <a:lnTo>
                    <a:pt x="385" y="768"/>
                  </a:lnTo>
                  <a:lnTo>
                    <a:pt x="369" y="744"/>
                  </a:lnTo>
                  <a:lnTo>
                    <a:pt x="361" y="720"/>
                  </a:lnTo>
                  <a:lnTo>
                    <a:pt x="361" y="688"/>
                  </a:lnTo>
                  <a:lnTo>
                    <a:pt x="385" y="648"/>
                  </a:lnTo>
                  <a:lnTo>
                    <a:pt x="385" y="632"/>
                  </a:lnTo>
                  <a:lnTo>
                    <a:pt x="377" y="616"/>
                  </a:lnTo>
                  <a:lnTo>
                    <a:pt x="377" y="600"/>
                  </a:lnTo>
                  <a:lnTo>
                    <a:pt x="369" y="584"/>
                  </a:lnTo>
                  <a:lnTo>
                    <a:pt x="369" y="576"/>
                  </a:lnTo>
                  <a:lnTo>
                    <a:pt x="369" y="560"/>
                  </a:lnTo>
                  <a:lnTo>
                    <a:pt x="344" y="536"/>
                  </a:lnTo>
                  <a:lnTo>
                    <a:pt x="328" y="512"/>
                  </a:lnTo>
                  <a:lnTo>
                    <a:pt x="328" y="496"/>
                  </a:lnTo>
                  <a:lnTo>
                    <a:pt x="336" y="488"/>
                  </a:lnTo>
                  <a:lnTo>
                    <a:pt x="336" y="488"/>
                  </a:lnTo>
                  <a:lnTo>
                    <a:pt x="336" y="480"/>
                  </a:lnTo>
                  <a:lnTo>
                    <a:pt x="336" y="480"/>
                  </a:lnTo>
                  <a:lnTo>
                    <a:pt x="336" y="456"/>
                  </a:lnTo>
                  <a:lnTo>
                    <a:pt x="336" y="456"/>
                  </a:lnTo>
                  <a:lnTo>
                    <a:pt x="336" y="456"/>
                  </a:lnTo>
                  <a:lnTo>
                    <a:pt x="336" y="448"/>
                  </a:lnTo>
                  <a:lnTo>
                    <a:pt x="328" y="440"/>
                  </a:lnTo>
                  <a:lnTo>
                    <a:pt x="312" y="440"/>
                  </a:lnTo>
                  <a:lnTo>
                    <a:pt x="296" y="440"/>
                  </a:lnTo>
                  <a:lnTo>
                    <a:pt x="288" y="440"/>
                  </a:lnTo>
                  <a:lnTo>
                    <a:pt x="264" y="408"/>
                  </a:lnTo>
                  <a:lnTo>
                    <a:pt x="248" y="408"/>
                  </a:lnTo>
                  <a:lnTo>
                    <a:pt x="216" y="424"/>
                  </a:lnTo>
                  <a:lnTo>
                    <a:pt x="200" y="432"/>
                  </a:lnTo>
                  <a:lnTo>
                    <a:pt x="184" y="432"/>
                  </a:lnTo>
                  <a:lnTo>
                    <a:pt x="168" y="432"/>
                  </a:lnTo>
                  <a:lnTo>
                    <a:pt x="152" y="432"/>
                  </a:lnTo>
                  <a:lnTo>
                    <a:pt x="128" y="440"/>
                  </a:lnTo>
                  <a:lnTo>
                    <a:pt x="112" y="440"/>
                  </a:lnTo>
                  <a:lnTo>
                    <a:pt x="96" y="424"/>
                  </a:lnTo>
                  <a:lnTo>
                    <a:pt x="64" y="408"/>
                  </a:lnTo>
                  <a:lnTo>
                    <a:pt x="48" y="376"/>
                  </a:lnTo>
                  <a:lnTo>
                    <a:pt x="40" y="360"/>
                  </a:lnTo>
                  <a:lnTo>
                    <a:pt x="16" y="344"/>
                  </a:lnTo>
                  <a:lnTo>
                    <a:pt x="16" y="336"/>
                  </a:lnTo>
                  <a:lnTo>
                    <a:pt x="8" y="336"/>
                  </a:lnTo>
                  <a:lnTo>
                    <a:pt x="8" y="336"/>
                  </a:lnTo>
                  <a:lnTo>
                    <a:pt x="8" y="320"/>
                  </a:lnTo>
                  <a:lnTo>
                    <a:pt x="8" y="320"/>
                  </a:lnTo>
                  <a:lnTo>
                    <a:pt x="0" y="304"/>
                  </a:lnTo>
                  <a:lnTo>
                    <a:pt x="0" y="304"/>
                  </a:lnTo>
                  <a:lnTo>
                    <a:pt x="8" y="304"/>
                  </a:lnTo>
                  <a:lnTo>
                    <a:pt x="16" y="272"/>
                  </a:lnTo>
                  <a:lnTo>
                    <a:pt x="16" y="256"/>
                  </a:lnTo>
                  <a:lnTo>
                    <a:pt x="8" y="224"/>
                  </a:lnTo>
                  <a:lnTo>
                    <a:pt x="8" y="208"/>
                  </a:lnTo>
                  <a:lnTo>
                    <a:pt x="24" y="200"/>
                  </a:lnTo>
                  <a:lnTo>
                    <a:pt x="32" y="168"/>
                  </a:lnTo>
                  <a:lnTo>
                    <a:pt x="56" y="136"/>
                  </a:lnTo>
                  <a:lnTo>
                    <a:pt x="64" y="128"/>
                  </a:lnTo>
                  <a:lnTo>
                    <a:pt x="80" y="128"/>
                  </a:lnTo>
                  <a:lnTo>
                    <a:pt x="96" y="112"/>
                  </a:lnTo>
                  <a:lnTo>
                    <a:pt x="96" y="104"/>
                  </a:lnTo>
                  <a:lnTo>
                    <a:pt x="96" y="96"/>
                  </a:lnTo>
                  <a:lnTo>
                    <a:pt x="96" y="88"/>
                  </a:lnTo>
                  <a:lnTo>
                    <a:pt x="96" y="80"/>
                  </a:lnTo>
                  <a:lnTo>
                    <a:pt x="112" y="64"/>
                  </a:lnTo>
                  <a:lnTo>
                    <a:pt x="128" y="40"/>
                  </a:lnTo>
                  <a:lnTo>
                    <a:pt x="144" y="32"/>
                  </a:lnTo>
                  <a:lnTo>
                    <a:pt x="136" y="32"/>
                  </a:lnTo>
                  <a:lnTo>
                    <a:pt x="144" y="24"/>
                  </a:lnTo>
                  <a:lnTo>
                    <a:pt x="152" y="24"/>
                  </a:lnTo>
                  <a:lnTo>
                    <a:pt x="152" y="24"/>
                  </a:lnTo>
                  <a:lnTo>
                    <a:pt x="160" y="32"/>
                  </a:lnTo>
                  <a:lnTo>
                    <a:pt x="192" y="32"/>
                  </a:lnTo>
                  <a:lnTo>
                    <a:pt x="200" y="24"/>
                  </a:lnTo>
                  <a:lnTo>
                    <a:pt x="216" y="16"/>
                  </a:lnTo>
                  <a:lnTo>
                    <a:pt x="256" y="0"/>
                  </a:lnTo>
                  <a:lnTo>
                    <a:pt x="272" y="0"/>
                  </a:lnTo>
                  <a:lnTo>
                    <a:pt x="280" y="8"/>
                  </a:lnTo>
                  <a:lnTo>
                    <a:pt x="288" y="8"/>
                  </a:lnTo>
                  <a:lnTo>
                    <a:pt x="304" y="0"/>
                  </a:lnTo>
                  <a:lnTo>
                    <a:pt x="312" y="8"/>
                  </a:lnTo>
                  <a:lnTo>
                    <a:pt x="320" y="8"/>
                  </a:lnTo>
                  <a:lnTo>
                    <a:pt x="328" y="0"/>
                  </a:lnTo>
                  <a:lnTo>
                    <a:pt x="344" y="0"/>
                  </a:lnTo>
                  <a:lnTo>
                    <a:pt x="344" y="8"/>
                  </a:lnTo>
                  <a:lnTo>
                    <a:pt x="352" y="0"/>
                  </a:lnTo>
                  <a:lnTo>
                    <a:pt x="352" y="0"/>
                  </a:lnTo>
                  <a:lnTo>
                    <a:pt x="352" y="0"/>
                  </a:lnTo>
                  <a:lnTo>
                    <a:pt x="352" y="8"/>
                  </a:lnTo>
                  <a:lnTo>
                    <a:pt x="352" y="16"/>
                  </a:lnTo>
                  <a:lnTo>
                    <a:pt x="352" y="16"/>
                  </a:lnTo>
                  <a:lnTo>
                    <a:pt x="352" y="24"/>
                  </a:lnTo>
                  <a:lnTo>
                    <a:pt x="352" y="24"/>
                  </a:lnTo>
                  <a:lnTo>
                    <a:pt x="352" y="40"/>
                  </a:lnTo>
                  <a:lnTo>
                    <a:pt x="352" y="48"/>
                  </a:lnTo>
                  <a:lnTo>
                    <a:pt x="361" y="64"/>
                  </a:lnTo>
                  <a:lnTo>
                    <a:pt x="369" y="64"/>
                  </a:lnTo>
                  <a:lnTo>
                    <a:pt x="385" y="64"/>
                  </a:lnTo>
                  <a:lnTo>
                    <a:pt x="393" y="64"/>
                  </a:lnTo>
                  <a:lnTo>
                    <a:pt x="433" y="96"/>
                  </a:lnTo>
                  <a:lnTo>
                    <a:pt x="465" y="96"/>
                  </a:lnTo>
                  <a:lnTo>
                    <a:pt x="465" y="88"/>
                  </a:lnTo>
                  <a:lnTo>
                    <a:pt x="465" y="80"/>
                  </a:lnTo>
                  <a:lnTo>
                    <a:pt x="465" y="72"/>
                  </a:lnTo>
                  <a:lnTo>
                    <a:pt x="481" y="64"/>
                  </a:lnTo>
                  <a:lnTo>
                    <a:pt x="489" y="64"/>
                  </a:lnTo>
                  <a:lnTo>
                    <a:pt x="489" y="64"/>
                  </a:lnTo>
                  <a:lnTo>
                    <a:pt x="497" y="6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85" name="Freeform 3"/>
            <p:cNvSpPr>
              <a:spLocks/>
            </p:cNvSpPr>
            <p:nvPr/>
          </p:nvSpPr>
          <p:spPr bwMode="auto">
            <a:xfrm>
              <a:off x="4851392" y="3035255"/>
              <a:ext cx="736599" cy="647690"/>
            </a:xfrm>
            <a:custGeom>
              <a:avLst/>
              <a:gdLst/>
              <a:ahLst/>
              <a:cxnLst>
                <a:cxn ang="0">
                  <a:pos x="120" y="120"/>
                </a:cxn>
                <a:cxn ang="0">
                  <a:pos x="120" y="88"/>
                </a:cxn>
                <a:cxn ang="0">
                  <a:pos x="120" y="80"/>
                </a:cxn>
                <a:cxn ang="0">
                  <a:pos x="104" y="80"/>
                </a:cxn>
                <a:cxn ang="0">
                  <a:pos x="56" y="80"/>
                </a:cxn>
                <a:cxn ang="0">
                  <a:pos x="24" y="80"/>
                </a:cxn>
                <a:cxn ang="0">
                  <a:pos x="24" y="80"/>
                </a:cxn>
                <a:cxn ang="0">
                  <a:pos x="0" y="56"/>
                </a:cxn>
                <a:cxn ang="0">
                  <a:pos x="8" y="40"/>
                </a:cxn>
                <a:cxn ang="0">
                  <a:pos x="32" y="24"/>
                </a:cxn>
                <a:cxn ang="0">
                  <a:pos x="40" y="16"/>
                </a:cxn>
                <a:cxn ang="0">
                  <a:pos x="56" y="16"/>
                </a:cxn>
                <a:cxn ang="0">
                  <a:pos x="120" y="8"/>
                </a:cxn>
                <a:cxn ang="0">
                  <a:pos x="144" y="16"/>
                </a:cxn>
                <a:cxn ang="0">
                  <a:pos x="200" y="8"/>
                </a:cxn>
                <a:cxn ang="0">
                  <a:pos x="240" y="40"/>
                </a:cxn>
                <a:cxn ang="0">
                  <a:pos x="272" y="32"/>
                </a:cxn>
                <a:cxn ang="0">
                  <a:pos x="280" y="48"/>
                </a:cxn>
                <a:cxn ang="0">
                  <a:pos x="288" y="64"/>
                </a:cxn>
                <a:cxn ang="0">
                  <a:pos x="304" y="72"/>
                </a:cxn>
                <a:cxn ang="0">
                  <a:pos x="328" y="80"/>
                </a:cxn>
                <a:cxn ang="0">
                  <a:pos x="352" y="72"/>
                </a:cxn>
                <a:cxn ang="0">
                  <a:pos x="384" y="56"/>
                </a:cxn>
                <a:cxn ang="0">
                  <a:pos x="440" y="80"/>
                </a:cxn>
                <a:cxn ang="0">
                  <a:pos x="440" y="96"/>
                </a:cxn>
                <a:cxn ang="0">
                  <a:pos x="432" y="120"/>
                </a:cxn>
                <a:cxn ang="0">
                  <a:pos x="432" y="144"/>
                </a:cxn>
                <a:cxn ang="0">
                  <a:pos x="448" y="152"/>
                </a:cxn>
                <a:cxn ang="0">
                  <a:pos x="456" y="192"/>
                </a:cxn>
                <a:cxn ang="0">
                  <a:pos x="448" y="224"/>
                </a:cxn>
                <a:cxn ang="0">
                  <a:pos x="440" y="240"/>
                </a:cxn>
                <a:cxn ang="0">
                  <a:pos x="392" y="232"/>
                </a:cxn>
                <a:cxn ang="0">
                  <a:pos x="376" y="216"/>
                </a:cxn>
                <a:cxn ang="0">
                  <a:pos x="344" y="216"/>
                </a:cxn>
                <a:cxn ang="0">
                  <a:pos x="312" y="200"/>
                </a:cxn>
                <a:cxn ang="0">
                  <a:pos x="296" y="168"/>
                </a:cxn>
                <a:cxn ang="0">
                  <a:pos x="296" y="224"/>
                </a:cxn>
                <a:cxn ang="0">
                  <a:pos x="304" y="232"/>
                </a:cxn>
                <a:cxn ang="0">
                  <a:pos x="312" y="224"/>
                </a:cxn>
                <a:cxn ang="0">
                  <a:pos x="344" y="256"/>
                </a:cxn>
                <a:cxn ang="0">
                  <a:pos x="376" y="240"/>
                </a:cxn>
                <a:cxn ang="0">
                  <a:pos x="408" y="264"/>
                </a:cxn>
                <a:cxn ang="0">
                  <a:pos x="416" y="272"/>
                </a:cxn>
                <a:cxn ang="0">
                  <a:pos x="408" y="304"/>
                </a:cxn>
                <a:cxn ang="0">
                  <a:pos x="384" y="320"/>
                </a:cxn>
                <a:cxn ang="0">
                  <a:pos x="360" y="344"/>
                </a:cxn>
                <a:cxn ang="0">
                  <a:pos x="328" y="360"/>
                </a:cxn>
                <a:cxn ang="0">
                  <a:pos x="304" y="376"/>
                </a:cxn>
                <a:cxn ang="0">
                  <a:pos x="248" y="392"/>
                </a:cxn>
                <a:cxn ang="0">
                  <a:pos x="232" y="408"/>
                </a:cxn>
                <a:cxn ang="0">
                  <a:pos x="216" y="392"/>
                </a:cxn>
                <a:cxn ang="0">
                  <a:pos x="208" y="368"/>
                </a:cxn>
                <a:cxn ang="0">
                  <a:pos x="208" y="352"/>
                </a:cxn>
                <a:cxn ang="0">
                  <a:pos x="184" y="312"/>
                </a:cxn>
                <a:cxn ang="0">
                  <a:pos x="152" y="256"/>
                </a:cxn>
                <a:cxn ang="0">
                  <a:pos x="136" y="240"/>
                </a:cxn>
                <a:cxn ang="0">
                  <a:pos x="112" y="208"/>
                </a:cxn>
                <a:cxn ang="0">
                  <a:pos x="112" y="184"/>
                </a:cxn>
              </a:cxnLst>
              <a:rect l="0" t="0" r="r" b="b"/>
              <a:pathLst>
                <a:path w="464" h="408">
                  <a:moveTo>
                    <a:pt x="104" y="152"/>
                  </a:moveTo>
                  <a:lnTo>
                    <a:pt x="104" y="152"/>
                  </a:lnTo>
                  <a:lnTo>
                    <a:pt x="112" y="136"/>
                  </a:lnTo>
                  <a:lnTo>
                    <a:pt x="120" y="120"/>
                  </a:lnTo>
                  <a:lnTo>
                    <a:pt x="128" y="104"/>
                  </a:lnTo>
                  <a:lnTo>
                    <a:pt x="128" y="104"/>
                  </a:lnTo>
                  <a:lnTo>
                    <a:pt x="120" y="96"/>
                  </a:lnTo>
                  <a:lnTo>
                    <a:pt x="120" y="88"/>
                  </a:lnTo>
                  <a:lnTo>
                    <a:pt x="128" y="80"/>
                  </a:lnTo>
                  <a:lnTo>
                    <a:pt x="128" y="80"/>
                  </a:lnTo>
                  <a:lnTo>
                    <a:pt x="128" y="80"/>
                  </a:lnTo>
                  <a:lnTo>
                    <a:pt x="120" y="80"/>
                  </a:lnTo>
                  <a:lnTo>
                    <a:pt x="112" y="80"/>
                  </a:lnTo>
                  <a:lnTo>
                    <a:pt x="104" y="80"/>
                  </a:lnTo>
                  <a:lnTo>
                    <a:pt x="104" y="80"/>
                  </a:lnTo>
                  <a:lnTo>
                    <a:pt x="104" y="80"/>
                  </a:lnTo>
                  <a:lnTo>
                    <a:pt x="96" y="88"/>
                  </a:lnTo>
                  <a:lnTo>
                    <a:pt x="80" y="88"/>
                  </a:lnTo>
                  <a:lnTo>
                    <a:pt x="72" y="80"/>
                  </a:lnTo>
                  <a:lnTo>
                    <a:pt x="56" y="80"/>
                  </a:lnTo>
                  <a:lnTo>
                    <a:pt x="48" y="88"/>
                  </a:lnTo>
                  <a:lnTo>
                    <a:pt x="40" y="80"/>
                  </a:lnTo>
                  <a:lnTo>
                    <a:pt x="32" y="80"/>
                  </a:lnTo>
                  <a:lnTo>
                    <a:pt x="24" y="80"/>
                  </a:lnTo>
                  <a:lnTo>
                    <a:pt x="24" y="80"/>
                  </a:lnTo>
                  <a:lnTo>
                    <a:pt x="24" y="80"/>
                  </a:lnTo>
                  <a:lnTo>
                    <a:pt x="24" y="80"/>
                  </a:lnTo>
                  <a:lnTo>
                    <a:pt x="24" y="80"/>
                  </a:lnTo>
                  <a:lnTo>
                    <a:pt x="24" y="72"/>
                  </a:lnTo>
                  <a:lnTo>
                    <a:pt x="16" y="64"/>
                  </a:lnTo>
                  <a:lnTo>
                    <a:pt x="16" y="64"/>
                  </a:lnTo>
                  <a:lnTo>
                    <a:pt x="0" y="56"/>
                  </a:lnTo>
                  <a:lnTo>
                    <a:pt x="0" y="56"/>
                  </a:lnTo>
                  <a:lnTo>
                    <a:pt x="8" y="48"/>
                  </a:lnTo>
                  <a:lnTo>
                    <a:pt x="8" y="40"/>
                  </a:lnTo>
                  <a:lnTo>
                    <a:pt x="8" y="40"/>
                  </a:lnTo>
                  <a:lnTo>
                    <a:pt x="8" y="40"/>
                  </a:lnTo>
                  <a:lnTo>
                    <a:pt x="0" y="40"/>
                  </a:lnTo>
                  <a:lnTo>
                    <a:pt x="0" y="32"/>
                  </a:lnTo>
                  <a:lnTo>
                    <a:pt x="32" y="24"/>
                  </a:lnTo>
                  <a:lnTo>
                    <a:pt x="40" y="24"/>
                  </a:lnTo>
                  <a:lnTo>
                    <a:pt x="40" y="24"/>
                  </a:lnTo>
                  <a:lnTo>
                    <a:pt x="40" y="24"/>
                  </a:lnTo>
                  <a:lnTo>
                    <a:pt x="40" y="16"/>
                  </a:lnTo>
                  <a:lnTo>
                    <a:pt x="48" y="16"/>
                  </a:lnTo>
                  <a:lnTo>
                    <a:pt x="48" y="16"/>
                  </a:lnTo>
                  <a:lnTo>
                    <a:pt x="56" y="16"/>
                  </a:lnTo>
                  <a:lnTo>
                    <a:pt x="56" y="16"/>
                  </a:lnTo>
                  <a:lnTo>
                    <a:pt x="64" y="16"/>
                  </a:lnTo>
                  <a:lnTo>
                    <a:pt x="88" y="0"/>
                  </a:lnTo>
                  <a:lnTo>
                    <a:pt x="112" y="0"/>
                  </a:lnTo>
                  <a:lnTo>
                    <a:pt x="120" y="8"/>
                  </a:lnTo>
                  <a:lnTo>
                    <a:pt x="128" y="8"/>
                  </a:lnTo>
                  <a:lnTo>
                    <a:pt x="128" y="8"/>
                  </a:lnTo>
                  <a:lnTo>
                    <a:pt x="128" y="16"/>
                  </a:lnTo>
                  <a:lnTo>
                    <a:pt x="144" y="16"/>
                  </a:lnTo>
                  <a:lnTo>
                    <a:pt x="152" y="16"/>
                  </a:lnTo>
                  <a:lnTo>
                    <a:pt x="176" y="16"/>
                  </a:lnTo>
                  <a:lnTo>
                    <a:pt x="176" y="16"/>
                  </a:lnTo>
                  <a:lnTo>
                    <a:pt x="200" y="8"/>
                  </a:lnTo>
                  <a:lnTo>
                    <a:pt x="216" y="8"/>
                  </a:lnTo>
                  <a:lnTo>
                    <a:pt x="224" y="16"/>
                  </a:lnTo>
                  <a:lnTo>
                    <a:pt x="224" y="24"/>
                  </a:lnTo>
                  <a:lnTo>
                    <a:pt x="240" y="40"/>
                  </a:lnTo>
                  <a:lnTo>
                    <a:pt x="264" y="48"/>
                  </a:lnTo>
                  <a:lnTo>
                    <a:pt x="264" y="40"/>
                  </a:lnTo>
                  <a:lnTo>
                    <a:pt x="272" y="32"/>
                  </a:lnTo>
                  <a:lnTo>
                    <a:pt x="272" y="32"/>
                  </a:lnTo>
                  <a:lnTo>
                    <a:pt x="280" y="32"/>
                  </a:lnTo>
                  <a:lnTo>
                    <a:pt x="280" y="40"/>
                  </a:lnTo>
                  <a:lnTo>
                    <a:pt x="280" y="40"/>
                  </a:lnTo>
                  <a:lnTo>
                    <a:pt x="280" y="48"/>
                  </a:lnTo>
                  <a:lnTo>
                    <a:pt x="280" y="48"/>
                  </a:lnTo>
                  <a:lnTo>
                    <a:pt x="288" y="56"/>
                  </a:lnTo>
                  <a:lnTo>
                    <a:pt x="288" y="64"/>
                  </a:lnTo>
                  <a:lnTo>
                    <a:pt x="288" y="64"/>
                  </a:lnTo>
                  <a:lnTo>
                    <a:pt x="288" y="72"/>
                  </a:lnTo>
                  <a:lnTo>
                    <a:pt x="296" y="72"/>
                  </a:lnTo>
                  <a:lnTo>
                    <a:pt x="296" y="72"/>
                  </a:lnTo>
                  <a:lnTo>
                    <a:pt x="304" y="72"/>
                  </a:lnTo>
                  <a:lnTo>
                    <a:pt x="304" y="72"/>
                  </a:lnTo>
                  <a:lnTo>
                    <a:pt x="312" y="80"/>
                  </a:lnTo>
                  <a:lnTo>
                    <a:pt x="320" y="80"/>
                  </a:lnTo>
                  <a:lnTo>
                    <a:pt x="328" y="80"/>
                  </a:lnTo>
                  <a:lnTo>
                    <a:pt x="336" y="80"/>
                  </a:lnTo>
                  <a:lnTo>
                    <a:pt x="344" y="80"/>
                  </a:lnTo>
                  <a:lnTo>
                    <a:pt x="352" y="80"/>
                  </a:lnTo>
                  <a:lnTo>
                    <a:pt x="352" y="72"/>
                  </a:lnTo>
                  <a:lnTo>
                    <a:pt x="352" y="64"/>
                  </a:lnTo>
                  <a:lnTo>
                    <a:pt x="360" y="64"/>
                  </a:lnTo>
                  <a:lnTo>
                    <a:pt x="376" y="56"/>
                  </a:lnTo>
                  <a:lnTo>
                    <a:pt x="384" y="56"/>
                  </a:lnTo>
                  <a:lnTo>
                    <a:pt x="384" y="56"/>
                  </a:lnTo>
                  <a:lnTo>
                    <a:pt x="392" y="56"/>
                  </a:lnTo>
                  <a:lnTo>
                    <a:pt x="424" y="72"/>
                  </a:lnTo>
                  <a:lnTo>
                    <a:pt x="440" y="80"/>
                  </a:lnTo>
                  <a:lnTo>
                    <a:pt x="440" y="80"/>
                  </a:lnTo>
                  <a:lnTo>
                    <a:pt x="440" y="88"/>
                  </a:lnTo>
                  <a:lnTo>
                    <a:pt x="440" y="88"/>
                  </a:lnTo>
                  <a:lnTo>
                    <a:pt x="440" y="96"/>
                  </a:lnTo>
                  <a:lnTo>
                    <a:pt x="440" y="96"/>
                  </a:lnTo>
                  <a:lnTo>
                    <a:pt x="432" y="112"/>
                  </a:lnTo>
                  <a:lnTo>
                    <a:pt x="432" y="120"/>
                  </a:lnTo>
                  <a:lnTo>
                    <a:pt x="432" y="120"/>
                  </a:lnTo>
                  <a:lnTo>
                    <a:pt x="432" y="120"/>
                  </a:lnTo>
                  <a:lnTo>
                    <a:pt x="432" y="128"/>
                  </a:lnTo>
                  <a:lnTo>
                    <a:pt x="432" y="136"/>
                  </a:lnTo>
                  <a:lnTo>
                    <a:pt x="432" y="144"/>
                  </a:lnTo>
                  <a:lnTo>
                    <a:pt x="432" y="144"/>
                  </a:lnTo>
                  <a:lnTo>
                    <a:pt x="440" y="152"/>
                  </a:lnTo>
                  <a:lnTo>
                    <a:pt x="440" y="152"/>
                  </a:lnTo>
                  <a:lnTo>
                    <a:pt x="448" y="152"/>
                  </a:lnTo>
                  <a:lnTo>
                    <a:pt x="448" y="160"/>
                  </a:lnTo>
                  <a:lnTo>
                    <a:pt x="440" y="168"/>
                  </a:lnTo>
                  <a:lnTo>
                    <a:pt x="440" y="176"/>
                  </a:lnTo>
                  <a:lnTo>
                    <a:pt x="456" y="192"/>
                  </a:lnTo>
                  <a:lnTo>
                    <a:pt x="464" y="208"/>
                  </a:lnTo>
                  <a:lnTo>
                    <a:pt x="464" y="216"/>
                  </a:lnTo>
                  <a:lnTo>
                    <a:pt x="464" y="216"/>
                  </a:lnTo>
                  <a:lnTo>
                    <a:pt x="448" y="224"/>
                  </a:lnTo>
                  <a:lnTo>
                    <a:pt x="448" y="240"/>
                  </a:lnTo>
                  <a:lnTo>
                    <a:pt x="448" y="240"/>
                  </a:lnTo>
                  <a:lnTo>
                    <a:pt x="448" y="240"/>
                  </a:lnTo>
                  <a:lnTo>
                    <a:pt x="440" y="240"/>
                  </a:lnTo>
                  <a:lnTo>
                    <a:pt x="408" y="232"/>
                  </a:lnTo>
                  <a:lnTo>
                    <a:pt x="408" y="232"/>
                  </a:lnTo>
                  <a:lnTo>
                    <a:pt x="400" y="232"/>
                  </a:lnTo>
                  <a:lnTo>
                    <a:pt x="392" y="232"/>
                  </a:lnTo>
                  <a:lnTo>
                    <a:pt x="392" y="232"/>
                  </a:lnTo>
                  <a:lnTo>
                    <a:pt x="384" y="224"/>
                  </a:lnTo>
                  <a:lnTo>
                    <a:pt x="384" y="216"/>
                  </a:lnTo>
                  <a:lnTo>
                    <a:pt x="376" y="216"/>
                  </a:lnTo>
                  <a:lnTo>
                    <a:pt x="368" y="224"/>
                  </a:lnTo>
                  <a:lnTo>
                    <a:pt x="368" y="224"/>
                  </a:lnTo>
                  <a:lnTo>
                    <a:pt x="344" y="224"/>
                  </a:lnTo>
                  <a:lnTo>
                    <a:pt x="344" y="216"/>
                  </a:lnTo>
                  <a:lnTo>
                    <a:pt x="336" y="208"/>
                  </a:lnTo>
                  <a:lnTo>
                    <a:pt x="328" y="208"/>
                  </a:lnTo>
                  <a:lnTo>
                    <a:pt x="312" y="200"/>
                  </a:lnTo>
                  <a:lnTo>
                    <a:pt x="312" y="200"/>
                  </a:lnTo>
                  <a:lnTo>
                    <a:pt x="312" y="192"/>
                  </a:lnTo>
                  <a:lnTo>
                    <a:pt x="312" y="192"/>
                  </a:lnTo>
                  <a:lnTo>
                    <a:pt x="304" y="184"/>
                  </a:lnTo>
                  <a:lnTo>
                    <a:pt x="296" y="168"/>
                  </a:lnTo>
                  <a:lnTo>
                    <a:pt x="280" y="168"/>
                  </a:lnTo>
                  <a:lnTo>
                    <a:pt x="280" y="192"/>
                  </a:lnTo>
                  <a:lnTo>
                    <a:pt x="280" y="200"/>
                  </a:lnTo>
                  <a:lnTo>
                    <a:pt x="296" y="224"/>
                  </a:lnTo>
                  <a:lnTo>
                    <a:pt x="304" y="224"/>
                  </a:lnTo>
                  <a:lnTo>
                    <a:pt x="304" y="224"/>
                  </a:lnTo>
                  <a:lnTo>
                    <a:pt x="304" y="232"/>
                  </a:lnTo>
                  <a:lnTo>
                    <a:pt x="304" y="232"/>
                  </a:lnTo>
                  <a:lnTo>
                    <a:pt x="304" y="232"/>
                  </a:lnTo>
                  <a:lnTo>
                    <a:pt x="312" y="232"/>
                  </a:lnTo>
                  <a:lnTo>
                    <a:pt x="312" y="224"/>
                  </a:lnTo>
                  <a:lnTo>
                    <a:pt x="312" y="224"/>
                  </a:lnTo>
                  <a:lnTo>
                    <a:pt x="312" y="232"/>
                  </a:lnTo>
                  <a:lnTo>
                    <a:pt x="312" y="240"/>
                  </a:lnTo>
                  <a:lnTo>
                    <a:pt x="312" y="256"/>
                  </a:lnTo>
                  <a:lnTo>
                    <a:pt x="344" y="256"/>
                  </a:lnTo>
                  <a:lnTo>
                    <a:pt x="368" y="232"/>
                  </a:lnTo>
                  <a:lnTo>
                    <a:pt x="376" y="224"/>
                  </a:lnTo>
                  <a:lnTo>
                    <a:pt x="376" y="224"/>
                  </a:lnTo>
                  <a:lnTo>
                    <a:pt x="376" y="240"/>
                  </a:lnTo>
                  <a:lnTo>
                    <a:pt x="376" y="240"/>
                  </a:lnTo>
                  <a:lnTo>
                    <a:pt x="384" y="248"/>
                  </a:lnTo>
                  <a:lnTo>
                    <a:pt x="392" y="256"/>
                  </a:lnTo>
                  <a:lnTo>
                    <a:pt x="408" y="264"/>
                  </a:lnTo>
                  <a:lnTo>
                    <a:pt x="408" y="264"/>
                  </a:lnTo>
                  <a:lnTo>
                    <a:pt x="408" y="272"/>
                  </a:lnTo>
                  <a:lnTo>
                    <a:pt x="416" y="272"/>
                  </a:lnTo>
                  <a:lnTo>
                    <a:pt x="416" y="272"/>
                  </a:lnTo>
                  <a:lnTo>
                    <a:pt x="416" y="272"/>
                  </a:lnTo>
                  <a:lnTo>
                    <a:pt x="424" y="280"/>
                  </a:lnTo>
                  <a:lnTo>
                    <a:pt x="408" y="296"/>
                  </a:lnTo>
                  <a:lnTo>
                    <a:pt x="408" y="304"/>
                  </a:lnTo>
                  <a:lnTo>
                    <a:pt x="408" y="304"/>
                  </a:lnTo>
                  <a:lnTo>
                    <a:pt x="400" y="304"/>
                  </a:lnTo>
                  <a:lnTo>
                    <a:pt x="392" y="320"/>
                  </a:lnTo>
                  <a:lnTo>
                    <a:pt x="384" y="320"/>
                  </a:lnTo>
                  <a:lnTo>
                    <a:pt x="376" y="336"/>
                  </a:lnTo>
                  <a:lnTo>
                    <a:pt x="376" y="336"/>
                  </a:lnTo>
                  <a:lnTo>
                    <a:pt x="360" y="344"/>
                  </a:lnTo>
                  <a:lnTo>
                    <a:pt x="360" y="344"/>
                  </a:lnTo>
                  <a:lnTo>
                    <a:pt x="360" y="344"/>
                  </a:lnTo>
                  <a:lnTo>
                    <a:pt x="352" y="352"/>
                  </a:lnTo>
                  <a:lnTo>
                    <a:pt x="328" y="360"/>
                  </a:lnTo>
                  <a:lnTo>
                    <a:pt x="328" y="360"/>
                  </a:lnTo>
                  <a:lnTo>
                    <a:pt x="328" y="368"/>
                  </a:lnTo>
                  <a:lnTo>
                    <a:pt x="328" y="368"/>
                  </a:lnTo>
                  <a:lnTo>
                    <a:pt x="320" y="368"/>
                  </a:lnTo>
                  <a:lnTo>
                    <a:pt x="304" y="376"/>
                  </a:lnTo>
                  <a:lnTo>
                    <a:pt x="288" y="376"/>
                  </a:lnTo>
                  <a:lnTo>
                    <a:pt x="272" y="392"/>
                  </a:lnTo>
                  <a:lnTo>
                    <a:pt x="264" y="392"/>
                  </a:lnTo>
                  <a:lnTo>
                    <a:pt x="248" y="392"/>
                  </a:lnTo>
                  <a:lnTo>
                    <a:pt x="248" y="392"/>
                  </a:lnTo>
                  <a:lnTo>
                    <a:pt x="240" y="400"/>
                  </a:lnTo>
                  <a:lnTo>
                    <a:pt x="232" y="400"/>
                  </a:lnTo>
                  <a:lnTo>
                    <a:pt x="232" y="408"/>
                  </a:lnTo>
                  <a:lnTo>
                    <a:pt x="224" y="408"/>
                  </a:lnTo>
                  <a:lnTo>
                    <a:pt x="216" y="400"/>
                  </a:lnTo>
                  <a:lnTo>
                    <a:pt x="216" y="400"/>
                  </a:lnTo>
                  <a:lnTo>
                    <a:pt x="216" y="392"/>
                  </a:lnTo>
                  <a:lnTo>
                    <a:pt x="208" y="384"/>
                  </a:lnTo>
                  <a:lnTo>
                    <a:pt x="208" y="368"/>
                  </a:lnTo>
                  <a:lnTo>
                    <a:pt x="208" y="368"/>
                  </a:lnTo>
                  <a:lnTo>
                    <a:pt x="208" y="368"/>
                  </a:lnTo>
                  <a:lnTo>
                    <a:pt x="208" y="360"/>
                  </a:lnTo>
                  <a:lnTo>
                    <a:pt x="208" y="360"/>
                  </a:lnTo>
                  <a:lnTo>
                    <a:pt x="208" y="352"/>
                  </a:lnTo>
                  <a:lnTo>
                    <a:pt x="208" y="352"/>
                  </a:lnTo>
                  <a:lnTo>
                    <a:pt x="192" y="336"/>
                  </a:lnTo>
                  <a:lnTo>
                    <a:pt x="184" y="320"/>
                  </a:lnTo>
                  <a:lnTo>
                    <a:pt x="184" y="312"/>
                  </a:lnTo>
                  <a:lnTo>
                    <a:pt x="184" y="312"/>
                  </a:lnTo>
                  <a:lnTo>
                    <a:pt x="160" y="304"/>
                  </a:lnTo>
                  <a:lnTo>
                    <a:pt x="160" y="272"/>
                  </a:lnTo>
                  <a:lnTo>
                    <a:pt x="160" y="264"/>
                  </a:lnTo>
                  <a:lnTo>
                    <a:pt x="152" y="256"/>
                  </a:lnTo>
                  <a:lnTo>
                    <a:pt x="152" y="256"/>
                  </a:lnTo>
                  <a:lnTo>
                    <a:pt x="144" y="256"/>
                  </a:lnTo>
                  <a:lnTo>
                    <a:pt x="136" y="248"/>
                  </a:lnTo>
                  <a:lnTo>
                    <a:pt x="136" y="240"/>
                  </a:lnTo>
                  <a:lnTo>
                    <a:pt x="136" y="240"/>
                  </a:lnTo>
                  <a:lnTo>
                    <a:pt x="128" y="232"/>
                  </a:lnTo>
                  <a:lnTo>
                    <a:pt x="120" y="208"/>
                  </a:lnTo>
                  <a:lnTo>
                    <a:pt x="112" y="208"/>
                  </a:lnTo>
                  <a:lnTo>
                    <a:pt x="112" y="200"/>
                  </a:lnTo>
                  <a:lnTo>
                    <a:pt x="112" y="200"/>
                  </a:lnTo>
                  <a:lnTo>
                    <a:pt x="112" y="200"/>
                  </a:lnTo>
                  <a:lnTo>
                    <a:pt x="112" y="184"/>
                  </a:lnTo>
                  <a:lnTo>
                    <a:pt x="112" y="176"/>
                  </a:lnTo>
                  <a:lnTo>
                    <a:pt x="112" y="176"/>
                  </a:lnTo>
                  <a:lnTo>
                    <a:pt x="104" y="15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86" name="Freeform 4"/>
            <p:cNvSpPr>
              <a:spLocks/>
            </p:cNvSpPr>
            <p:nvPr/>
          </p:nvSpPr>
          <p:spPr bwMode="auto">
            <a:xfrm>
              <a:off x="5537192" y="3124154"/>
              <a:ext cx="800099" cy="634990"/>
            </a:xfrm>
            <a:custGeom>
              <a:avLst/>
              <a:gdLst/>
              <a:ahLst/>
              <a:cxnLst>
                <a:cxn ang="0">
                  <a:pos x="144" y="272"/>
                </a:cxn>
                <a:cxn ang="0">
                  <a:pos x="176" y="336"/>
                </a:cxn>
                <a:cxn ang="0">
                  <a:pos x="200" y="392"/>
                </a:cxn>
                <a:cxn ang="0">
                  <a:pos x="208" y="400"/>
                </a:cxn>
                <a:cxn ang="0">
                  <a:pos x="232" y="376"/>
                </a:cxn>
                <a:cxn ang="0">
                  <a:pos x="240" y="360"/>
                </a:cxn>
                <a:cxn ang="0">
                  <a:pos x="240" y="312"/>
                </a:cxn>
                <a:cxn ang="0">
                  <a:pos x="288" y="272"/>
                </a:cxn>
                <a:cxn ang="0">
                  <a:pos x="328" y="232"/>
                </a:cxn>
                <a:cxn ang="0">
                  <a:pos x="376" y="224"/>
                </a:cxn>
                <a:cxn ang="0">
                  <a:pos x="392" y="232"/>
                </a:cxn>
                <a:cxn ang="0">
                  <a:pos x="424" y="280"/>
                </a:cxn>
                <a:cxn ang="0">
                  <a:pos x="448" y="296"/>
                </a:cxn>
                <a:cxn ang="0">
                  <a:pos x="456" y="296"/>
                </a:cxn>
                <a:cxn ang="0">
                  <a:pos x="464" y="320"/>
                </a:cxn>
                <a:cxn ang="0">
                  <a:pos x="480" y="368"/>
                </a:cxn>
                <a:cxn ang="0">
                  <a:pos x="472" y="320"/>
                </a:cxn>
                <a:cxn ang="0">
                  <a:pos x="472" y="288"/>
                </a:cxn>
                <a:cxn ang="0">
                  <a:pos x="472" y="256"/>
                </a:cxn>
                <a:cxn ang="0">
                  <a:pos x="504" y="224"/>
                </a:cxn>
                <a:cxn ang="0">
                  <a:pos x="488" y="216"/>
                </a:cxn>
                <a:cxn ang="0">
                  <a:pos x="464" y="192"/>
                </a:cxn>
                <a:cxn ang="0">
                  <a:pos x="472" y="144"/>
                </a:cxn>
                <a:cxn ang="0">
                  <a:pos x="440" y="120"/>
                </a:cxn>
                <a:cxn ang="0">
                  <a:pos x="432" y="128"/>
                </a:cxn>
                <a:cxn ang="0">
                  <a:pos x="416" y="136"/>
                </a:cxn>
                <a:cxn ang="0">
                  <a:pos x="368" y="136"/>
                </a:cxn>
                <a:cxn ang="0">
                  <a:pos x="352" y="144"/>
                </a:cxn>
                <a:cxn ang="0">
                  <a:pos x="320" y="144"/>
                </a:cxn>
                <a:cxn ang="0">
                  <a:pos x="296" y="136"/>
                </a:cxn>
                <a:cxn ang="0">
                  <a:pos x="256" y="112"/>
                </a:cxn>
                <a:cxn ang="0">
                  <a:pos x="224" y="96"/>
                </a:cxn>
                <a:cxn ang="0">
                  <a:pos x="232" y="80"/>
                </a:cxn>
                <a:cxn ang="0">
                  <a:pos x="232" y="56"/>
                </a:cxn>
                <a:cxn ang="0">
                  <a:pos x="224" y="40"/>
                </a:cxn>
                <a:cxn ang="0">
                  <a:pos x="184" y="24"/>
                </a:cxn>
                <a:cxn ang="0">
                  <a:pos x="176" y="16"/>
                </a:cxn>
                <a:cxn ang="0">
                  <a:pos x="136" y="16"/>
                </a:cxn>
                <a:cxn ang="0">
                  <a:pos x="128" y="0"/>
                </a:cxn>
                <a:cxn ang="0">
                  <a:pos x="104" y="16"/>
                </a:cxn>
                <a:cxn ang="0">
                  <a:pos x="80" y="16"/>
                </a:cxn>
                <a:cxn ang="0">
                  <a:pos x="48" y="24"/>
                </a:cxn>
                <a:cxn ang="0">
                  <a:pos x="16" y="40"/>
                </a:cxn>
                <a:cxn ang="0">
                  <a:pos x="0" y="64"/>
                </a:cxn>
                <a:cxn ang="0">
                  <a:pos x="0" y="80"/>
                </a:cxn>
                <a:cxn ang="0">
                  <a:pos x="8" y="96"/>
                </a:cxn>
                <a:cxn ang="0">
                  <a:pos x="8" y="120"/>
                </a:cxn>
                <a:cxn ang="0">
                  <a:pos x="32" y="160"/>
                </a:cxn>
                <a:cxn ang="0">
                  <a:pos x="32" y="184"/>
                </a:cxn>
                <a:cxn ang="0">
                  <a:pos x="48" y="184"/>
                </a:cxn>
                <a:cxn ang="0">
                  <a:pos x="72" y="184"/>
                </a:cxn>
                <a:cxn ang="0">
                  <a:pos x="104" y="216"/>
                </a:cxn>
                <a:cxn ang="0">
                  <a:pos x="112" y="224"/>
                </a:cxn>
                <a:cxn ang="0">
                  <a:pos x="104" y="232"/>
                </a:cxn>
                <a:cxn ang="0">
                  <a:pos x="144" y="224"/>
                </a:cxn>
                <a:cxn ang="0">
                  <a:pos x="152" y="240"/>
                </a:cxn>
                <a:cxn ang="0">
                  <a:pos x="144" y="256"/>
                </a:cxn>
              </a:cxnLst>
              <a:rect l="0" t="0" r="r" b="b"/>
              <a:pathLst>
                <a:path w="504" h="400">
                  <a:moveTo>
                    <a:pt x="144" y="256"/>
                  </a:moveTo>
                  <a:lnTo>
                    <a:pt x="144" y="256"/>
                  </a:lnTo>
                  <a:lnTo>
                    <a:pt x="144" y="264"/>
                  </a:lnTo>
                  <a:lnTo>
                    <a:pt x="144" y="272"/>
                  </a:lnTo>
                  <a:lnTo>
                    <a:pt x="160" y="296"/>
                  </a:lnTo>
                  <a:lnTo>
                    <a:pt x="168" y="320"/>
                  </a:lnTo>
                  <a:lnTo>
                    <a:pt x="176" y="336"/>
                  </a:lnTo>
                  <a:lnTo>
                    <a:pt x="176" y="336"/>
                  </a:lnTo>
                  <a:lnTo>
                    <a:pt x="176" y="352"/>
                  </a:lnTo>
                  <a:lnTo>
                    <a:pt x="184" y="360"/>
                  </a:lnTo>
                  <a:lnTo>
                    <a:pt x="192" y="376"/>
                  </a:lnTo>
                  <a:lnTo>
                    <a:pt x="200" y="392"/>
                  </a:lnTo>
                  <a:lnTo>
                    <a:pt x="200" y="400"/>
                  </a:lnTo>
                  <a:lnTo>
                    <a:pt x="200" y="400"/>
                  </a:lnTo>
                  <a:lnTo>
                    <a:pt x="208" y="400"/>
                  </a:lnTo>
                  <a:lnTo>
                    <a:pt x="208" y="400"/>
                  </a:lnTo>
                  <a:lnTo>
                    <a:pt x="208" y="400"/>
                  </a:lnTo>
                  <a:lnTo>
                    <a:pt x="216" y="392"/>
                  </a:lnTo>
                  <a:lnTo>
                    <a:pt x="224" y="392"/>
                  </a:lnTo>
                  <a:lnTo>
                    <a:pt x="232" y="376"/>
                  </a:lnTo>
                  <a:lnTo>
                    <a:pt x="232" y="376"/>
                  </a:lnTo>
                  <a:lnTo>
                    <a:pt x="240" y="376"/>
                  </a:lnTo>
                  <a:lnTo>
                    <a:pt x="240" y="376"/>
                  </a:lnTo>
                  <a:lnTo>
                    <a:pt x="240" y="360"/>
                  </a:lnTo>
                  <a:lnTo>
                    <a:pt x="240" y="360"/>
                  </a:lnTo>
                  <a:lnTo>
                    <a:pt x="240" y="336"/>
                  </a:lnTo>
                  <a:lnTo>
                    <a:pt x="240" y="320"/>
                  </a:lnTo>
                  <a:lnTo>
                    <a:pt x="240" y="312"/>
                  </a:lnTo>
                  <a:lnTo>
                    <a:pt x="248" y="304"/>
                  </a:lnTo>
                  <a:lnTo>
                    <a:pt x="264" y="296"/>
                  </a:lnTo>
                  <a:lnTo>
                    <a:pt x="272" y="288"/>
                  </a:lnTo>
                  <a:lnTo>
                    <a:pt x="288" y="272"/>
                  </a:lnTo>
                  <a:lnTo>
                    <a:pt x="296" y="264"/>
                  </a:lnTo>
                  <a:lnTo>
                    <a:pt x="320" y="256"/>
                  </a:lnTo>
                  <a:lnTo>
                    <a:pt x="320" y="248"/>
                  </a:lnTo>
                  <a:lnTo>
                    <a:pt x="328" y="232"/>
                  </a:lnTo>
                  <a:lnTo>
                    <a:pt x="336" y="224"/>
                  </a:lnTo>
                  <a:lnTo>
                    <a:pt x="344" y="232"/>
                  </a:lnTo>
                  <a:lnTo>
                    <a:pt x="360" y="232"/>
                  </a:lnTo>
                  <a:lnTo>
                    <a:pt x="376" y="224"/>
                  </a:lnTo>
                  <a:lnTo>
                    <a:pt x="376" y="216"/>
                  </a:lnTo>
                  <a:lnTo>
                    <a:pt x="376" y="216"/>
                  </a:lnTo>
                  <a:lnTo>
                    <a:pt x="384" y="216"/>
                  </a:lnTo>
                  <a:lnTo>
                    <a:pt x="392" y="232"/>
                  </a:lnTo>
                  <a:lnTo>
                    <a:pt x="392" y="240"/>
                  </a:lnTo>
                  <a:lnTo>
                    <a:pt x="416" y="264"/>
                  </a:lnTo>
                  <a:lnTo>
                    <a:pt x="416" y="272"/>
                  </a:lnTo>
                  <a:lnTo>
                    <a:pt x="424" y="280"/>
                  </a:lnTo>
                  <a:lnTo>
                    <a:pt x="424" y="288"/>
                  </a:lnTo>
                  <a:lnTo>
                    <a:pt x="424" y="304"/>
                  </a:lnTo>
                  <a:lnTo>
                    <a:pt x="432" y="304"/>
                  </a:lnTo>
                  <a:lnTo>
                    <a:pt x="448" y="296"/>
                  </a:lnTo>
                  <a:lnTo>
                    <a:pt x="448" y="288"/>
                  </a:lnTo>
                  <a:lnTo>
                    <a:pt x="448" y="288"/>
                  </a:lnTo>
                  <a:lnTo>
                    <a:pt x="448" y="288"/>
                  </a:lnTo>
                  <a:lnTo>
                    <a:pt x="456" y="296"/>
                  </a:lnTo>
                  <a:lnTo>
                    <a:pt x="464" y="304"/>
                  </a:lnTo>
                  <a:lnTo>
                    <a:pt x="464" y="312"/>
                  </a:lnTo>
                  <a:lnTo>
                    <a:pt x="464" y="320"/>
                  </a:lnTo>
                  <a:lnTo>
                    <a:pt x="464" y="320"/>
                  </a:lnTo>
                  <a:lnTo>
                    <a:pt x="472" y="352"/>
                  </a:lnTo>
                  <a:lnTo>
                    <a:pt x="472" y="368"/>
                  </a:lnTo>
                  <a:lnTo>
                    <a:pt x="472" y="376"/>
                  </a:lnTo>
                  <a:lnTo>
                    <a:pt x="480" y="368"/>
                  </a:lnTo>
                  <a:lnTo>
                    <a:pt x="488" y="352"/>
                  </a:lnTo>
                  <a:lnTo>
                    <a:pt x="488" y="352"/>
                  </a:lnTo>
                  <a:lnTo>
                    <a:pt x="480" y="328"/>
                  </a:lnTo>
                  <a:lnTo>
                    <a:pt x="472" y="320"/>
                  </a:lnTo>
                  <a:lnTo>
                    <a:pt x="472" y="312"/>
                  </a:lnTo>
                  <a:lnTo>
                    <a:pt x="472" y="312"/>
                  </a:lnTo>
                  <a:lnTo>
                    <a:pt x="472" y="304"/>
                  </a:lnTo>
                  <a:lnTo>
                    <a:pt x="472" y="288"/>
                  </a:lnTo>
                  <a:lnTo>
                    <a:pt x="464" y="272"/>
                  </a:lnTo>
                  <a:lnTo>
                    <a:pt x="464" y="256"/>
                  </a:lnTo>
                  <a:lnTo>
                    <a:pt x="472" y="256"/>
                  </a:lnTo>
                  <a:lnTo>
                    <a:pt x="472" y="256"/>
                  </a:lnTo>
                  <a:lnTo>
                    <a:pt x="480" y="248"/>
                  </a:lnTo>
                  <a:lnTo>
                    <a:pt x="488" y="240"/>
                  </a:lnTo>
                  <a:lnTo>
                    <a:pt x="504" y="232"/>
                  </a:lnTo>
                  <a:lnTo>
                    <a:pt x="504" y="224"/>
                  </a:lnTo>
                  <a:lnTo>
                    <a:pt x="504" y="224"/>
                  </a:lnTo>
                  <a:lnTo>
                    <a:pt x="504" y="224"/>
                  </a:lnTo>
                  <a:lnTo>
                    <a:pt x="496" y="224"/>
                  </a:lnTo>
                  <a:lnTo>
                    <a:pt x="488" y="216"/>
                  </a:lnTo>
                  <a:lnTo>
                    <a:pt x="480" y="200"/>
                  </a:lnTo>
                  <a:lnTo>
                    <a:pt x="480" y="192"/>
                  </a:lnTo>
                  <a:lnTo>
                    <a:pt x="472" y="200"/>
                  </a:lnTo>
                  <a:lnTo>
                    <a:pt x="464" y="192"/>
                  </a:lnTo>
                  <a:lnTo>
                    <a:pt x="464" y="184"/>
                  </a:lnTo>
                  <a:lnTo>
                    <a:pt x="480" y="168"/>
                  </a:lnTo>
                  <a:lnTo>
                    <a:pt x="480" y="152"/>
                  </a:lnTo>
                  <a:lnTo>
                    <a:pt x="472" y="144"/>
                  </a:lnTo>
                  <a:lnTo>
                    <a:pt x="456" y="136"/>
                  </a:lnTo>
                  <a:lnTo>
                    <a:pt x="448" y="128"/>
                  </a:lnTo>
                  <a:lnTo>
                    <a:pt x="440" y="120"/>
                  </a:lnTo>
                  <a:lnTo>
                    <a:pt x="440" y="120"/>
                  </a:lnTo>
                  <a:lnTo>
                    <a:pt x="440" y="120"/>
                  </a:lnTo>
                  <a:lnTo>
                    <a:pt x="432" y="128"/>
                  </a:lnTo>
                  <a:lnTo>
                    <a:pt x="432" y="128"/>
                  </a:lnTo>
                  <a:lnTo>
                    <a:pt x="432" y="128"/>
                  </a:lnTo>
                  <a:lnTo>
                    <a:pt x="424" y="128"/>
                  </a:lnTo>
                  <a:lnTo>
                    <a:pt x="424" y="128"/>
                  </a:lnTo>
                  <a:lnTo>
                    <a:pt x="416" y="128"/>
                  </a:lnTo>
                  <a:lnTo>
                    <a:pt x="416" y="136"/>
                  </a:lnTo>
                  <a:lnTo>
                    <a:pt x="392" y="144"/>
                  </a:lnTo>
                  <a:lnTo>
                    <a:pt x="392" y="144"/>
                  </a:lnTo>
                  <a:lnTo>
                    <a:pt x="376" y="136"/>
                  </a:lnTo>
                  <a:lnTo>
                    <a:pt x="368" y="136"/>
                  </a:lnTo>
                  <a:lnTo>
                    <a:pt x="360" y="144"/>
                  </a:lnTo>
                  <a:lnTo>
                    <a:pt x="352" y="152"/>
                  </a:lnTo>
                  <a:lnTo>
                    <a:pt x="352" y="152"/>
                  </a:lnTo>
                  <a:lnTo>
                    <a:pt x="352" y="144"/>
                  </a:lnTo>
                  <a:lnTo>
                    <a:pt x="344" y="144"/>
                  </a:lnTo>
                  <a:lnTo>
                    <a:pt x="336" y="144"/>
                  </a:lnTo>
                  <a:lnTo>
                    <a:pt x="320" y="144"/>
                  </a:lnTo>
                  <a:lnTo>
                    <a:pt x="320" y="144"/>
                  </a:lnTo>
                  <a:lnTo>
                    <a:pt x="304" y="136"/>
                  </a:lnTo>
                  <a:lnTo>
                    <a:pt x="304" y="136"/>
                  </a:lnTo>
                  <a:lnTo>
                    <a:pt x="296" y="136"/>
                  </a:lnTo>
                  <a:lnTo>
                    <a:pt x="296" y="136"/>
                  </a:lnTo>
                  <a:lnTo>
                    <a:pt x="288" y="128"/>
                  </a:lnTo>
                  <a:lnTo>
                    <a:pt x="280" y="120"/>
                  </a:lnTo>
                  <a:lnTo>
                    <a:pt x="272" y="112"/>
                  </a:lnTo>
                  <a:lnTo>
                    <a:pt x="256" y="112"/>
                  </a:lnTo>
                  <a:lnTo>
                    <a:pt x="256" y="112"/>
                  </a:lnTo>
                  <a:lnTo>
                    <a:pt x="240" y="104"/>
                  </a:lnTo>
                  <a:lnTo>
                    <a:pt x="224" y="104"/>
                  </a:lnTo>
                  <a:lnTo>
                    <a:pt x="224" y="96"/>
                  </a:lnTo>
                  <a:lnTo>
                    <a:pt x="224" y="88"/>
                  </a:lnTo>
                  <a:lnTo>
                    <a:pt x="224" y="80"/>
                  </a:lnTo>
                  <a:lnTo>
                    <a:pt x="224" y="80"/>
                  </a:lnTo>
                  <a:lnTo>
                    <a:pt x="232" y="80"/>
                  </a:lnTo>
                  <a:lnTo>
                    <a:pt x="232" y="80"/>
                  </a:lnTo>
                  <a:lnTo>
                    <a:pt x="232" y="80"/>
                  </a:lnTo>
                  <a:lnTo>
                    <a:pt x="232" y="72"/>
                  </a:lnTo>
                  <a:lnTo>
                    <a:pt x="232" y="56"/>
                  </a:lnTo>
                  <a:lnTo>
                    <a:pt x="248" y="48"/>
                  </a:lnTo>
                  <a:lnTo>
                    <a:pt x="248" y="40"/>
                  </a:lnTo>
                  <a:lnTo>
                    <a:pt x="232" y="32"/>
                  </a:lnTo>
                  <a:lnTo>
                    <a:pt x="224" y="40"/>
                  </a:lnTo>
                  <a:lnTo>
                    <a:pt x="208" y="40"/>
                  </a:lnTo>
                  <a:lnTo>
                    <a:pt x="200" y="32"/>
                  </a:lnTo>
                  <a:lnTo>
                    <a:pt x="192" y="24"/>
                  </a:lnTo>
                  <a:lnTo>
                    <a:pt x="184" y="24"/>
                  </a:lnTo>
                  <a:lnTo>
                    <a:pt x="184" y="24"/>
                  </a:lnTo>
                  <a:lnTo>
                    <a:pt x="176" y="16"/>
                  </a:lnTo>
                  <a:lnTo>
                    <a:pt x="176" y="16"/>
                  </a:lnTo>
                  <a:lnTo>
                    <a:pt x="176" y="16"/>
                  </a:lnTo>
                  <a:lnTo>
                    <a:pt x="168" y="8"/>
                  </a:lnTo>
                  <a:lnTo>
                    <a:pt x="160" y="8"/>
                  </a:lnTo>
                  <a:lnTo>
                    <a:pt x="144" y="16"/>
                  </a:lnTo>
                  <a:lnTo>
                    <a:pt x="136" y="16"/>
                  </a:lnTo>
                  <a:lnTo>
                    <a:pt x="136" y="8"/>
                  </a:lnTo>
                  <a:lnTo>
                    <a:pt x="136" y="8"/>
                  </a:lnTo>
                  <a:lnTo>
                    <a:pt x="136" y="0"/>
                  </a:lnTo>
                  <a:lnTo>
                    <a:pt x="128" y="0"/>
                  </a:lnTo>
                  <a:lnTo>
                    <a:pt x="120" y="8"/>
                  </a:lnTo>
                  <a:lnTo>
                    <a:pt x="120" y="8"/>
                  </a:lnTo>
                  <a:lnTo>
                    <a:pt x="112" y="8"/>
                  </a:lnTo>
                  <a:lnTo>
                    <a:pt x="104" y="16"/>
                  </a:lnTo>
                  <a:lnTo>
                    <a:pt x="96" y="16"/>
                  </a:lnTo>
                  <a:lnTo>
                    <a:pt x="96" y="16"/>
                  </a:lnTo>
                  <a:lnTo>
                    <a:pt x="88" y="16"/>
                  </a:lnTo>
                  <a:lnTo>
                    <a:pt x="80" y="16"/>
                  </a:lnTo>
                  <a:lnTo>
                    <a:pt x="72" y="16"/>
                  </a:lnTo>
                  <a:lnTo>
                    <a:pt x="72" y="8"/>
                  </a:lnTo>
                  <a:lnTo>
                    <a:pt x="64" y="8"/>
                  </a:lnTo>
                  <a:lnTo>
                    <a:pt x="48" y="24"/>
                  </a:lnTo>
                  <a:lnTo>
                    <a:pt x="40" y="32"/>
                  </a:lnTo>
                  <a:lnTo>
                    <a:pt x="32" y="40"/>
                  </a:lnTo>
                  <a:lnTo>
                    <a:pt x="16" y="40"/>
                  </a:lnTo>
                  <a:lnTo>
                    <a:pt x="16" y="40"/>
                  </a:lnTo>
                  <a:lnTo>
                    <a:pt x="8" y="40"/>
                  </a:lnTo>
                  <a:lnTo>
                    <a:pt x="8" y="40"/>
                  </a:lnTo>
                  <a:lnTo>
                    <a:pt x="0" y="56"/>
                  </a:lnTo>
                  <a:lnTo>
                    <a:pt x="0" y="64"/>
                  </a:lnTo>
                  <a:lnTo>
                    <a:pt x="0" y="64"/>
                  </a:lnTo>
                  <a:lnTo>
                    <a:pt x="0" y="64"/>
                  </a:lnTo>
                  <a:lnTo>
                    <a:pt x="0" y="72"/>
                  </a:lnTo>
                  <a:lnTo>
                    <a:pt x="0" y="80"/>
                  </a:lnTo>
                  <a:lnTo>
                    <a:pt x="0" y="88"/>
                  </a:lnTo>
                  <a:lnTo>
                    <a:pt x="0" y="88"/>
                  </a:lnTo>
                  <a:lnTo>
                    <a:pt x="8" y="96"/>
                  </a:lnTo>
                  <a:lnTo>
                    <a:pt x="8" y="96"/>
                  </a:lnTo>
                  <a:lnTo>
                    <a:pt x="16" y="96"/>
                  </a:lnTo>
                  <a:lnTo>
                    <a:pt x="16" y="104"/>
                  </a:lnTo>
                  <a:lnTo>
                    <a:pt x="8" y="112"/>
                  </a:lnTo>
                  <a:lnTo>
                    <a:pt x="8" y="120"/>
                  </a:lnTo>
                  <a:lnTo>
                    <a:pt x="24" y="136"/>
                  </a:lnTo>
                  <a:lnTo>
                    <a:pt x="32" y="152"/>
                  </a:lnTo>
                  <a:lnTo>
                    <a:pt x="32" y="160"/>
                  </a:lnTo>
                  <a:lnTo>
                    <a:pt x="32" y="160"/>
                  </a:lnTo>
                  <a:lnTo>
                    <a:pt x="16" y="168"/>
                  </a:lnTo>
                  <a:lnTo>
                    <a:pt x="16" y="184"/>
                  </a:lnTo>
                  <a:lnTo>
                    <a:pt x="16" y="184"/>
                  </a:lnTo>
                  <a:lnTo>
                    <a:pt x="32" y="184"/>
                  </a:lnTo>
                  <a:lnTo>
                    <a:pt x="32" y="184"/>
                  </a:lnTo>
                  <a:lnTo>
                    <a:pt x="32" y="184"/>
                  </a:lnTo>
                  <a:lnTo>
                    <a:pt x="48" y="184"/>
                  </a:lnTo>
                  <a:lnTo>
                    <a:pt x="48" y="184"/>
                  </a:lnTo>
                  <a:lnTo>
                    <a:pt x="56" y="184"/>
                  </a:lnTo>
                  <a:lnTo>
                    <a:pt x="64" y="184"/>
                  </a:lnTo>
                  <a:lnTo>
                    <a:pt x="64" y="184"/>
                  </a:lnTo>
                  <a:lnTo>
                    <a:pt x="72" y="184"/>
                  </a:lnTo>
                  <a:lnTo>
                    <a:pt x="72" y="184"/>
                  </a:lnTo>
                  <a:lnTo>
                    <a:pt x="80" y="192"/>
                  </a:lnTo>
                  <a:lnTo>
                    <a:pt x="88" y="200"/>
                  </a:lnTo>
                  <a:lnTo>
                    <a:pt x="104" y="216"/>
                  </a:lnTo>
                  <a:lnTo>
                    <a:pt x="112" y="216"/>
                  </a:lnTo>
                  <a:lnTo>
                    <a:pt x="120" y="216"/>
                  </a:lnTo>
                  <a:lnTo>
                    <a:pt x="112" y="216"/>
                  </a:lnTo>
                  <a:lnTo>
                    <a:pt x="112" y="224"/>
                  </a:lnTo>
                  <a:lnTo>
                    <a:pt x="112" y="224"/>
                  </a:lnTo>
                  <a:lnTo>
                    <a:pt x="104" y="224"/>
                  </a:lnTo>
                  <a:lnTo>
                    <a:pt x="104" y="224"/>
                  </a:lnTo>
                  <a:lnTo>
                    <a:pt x="104" y="232"/>
                  </a:lnTo>
                  <a:lnTo>
                    <a:pt x="120" y="240"/>
                  </a:lnTo>
                  <a:lnTo>
                    <a:pt x="136" y="240"/>
                  </a:lnTo>
                  <a:lnTo>
                    <a:pt x="136" y="232"/>
                  </a:lnTo>
                  <a:lnTo>
                    <a:pt x="144" y="224"/>
                  </a:lnTo>
                  <a:lnTo>
                    <a:pt x="144" y="224"/>
                  </a:lnTo>
                  <a:lnTo>
                    <a:pt x="144" y="224"/>
                  </a:lnTo>
                  <a:lnTo>
                    <a:pt x="144" y="224"/>
                  </a:lnTo>
                  <a:lnTo>
                    <a:pt x="152" y="240"/>
                  </a:lnTo>
                  <a:lnTo>
                    <a:pt x="144" y="256"/>
                  </a:lnTo>
                  <a:lnTo>
                    <a:pt x="144" y="256"/>
                  </a:lnTo>
                  <a:lnTo>
                    <a:pt x="152" y="264"/>
                  </a:lnTo>
                  <a:lnTo>
                    <a:pt x="144" y="25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87" name="Freeform 5"/>
            <p:cNvSpPr>
              <a:spLocks/>
            </p:cNvSpPr>
            <p:nvPr/>
          </p:nvSpPr>
          <p:spPr bwMode="auto">
            <a:xfrm>
              <a:off x="6578590" y="4140138"/>
              <a:ext cx="800099" cy="609591"/>
            </a:xfrm>
            <a:custGeom>
              <a:avLst/>
              <a:gdLst/>
              <a:ahLst/>
              <a:cxnLst>
                <a:cxn ang="0">
                  <a:pos x="504" y="240"/>
                </a:cxn>
                <a:cxn ang="0">
                  <a:pos x="496" y="272"/>
                </a:cxn>
                <a:cxn ang="0">
                  <a:pos x="480" y="304"/>
                </a:cxn>
                <a:cxn ang="0">
                  <a:pos x="464" y="352"/>
                </a:cxn>
                <a:cxn ang="0">
                  <a:pos x="416" y="368"/>
                </a:cxn>
                <a:cxn ang="0">
                  <a:pos x="392" y="368"/>
                </a:cxn>
                <a:cxn ang="0">
                  <a:pos x="336" y="360"/>
                </a:cxn>
                <a:cxn ang="0">
                  <a:pos x="328" y="336"/>
                </a:cxn>
                <a:cxn ang="0">
                  <a:pos x="320" y="328"/>
                </a:cxn>
                <a:cxn ang="0">
                  <a:pos x="312" y="320"/>
                </a:cxn>
                <a:cxn ang="0">
                  <a:pos x="312" y="312"/>
                </a:cxn>
                <a:cxn ang="0">
                  <a:pos x="296" y="328"/>
                </a:cxn>
                <a:cxn ang="0">
                  <a:pos x="304" y="320"/>
                </a:cxn>
                <a:cxn ang="0">
                  <a:pos x="304" y="288"/>
                </a:cxn>
                <a:cxn ang="0">
                  <a:pos x="288" y="320"/>
                </a:cxn>
                <a:cxn ang="0">
                  <a:pos x="272" y="312"/>
                </a:cxn>
                <a:cxn ang="0">
                  <a:pos x="256" y="280"/>
                </a:cxn>
                <a:cxn ang="0">
                  <a:pos x="184" y="280"/>
                </a:cxn>
                <a:cxn ang="0">
                  <a:pos x="128" y="304"/>
                </a:cxn>
                <a:cxn ang="0">
                  <a:pos x="104" y="312"/>
                </a:cxn>
                <a:cxn ang="0">
                  <a:pos x="96" y="312"/>
                </a:cxn>
                <a:cxn ang="0">
                  <a:pos x="40" y="320"/>
                </a:cxn>
                <a:cxn ang="0">
                  <a:pos x="32" y="296"/>
                </a:cxn>
                <a:cxn ang="0">
                  <a:pos x="24" y="264"/>
                </a:cxn>
                <a:cxn ang="0">
                  <a:pos x="8" y="216"/>
                </a:cxn>
                <a:cxn ang="0">
                  <a:pos x="0" y="200"/>
                </a:cxn>
                <a:cxn ang="0">
                  <a:pos x="8" y="200"/>
                </a:cxn>
                <a:cxn ang="0">
                  <a:pos x="8" y="200"/>
                </a:cxn>
                <a:cxn ang="0">
                  <a:pos x="0" y="184"/>
                </a:cxn>
                <a:cxn ang="0">
                  <a:pos x="0" y="144"/>
                </a:cxn>
                <a:cxn ang="0">
                  <a:pos x="24" y="136"/>
                </a:cxn>
                <a:cxn ang="0">
                  <a:pos x="80" y="120"/>
                </a:cxn>
                <a:cxn ang="0">
                  <a:pos x="112" y="88"/>
                </a:cxn>
                <a:cxn ang="0">
                  <a:pos x="120" y="80"/>
                </a:cxn>
                <a:cxn ang="0">
                  <a:pos x="128" y="88"/>
                </a:cxn>
                <a:cxn ang="0">
                  <a:pos x="128" y="72"/>
                </a:cxn>
                <a:cxn ang="0">
                  <a:pos x="136" y="72"/>
                </a:cxn>
                <a:cxn ang="0">
                  <a:pos x="152" y="48"/>
                </a:cxn>
                <a:cxn ang="0">
                  <a:pos x="168" y="40"/>
                </a:cxn>
                <a:cxn ang="0">
                  <a:pos x="184" y="56"/>
                </a:cxn>
                <a:cxn ang="0">
                  <a:pos x="200" y="56"/>
                </a:cxn>
                <a:cxn ang="0">
                  <a:pos x="200" y="48"/>
                </a:cxn>
                <a:cxn ang="0">
                  <a:pos x="208" y="24"/>
                </a:cxn>
                <a:cxn ang="0">
                  <a:pos x="240" y="16"/>
                </a:cxn>
                <a:cxn ang="0">
                  <a:pos x="232" y="8"/>
                </a:cxn>
                <a:cxn ang="0">
                  <a:pos x="264" y="16"/>
                </a:cxn>
                <a:cxn ang="0">
                  <a:pos x="296" y="24"/>
                </a:cxn>
                <a:cxn ang="0">
                  <a:pos x="280" y="56"/>
                </a:cxn>
                <a:cxn ang="0">
                  <a:pos x="288" y="56"/>
                </a:cxn>
                <a:cxn ang="0">
                  <a:pos x="312" y="72"/>
                </a:cxn>
                <a:cxn ang="0">
                  <a:pos x="336" y="88"/>
                </a:cxn>
                <a:cxn ang="0">
                  <a:pos x="360" y="56"/>
                </a:cxn>
                <a:cxn ang="0">
                  <a:pos x="360" y="16"/>
                </a:cxn>
                <a:cxn ang="0">
                  <a:pos x="368" y="0"/>
                </a:cxn>
                <a:cxn ang="0">
                  <a:pos x="376" y="24"/>
                </a:cxn>
                <a:cxn ang="0">
                  <a:pos x="400" y="48"/>
                </a:cxn>
                <a:cxn ang="0">
                  <a:pos x="416" y="104"/>
                </a:cxn>
                <a:cxn ang="0">
                  <a:pos x="448" y="128"/>
                </a:cxn>
                <a:cxn ang="0">
                  <a:pos x="464" y="152"/>
                </a:cxn>
                <a:cxn ang="0">
                  <a:pos x="488" y="176"/>
                </a:cxn>
                <a:cxn ang="0">
                  <a:pos x="496" y="192"/>
                </a:cxn>
              </a:cxnLst>
              <a:rect l="0" t="0" r="r" b="b"/>
              <a:pathLst>
                <a:path w="504" h="384">
                  <a:moveTo>
                    <a:pt x="496" y="192"/>
                  </a:moveTo>
                  <a:lnTo>
                    <a:pt x="504" y="216"/>
                  </a:lnTo>
                  <a:lnTo>
                    <a:pt x="504" y="240"/>
                  </a:lnTo>
                  <a:lnTo>
                    <a:pt x="496" y="256"/>
                  </a:lnTo>
                  <a:lnTo>
                    <a:pt x="496" y="256"/>
                  </a:lnTo>
                  <a:lnTo>
                    <a:pt x="496" y="272"/>
                  </a:lnTo>
                  <a:lnTo>
                    <a:pt x="496" y="272"/>
                  </a:lnTo>
                  <a:lnTo>
                    <a:pt x="488" y="288"/>
                  </a:lnTo>
                  <a:lnTo>
                    <a:pt x="480" y="304"/>
                  </a:lnTo>
                  <a:lnTo>
                    <a:pt x="472" y="312"/>
                  </a:lnTo>
                  <a:lnTo>
                    <a:pt x="464" y="344"/>
                  </a:lnTo>
                  <a:lnTo>
                    <a:pt x="464" y="352"/>
                  </a:lnTo>
                  <a:lnTo>
                    <a:pt x="464" y="352"/>
                  </a:lnTo>
                  <a:lnTo>
                    <a:pt x="456" y="360"/>
                  </a:lnTo>
                  <a:lnTo>
                    <a:pt x="416" y="368"/>
                  </a:lnTo>
                  <a:lnTo>
                    <a:pt x="416" y="384"/>
                  </a:lnTo>
                  <a:lnTo>
                    <a:pt x="392" y="368"/>
                  </a:lnTo>
                  <a:lnTo>
                    <a:pt x="392" y="368"/>
                  </a:lnTo>
                  <a:lnTo>
                    <a:pt x="384" y="376"/>
                  </a:lnTo>
                  <a:lnTo>
                    <a:pt x="360" y="376"/>
                  </a:lnTo>
                  <a:lnTo>
                    <a:pt x="336" y="360"/>
                  </a:lnTo>
                  <a:lnTo>
                    <a:pt x="336" y="344"/>
                  </a:lnTo>
                  <a:lnTo>
                    <a:pt x="336" y="344"/>
                  </a:lnTo>
                  <a:lnTo>
                    <a:pt x="328" y="336"/>
                  </a:lnTo>
                  <a:lnTo>
                    <a:pt x="328" y="328"/>
                  </a:lnTo>
                  <a:lnTo>
                    <a:pt x="328" y="328"/>
                  </a:lnTo>
                  <a:lnTo>
                    <a:pt x="320" y="328"/>
                  </a:lnTo>
                  <a:lnTo>
                    <a:pt x="312" y="328"/>
                  </a:lnTo>
                  <a:lnTo>
                    <a:pt x="312" y="328"/>
                  </a:lnTo>
                  <a:lnTo>
                    <a:pt x="312" y="320"/>
                  </a:lnTo>
                  <a:lnTo>
                    <a:pt x="312" y="320"/>
                  </a:lnTo>
                  <a:lnTo>
                    <a:pt x="312" y="312"/>
                  </a:lnTo>
                  <a:lnTo>
                    <a:pt x="312" y="312"/>
                  </a:lnTo>
                  <a:lnTo>
                    <a:pt x="312" y="320"/>
                  </a:lnTo>
                  <a:lnTo>
                    <a:pt x="304" y="320"/>
                  </a:lnTo>
                  <a:lnTo>
                    <a:pt x="296" y="328"/>
                  </a:lnTo>
                  <a:lnTo>
                    <a:pt x="296" y="320"/>
                  </a:lnTo>
                  <a:lnTo>
                    <a:pt x="296" y="320"/>
                  </a:lnTo>
                  <a:lnTo>
                    <a:pt x="304" y="320"/>
                  </a:lnTo>
                  <a:lnTo>
                    <a:pt x="304" y="296"/>
                  </a:lnTo>
                  <a:lnTo>
                    <a:pt x="304" y="296"/>
                  </a:lnTo>
                  <a:lnTo>
                    <a:pt x="304" y="288"/>
                  </a:lnTo>
                  <a:lnTo>
                    <a:pt x="304" y="288"/>
                  </a:lnTo>
                  <a:lnTo>
                    <a:pt x="296" y="304"/>
                  </a:lnTo>
                  <a:lnTo>
                    <a:pt x="288" y="320"/>
                  </a:lnTo>
                  <a:lnTo>
                    <a:pt x="280" y="320"/>
                  </a:lnTo>
                  <a:lnTo>
                    <a:pt x="272" y="320"/>
                  </a:lnTo>
                  <a:lnTo>
                    <a:pt x="272" y="312"/>
                  </a:lnTo>
                  <a:lnTo>
                    <a:pt x="272" y="312"/>
                  </a:lnTo>
                  <a:lnTo>
                    <a:pt x="264" y="296"/>
                  </a:lnTo>
                  <a:lnTo>
                    <a:pt x="256" y="280"/>
                  </a:lnTo>
                  <a:lnTo>
                    <a:pt x="224" y="272"/>
                  </a:lnTo>
                  <a:lnTo>
                    <a:pt x="200" y="272"/>
                  </a:lnTo>
                  <a:lnTo>
                    <a:pt x="184" y="280"/>
                  </a:lnTo>
                  <a:lnTo>
                    <a:pt x="160" y="288"/>
                  </a:lnTo>
                  <a:lnTo>
                    <a:pt x="128" y="296"/>
                  </a:lnTo>
                  <a:lnTo>
                    <a:pt x="128" y="304"/>
                  </a:lnTo>
                  <a:lnTo>
                    <a:pt x="128" y="304"/>
                  </a:lnTo>
                  <a:lnTo>
                    <a:pt x="120" y="304"/>
                  </a:lnTo>
                  <a:lnTo>
                    <a:pt x="104" y="312"/>
                  </a:lnTo>
                  <a:lnTo>
                    <a:pt x="104" y="312"/>
                  </a:lnTo>
                  <a:lnTo>
                    <a:pt x="96" y="312"/>
                  </a:lnTo>
                  <a:lnTo>
                    <a:pt x="96" y="312"/>
                  </a:lnTo>
                  <a:lnTo>
                    <a:pt x="88" y="312"/>
                  </a:lnTo>
                  <a:lnTo>
                    <a:pt x="64" y="320"/>
                  </a:lnTo>
                  <a:lnTo>
                    <a:pt x="40" y="320"/>
                  </a:lnTo>
                  <a:lnTo>
                    <a:pt x="24" y="312"/>
                  </a:lnTo>
                  <a:lnTo>
                    <a:pt x="24" y="304"/>
                  </a:lnTo>
                  <a:lnTo>
                    <a:pt x="32" y="296"/>
                  </a:lnTo>
                  <a:lnTo>
                    <a:pt x="32" y="280"/>
                  </a:lnTo>
                  <a:lnTo>
                    <a:pt x="24" y="264"/>
                  </a:lnTo>
                  <a:lnTo>
                    <a:pt x="24" y="264"/>
                  </a:lnTo>
                  <a:lnTo>
                    <a:pt x="8" y="216"/>
                  </a:lnTo>
                  <a:lnTo>
                    <a:pt x="8" y="216"/>
                  </a:lnTo>
                  <a:lnTo>
                    <a:pt x="8" y="216"/>
                  </a:lnTo>
                  <a:lnTo>
                    <a:pt x="0" y="208"/>
                  </a:lnTo>
                  <a:lnTo>
                    <a:pt x="0" y="200"/>
                  </a:lnTo>
                  <a:lnTo>
                    <a:pt x="0" y="200"/>
                  </a:lnTo>
                  <a:lnTo>
                    <a:pt x="8" y="200"/>
                  </a:lnTo>
                  <a:lnTo>
                    <a:pt x="8" y="200"/>
                  </a:lnTo>
                  <a:lnTo>
                    <a:pt x="8" y="200"/>
                  </a:lnTo>
                  <a:lnTo>
                    <a:pt x="8" y="200"/>
                  </a:lnTo>
                  <a:lnTo>
                    <a:pt x="8" y="200"/>
                  </a:lnTo>
                  <a:lnTo>
                    <a:pt x="8" y="200"/>
                  </a:lnTo>
                  <a:lnTo>
                    <a:pt x="8" y="200"/>
                  </a:lnTo>
                  <a:lnTo>
                    <a:pt x="8" y="192"/>
                  </a:lnTo>
                  <a:lnTo>
                    <a:pt x="0" y="184"/>
                  </a:lnTo>
                  <a:lnTo>
                    <a:pt x="0" y="176"/>
                  </a:lnTo>
                  <a:lnTo>
                    <a:pt x="0" y="152"/>
                  </a:lnTo>
                  <a:lnTo>
                    <a:pt x="0" y="144"/>
                  </a:lnTo>
                  <a:lnTo>
                    <a:pt x="8" y="144"/>
                  </a:lnTo>
                  <a:lnTo>
                    <a:pt x="16" y="144"/>
                  </a:lnTo>
                  <a:lnTo>
                    <a:pt x="24" y="136"/>
                  </a:lnTo>
                  <a:lnTo>
                    <a:pt x="32" y="128"/>
                  </a:lnTo>
                  <a:lnTo>
                    <a:pt x="56" y="128"/>
                  </a:lnTo>
                  <a:lnTo>
                    <a:pt x="80" y="120"/>
                  </a:lnTo>
                  <a:lnTo>
                    <a:pt x="112" y="104"/>
                  </a:lnTo>
                  <a:lnTo>
                    <a:pt x="112" y="96"/>
                  </a:lnTo>
                  <a:lnTo>
                    <a:pt x="112" y="88"/>
                  </a:lnTo>
                  <a:lnTo>
                    <a:pt x="112" y="80"/>
                  </a:lnTo>
                  <a:lnTo>
                    <a:pt x="120" y="80"/>
                  </a:lnTo>
                  <a:lnTo>
                    <a:pt x="120" y="80"/>
                  </a:lnTo>
                  <a:lnTo>
                    <a:pt x="120" y="80"/>
                  </a:lnTo>
                  <a:lnTo>
                    <a:pt x="128" y="88"/>
                  </a:lnTo>
                  <a:lnTo>
                    <a:pt x="128" y="88"/>
                  </a:lnTo>
                  <a:lnTo>
                    <a:pt x="128" y="72"/>
                  </a:lnTo>
                  <a:lnTo>
                    <a:pt x="128" y="72"/>
                  </a:lnTo>
                  <a:lnTo>
                    <a:pt x="128" y="72"/>
                  </a:lnTo>
                  <a:lnTo>
                    <a:pt x="136" y="72"/>
                  </a:lnTo>
                  <a:lnTo>
                    <a:pt x="136" y="72"/>
                  </a:lnTo>
                  <a:lnTo>
                    <a:pt x="136" y="72"/>
                  </a:lnTo>
                  <a:lnTo>
                    <a:pt x="136" y="64"/>
                  </a:lnTo>
                  <a:lnTo>
                    <a:pt x="152" y="56"/>
                  </a:lnTo>
                  <a:lnTo>
                    <a:pt x="152" y="48"/>
                  </a:lnTo>
                  <a:lnTo>
                    <a:pt x="152" y="48"/>
                  </a:lnTo>
                  <a:lnTo>
                    <a:pt x="152" y="48"/>
                  </a:lnTo>
                  <a:lnTo>
                    <a:pt x="168" y="40"/>
                  </a:lnTo>
                  <a:lnTo>
                    <a:pt x="184" y="40"/>
                  </a:lnTo>
                  <a:lnTo>
                    <a:pt x="184" y="56"/>
                  </a:lnTo>
                  <a:lnTo>
                    <a:pt x="184" y="56"/>
                  </a:lnTo>
                  <a:lnTo>
                    <a:pt x="184" y="56"/>
                  </a:lnTo>
                  <a:lnTo>
                    <a:pt x="192" y="56"/>
                  </a:lnTo>
                  <a:lnTo>
                    <a:pt x="200" y="56"/>
                  </a:lnTo>
                  <a:lnTo>
                    <a:pt x="200" y="56"/>
                  </a:lnTo>
                  <a:lnTo>
                    <a:pt x="200" y="56"/>
                  </a:lnTo>
                  <a:lnTo>
                    <a:pt x="200" y="48"/>
                  </a:lnTo>
                  <a:lnTo>
                    <a:pt x="200" y="48"/>
                  </a:lnTo>
                  <a:lnTo>
                    <a:pt x="208" y="40"/>
                  </a:lnTo>
                  <a:lnTo>
                    <a:pt x="208" y="24"/>
                  </a:lnTo>
                  <a:lnTo>
                    <a:pt x="224" y="24"/>
                  </a:lnTo>
                  <a:lnTo>
                    <a:pt x="232" y="24"/>
                  </a:lnTo>
                  <a:lnTo>
                    <a:pt x="240" y="16"/>
                  </a:lnTo>
                  <a:lnTo>
                    <a:pt x="240" y="16"/>
                  </a:lnTo>
                  <a:lnTo>
                    <a:pt x="240" y="16"/>
                  </a:lnTo>
                  <a:lnTo>
                    <a:pt x="232" y="8"/>
                  </a:lnTo>
                  <a:lnTo>
                    <a:pt x="232" y="8"/>
                  </a:lnTo>
                  <a:lnTo>
                    <a:pt x="240" y="8"/>
                  </a:lnTo>
                  <a:lnTo>
                    <a:pt x="264" y="16"/>
                  </a:lnTo>
                  <a:lnTo>
                    <a:pt x="280" y="16"/>
                  </a:lnTo>
                  <a:lnTo>
                    <a:pt x="288" y="16"/>
                  </a:lnTo>
                  <a:lnTo>
                    <a:pt x="296" y="24"/>
                  </a:lnTo>
                  <a:lnTo>
                    <a:pt x="288" y="32"/>
                  </a:lnTo>
                  <a:lnTo>
                    <a:pt x="288" y="32"/>
                  </a:lnTo>
                  <a:lnTo>
                    <a:pt x="280" y="56"/>
                  </a:lnTo>
                  <a:lnTo>
                    <a:pt x="280" y="56"/>
                  </a:lnTo>
                  <a:lnTo>
                    <a:pt x="288" y="56"/>
                  </a:lnTo>
                  <a:lnTo>
                    <a:pt x="288" y="56"/>
                  </a:lnTo>
                  <a:lnTo>
                    <a:pt x="288" y="64"/>
                  </a:lnTo>
                  <a:lnTo>
                    <a:pt x="296" y="72"/>
                  </a:lnTo>
                  <a:lnTo>
                    <a:pt x="312" y="72"/>
                  </a:lnTo>
                  <a:lnTo>
                    <a:pt x="328" y="88"/>
                  </a:lnTo>
                  <a:lnTo>
                    <a:pt x="336" y="88"/>
                  </a:lnTo>
                  <a:lnTo>
                    <a:pt x="336" y="88"/>
                  </a:lnTo>
                  <a:lnTo>
                    <a:pt x="344" y="88"/>
                  </a:lnTo>
                  <a:lnTo>
                    <a:pt x="352" y="72"/>
                  </a:lnTo>
                  <a:lnTo>
                    <a:pt x="360" y="56"/>
                  </a:lnTo>
                  <a:lnTo>
                    <a:pt x="360" y="56"/>
                  </a:lnTo>
                  <a:lnTo>
                    <a:pt x="360" y="16"/>
                  </a:lnTo>
                  <a:lnTo>
                    <a:pt x="360" y="16"/>
                  </a:lnTo>
                  <a:lnTo>
                    <a:pt x="360" y="16"/>
                  </a:lnTo>
                  <a:lnTo>
                    <a:pt x="368" y="0"/>
                  </a:lnTo>
                  <a:lnTo>
                    <a:pt x="368" y="0"/>
                  </a:lnTo>
                  <a:lnTo>
                    <a:pt x="368" y="0"/>
                  </a:lnTo>
                  <a:lnTo>
                    <a:pt x="368" y="8"/>
                  </a:lnTo>
                  <a:lnTo>
                    <a:pt x="376" y="24"/>
                  </a:lnTo>
                  <a:lnTo>
                    <a:pt x="384" y="48"/>
                  </a:lnTo>
                  <a:lnTo>
                    <a:pt x="392" y="48"/>
                  </a:lnTo>
                  <a:lnTo>
                    <a:pt x="400" y="48"/>
                  </a:lnTo>
                  <a:lnTo>
                    <a:pt x="400" y="72"/>
                  </a:lnTo>
                  <a:lnTo>
                    <a:pt x="408" y="72"/>
                  </a:lnTo>
                  <a:lnTo>
                    <a:pt x="416" y="104"/>
                  </a:lnTo>
                  <a:lnTo>
                    <a:pt x="416" y="112"/>
                  </a:lnTo>
                  <a:lnTo>
                    <a:pt x="440" y="120"/>
                  </a:lnTo>
                  <a:lnTo>
                    <a:pt x="448" y="128"/>
                  </a:lnTo>
                  <a:lnTo>
                    <a:pt x="456" y="144"/>
                  </a:lnTo>
                  <a:lnTo>
                    <a:pt x="456" y="152"/>
                  </a:lnTo>
                  <a:lnTo>
                    <a:pt x="464" y="152"/>
                  </a:lnTo>
                  <a:lnTo>
                    <a:pt x="464" y="152"/>
                  </a:lnTo>
                  <a:lnTo>
                    <a:pt x="464" y="160"/>
                  </a:lnTo>
                  <a:lnTo>
                    <a:pt x="488" y="176"/>
                  </a:lnTo>
                  <a:lnTo>
                    <a:pt x="496" y="184"/>
                  </a:lnTo>
                  <a:lnTo>
                    <a:pt x="496" y="184"/>
                  </a:lnTo>
                  <a:lnTo>
                    <a:pt x="496" y="19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88" name="Freeform 6"/>
            <p:cNvSpPr>
              <a:spLocks/>
            </p:cNvSpPr>
            <p:nvPr/>
          </p:nvSpPr>
          <p:spPr bwMode="auto">
            <a:xfrm>
              <a:off x="4151306" y="2628861"/>
              <a:ext cx="776286" cy="546092"/>
            </a:xfrm>
            <a:custGeom>
              <a:avLst/>
              <a:gdLst/>
              <a:ahLst/>
              <a:cxnLst>
                <a:cxn ang="0">
                  <a:pos x="465" y="248"/>
                </a:cxn>
                <a:cxn ang="0">
                  <a:pos x="473" y="272"/>
                </a:cxn>
                <a:cxn ang="0">
                  <a:pos x="441" y="280"/>
                </a:cxn>
                <a:cxn ang="0">
                  <a:pos x="417" y="288"/>
                </a:cxn>
                <a:cxn ang="0">
                  <a:pos x="401" y="288"/>
                </a:cxn>
                <a:cxn ang="0">
                  <a:pos x="417" y="312"/>
                </a:cxn>
                <a:cxn ang="0">
                  <a:pos x="417" y="320"/>
                </a:cxn>
                <a:cxn ang="0">
                  <a:pos x="401" y="320"/>
                </a:cxn>
                <a:cxn ang="0">
                  <a:pos x="401" y="336"/>
                </a:cxn>
                <a:cxn ang="0">
                  <a:pos x="393" y="320"/>
                </a:cxn>
                <a:cxn ang="0">
                  <a:pos x="377" y="304"/>
                </a:cxn>
                <a:cxn ang="0">
                  <a:pos x="361" y="264"/>
                </a:cxn>
                <a:cxn ang="0">
                  <a:pos x="321" y="240"/>
                </a:cxn>
                <a:cxn ang="0">
                  <a:pos x="289" y="216"/>
                </a:cxn>
                <a:cxn ang="0">
                  <a:pos x="273" y="208"/>
                </a:cxn>
                <a:cxn ang="0">
                  <a:pos x="297" y="256"/>
                </a:cxn>
                <a:cxn ang="0">
                  <a:pos x="313" y="264"/>
                </a:cxn>
                <a:cxn ang="0">
                  <a:pos x="345" y="288"/>
                </a:cxn>
                <a:cxn ang="0">
                  <a:pos x="321" y="288"/>
                </a:cxn>
                <a:cxn ang="0">
                  <a:pos x="321" y="320"/>
                </a:cxn>
                <a:cxn ang="0">
                  <a:pos x="313" y="288"/>
                </a:cxn>
                <a:cxn ang="0">
                  <a:pos x="289" y="272"/>
                </a:cxn>
                <a:cxn ang="0">
                  <a:pos x="240" y="224"/>
                </a:cxn>
                <a:cxn ang="0">
                  <a:pos x="192" y="240"/>
                </a:cxn>
                <a:cxn ang="0">
                  <a:pos x="160" y="256"/>
                </a:cxn>
                <a:cxn ang="0">
                  <a:pos x="120" y="304"/>
                </a:cxn>
                <a:cxn ang="0">
                  <a:pos x="88" y="336"/>
                </a:cxn>
                <a:cxn ang="0">
                  <a:pos x="56" y="344"/>
                </a:cxn>
                <a:cxn ang="0">
                  <a:pos x="8" y="328"/>
                </a:cxn>
                <a:cxn ang="0">
                  <a:pos x="8" y="296"/>
                </a:cxn>
                <a:cxn ang="0">
                  <a:pos x="8" y="248"/>
                </a:cxn>
                <a:cxn ang="0">
                  <a:pos x="48" y="232"/>
                </a:cxn>
                <a:cxn ang="0">
                  <a:pos x="80" y="240"/>
                </a:cxn>
                <a:cxn ang="0">
                  <a:pos x="104" y="216"/>
                </a:cxn>
                <a:cxn ang="0">
                  <a:pos x="104" y="192"/>
                </a:cxn>
                <a:cxn ang="0">
                  <a:pos x="88" y="176"/>
                </a:cxn>
                <a:cxn ang="0">
                  <a:pos x="64" y="160"/>
                </a:cxn>
                <a:cxn ang="0">
                  <a:pos x="88" y="160"/>
                </a:cxn>
                <a:cxn ang="0">
                  <a:pos x="96" y="152"/>
                </a:cxn>
                <a:cxn ang="0">
                  <a:pos x="96" y="144"/>
                </a:cxn>
                <a:cxn ang="0">
                  <a:pos x="120" y="136"/>
                </a:cxn>
                <a:cxn ang="0">
                  <a:pos x="144" y="120"/>
                </a:cxn>
                <a:cxn ang="0">
                  <a:pos x="176" y="96"/>
                </a:cxn>
                <a:cxn ang="0">
                  <a:pos x="208" y="80"/>
                </a:cxn>
                <a:cxn ang="0">
                  <a:pos x="232" y="72"/>
                </a:cxn>
                <a:cxn ang="0">
                  <a:pos x="240" y="8"/>
                </a:cxn>
                <a:cxn ang="0">
                  <a:pos x="240" y="24"/>
                </a:cxn>
                <a:cxn ang="0">
                  <a:pos x="240" y="40"/>
                </a:cxn>
                <a:cxn ang="0">
                  <a:pos x="248" y="64"/>
                </a:cxn>
                <a:cxn ang="0">
                  <a:pos x="289" y="56"/>
                </a:cxn>
                <a:cxn ang="0">
                  <a:pos x="297" y="64"/>
                </a:cxn>
                <a:cxn ang="0">
                  <a:pos x="345" y="48"/>
                </a:cxn>
                <a:cxn ang="0">
                  <a:pos x="393" y="56"/>
                </a:cxn>
                <a:cxn ang="0">
                  <a:pos x="409" y="88"/>
                </a:cxn>
                <a:cxn ang="0">
                  <a:pos x="401" y="168"/>
                </a:cxn>
                <a:cxn ang="0">
                  <a:pos x="457" y="160"/>
                </a:cxn>
                <a:cxn ang="0">
                  <a:pos x="473" y="200"/>
                </a:cxn>
                <a:cxn ang="0">
                  <a:pos x="489" y="208"/>
                </a:cxn>
              </a:cxnLst>
              <a:rect l="0" t="0" r="r" b="b"/>
              <a:pathLst>
                <a:path w="489" h="344">
                  <a:moveTo>
                    <a:pt x="473" y="216"/>
                  </a:moveTo>
                  <a:lnTo>
                    <a:pt x="473" y="224"/>
                  </a:lnTo>
                  <a:lnTo>
                    <a:pt x="473" y="232"/>
                  </a:lnTo>
                  <a:lnTo>
                    <a:pt x="473" y="232"/>
                  </a:lnTo>
                  <a:lnTo>
                    <a:pt x="465" y="248"/>
                  </a:lnTo>
                  <a:lnTo>
                    <a:pt x="465" y="256"/>
                  </a:lnTo>
                  <a:lnTo>
                    <a:pt x="473" y="272"/>
                  </a:lnTo>
                  <a:lnTo>
                    <a:pt x="473" y="272"/>
                  </a:lnTo>
                  <a:lnTo>
                    <a:pt x="473" y="272"/>
                  </a:lnTo>
                  <a:lnTo>
                    <a:pt x="473" y="272"/>
                  </a:lnTo>
                  <a:lnTo>
                    <a:pt x="465" y="272"/>
                  </a:lnTo>
                  <a:lnTo>
                    <a:pt x="465" y="272"/>
                  </a:lnTo>
                  <a:lnTo>
                    <a:pt x="457" y="272"/>
                  </a:lnTo>
                  <a:lnTo>
                    <a:pt x="449" y="280"/>
                  </a:lnTo>
                  <a:lnTo>
                    <a:pt x="441" y="280"/>
                  </a:lnTo>
                  <a:lnTo>
                    <a:pt x="433" y="272"/>
                  </a:lnTo>
                  <a:lnTo>
                    <a:pt x="417" y="280"/>
                  </a:lnTo>
                  <a:lnTo>
                    <a:pt x="417" y="280"/>
                  </a:lnTo>
                  <a:lnTo>
                    <a:pt x="417" y="280"/>
                  </a:lnTo>
                  <a:lnTo>
                    <a:pt x="417" y="288"/>
                  </a:lnTo>
                  <a:lnTo>
                    <a:pt x="417" y="288"/>
                  </a:lnTo>
                  <a:lnTo>
                    <a:pt x="409" y="288"/>
                  </a:lnTo>
                  <a:lnTo>
                    <a:pt x="401" y="280"/>
                  </a:lnTo>
                  <a:lnTo>
                    <a:pt x="401" y="280"/>
                  </a:lnTo>
                  <a:lnTo>
                    <a:pt x="401" y="288"/>
                  </a:lnTo>
                  <a:lnTo>
                    <a:pt x="409" y="296"/>
                  </a:lnTo>
                  <a:lnTo>
                    <a:pt x="409" y="296"/>
                  </a:lnTo>
                  <a:lnTo>
                    <a:pt x="401" y="304"/>
                  </a:lnTo>
                  <a:lnTo>
                    <a:pt x="401" y="304"/>
                  </a:lnTo>
                  <a:lnTo>
                    <a:pt x="417" y="312"/>
                  </a:lnTo>
                  <a:lnTo>
                    <a:pt x="417" y="320"/>
                  </a:lnTo>
                  <a:lnTo>
                    <a:pt x="425" y="320"/>
                  </a:lnTo>
                  <a:lnTo>
                    <a:pt x="417" y="320"/>
                  </a:lnTo>
                  <a:lnTo>
                    <a:pt x="417" y="320"/>
                  </a:lnTo>
                  <a:lnTo>
                    <a:pt x="417" y="320"/>
                  </a:lnTo>
                  <a:lnTo>
                    <a:pt x="417" y="320"/>
                  </a:lnTo>
                  <a:lnTo>
                    <a:pt x="409" y="320"/>
                  </a:lnTo>
                  <a:lnTo>
                    <a:pt x="401" y="320"/>
                  </a:lnTo>
                  <a:lnTo>
                    <a:pt x="401" y="312"/>
                  </a:lnTo>
                  <a:lnTo>
                    <a:pt x="401" y="320"/>
                  </a:lnTo>
                  <a:lnTo>
                    <a:pt x="401" y="320"/>
                  </a:lnTo>
                  <a:lnTo>
                    <a:pt x="401" y="328"/>
                  </a:lnTo>
                  <a:lnTo>
                    <a:pt x="401" y="336"/>
                  </a:lnTo>
                  <a:lnTo>
                    <a:pt x="401" y="336"/>
                  </a:lnTo>
                  <a:lnTo>
                    <a:pt x="401" y="336"/>
                  </a:lnTo>
                  <a:lnTo>
                    <a:pt x="401" y="336"/>
                  </a:lnTo>
                  <a:lnTo>
                    <a:pt x="385" y="336"/>
                  </a:lnTo>
                  <a:lnTo>
                    <a:pt x="385" y="320"/>
                  </a:lnTo>
                  <a:lnTo>
                    <a:pt x="385" y="320"/>
                  </a:lnTo>
                  <a:lnTo>
                    <a:pt x="393" y="320"/>
                  </a:lnTo>
                  <a:lnTo>
                    <a:pt x="393" y="312"/>
                  </a:lnTo>
                  <a:lnTo>
                    <a:pt x="385" y="312"/>
                  </a:lnTo>
                  <a:lnTo>
                    <a:pt x="385" y="312"/>
                  </a:lnTo>
                  <a:lnTo>
                    <a:pt x="377" y="312"/>
                  </a:lnTo>
                  <a:lnTo>
                    <a:pt x="377" y="304"/>
                  </a:lnTo>
                  <a:lnTo>
                    <a:pt x="369" y="296"/>
                  </a:lnTo>
                  <a:lnTo>
                    <a:pt x="361" y="288"/>
                  </a:lnTo>
                  <a:lnTo>
                    <a:pt x="361" y="280"/>
                  </a:lnTo>
                  <a:lnTo>
                    <a:pt x="361" y="264"/>
                  </a:lnTo>
                  <a:lnTo>
                    <a:pt x="361" y="264"/>
                  </a:lnTo>
                  <a:lnTo>
                    <a:pt x="353" y="248"/>
                  </a:lnTo>
                  <a:lnTo>
                    <a:pt x="329" y="240"/>
                  </a:lnTo>
                  <a:lnTo>
                    <a:pt x="329" y="240"/>
                  </a:lnTo>
                  <a:lnTo>
                    <a:pt x="329" y="240"/>
                  </a:lnTo>
                  <a:lnTo>
                    <a:pt x="321" y="240"/>
                  </a:lnTo>
                  <a:lnTo>
                    <a:pt x="313" y="240"/>
                  </a:lnTo>
                  <a:lnTo>
                    <a:pt x="305" y="224"/>
                  </a:lnTo>
                  <a:lnTo>
                    <a:pt x="305" y="216"/>
                  </a:lnTo>
                  <a:lnTo>
                    <a:pt x="305" y="216"/>
                  </a:lnTo>
                  <a:lnTo>
                    <a:pt x="289" y="216"/>
                  </a:lnTo>
                  <a:lnTo>
                    <a:pt x="289" y="216"/>
                  </a:lnTo>
                  <a:lnTo>
                    <a:pt x="289" y="200"/>
                  </a:lnTo>
                  <a:lnTo>
                    <a:pt x="281" y="208"/>
                  </a:lnTo>
                  <a:lnTo>
                    <a:pt x="273" y="208"/>
                  </a:lnTo>
                  <a:lnTo>
                    <a:pt x="273" y="208"/>
                  </a:lnTo>
                  <a:lnTo>
                    <a:pt x="273" y="216"/>
                  </a:lnTo>
                  <a:lnTo>
                    <a:pt x="273" y="216"/>
                  </a:lnTo>
                  <a:lnTo>
                    <a:pt x="273" y="232"/>
                  </a:lnTo>
                  <a:lnTo>
                    <a:pt x="289" y="232"/>
                  </a:lnTo>
                  <a:lnTo>
                    <a:pt x="297" y="256"/>
                  </a:lnTo>
                  <a:lnTo>
                    <a:pt x="305" y="264"/>
                  </a:lnTo>
                  <a:lnTo>
                    <a:pt x="313" y="264"/>
                  </a:lnTo>
                  <a:lnTo>
                    <a:pt x="313" y="264"/>
                  </a:lnTo>
                  <a:lnTo>
                    <a:pt x="313" y="264"/>
                  </a:lnTo>
                  <a:lnTo>
                    <a:pt x="313" y="264"/>
                  </a:lnTo>
                  <a:lnTo>
                    <a:pt x="329" y="272"/>
                  </a:lnTo>
                  <a:lnTo>
                    <a:pt x="337" y="280"/>
                  </a:lnTo>
                  <a:lnTo>
                    <a:pt x="345" y="280"/>
                  </a:lnTo>
                  <a:lnTo>
                    <a:pt x="345" y="288"/>
                  </a:lnTo>
                  <a:lnTo>
                    <a:pt x="345" y="288"/>
                  </a:lnTo>
                  <a:lnTo>
                    <a:pt x="345" y="288"/>
                  </a:lnTo>
                  <a:lnTo>
                    <a:pt x="337" y="288"/>
                  </a:lnTo>
                  <a:lnTo>
                    <a:pt x="321" y="280"/>
                  </a:lnTo>
                  <a:lnTo>
                    <a:pt x="321" y="288"/>
                  </a:lnTo>
                  <a:lnTo>
                    <a:pt x="321" y="288"/>
                  </a:lnTo>
                  <a:lnTo>
                    <a:pt x="329" y="296"/>
                  </a:lnTo>
                  <a:lnTo>
                    <a:pt x="329" y="304"/>
                  </a:lnTo>
                  <a:lnTo>
                    <a:pt x="329" y="304"/>
                  </a:lnTo>
                  <a:lnTo>
                    <a:pt x="321" y="304"/>
                  </a:lnTo>
                  <a:lnTo>
                    <a:pt x="321" y="320"/>
                  </a:lnTo>
                  <a:lnTo>
                    <a:pt x="313" y="320"/>
                  </a:lnTo>
                  <a:lnTo>
                    <a:pt x="313" y="320"/>
                  </a:lnTo>
                  <a:lnTo>
                    <a:pt x="321" y="312"/>
                  </a:lnTo>
                  <a:lnTo>
                    <a:pt x="313" y="296"/>
                  </a:lnTo>
                  <a:lnTo>
                    <a:pt x="313" y="288"/>
                  </a:lnTo>
                  <a:lnTo>
                    <a:pt x="305" y="280"/>
                  </a:lnTo>
                  <a:lnTo>
                    <a:pt x="305" y="280"/>
                  </a:lnTo>
                  <a:lnTo>
                    <a:pt x="305" y="280"/>
                  </a:lnTo>
                  <a:lnTo>
                    <a:pt x="289" y="280"/>
                  </a:lnTo>
                  <a:lnTo>
                    <a:pt x="289" y="272"/>
                  </a:lnTo>
                  <a:lnTo>
                    <a:pt x="289" y="272"/>
                  </a:lnTo>
                  <a:lnTo>
                    <a:pt x="281" y="272"/>
                  </a:lnTo>
                  <a:lnTo>
                    <a:pt x="265" y="256"/>
                  </a:lnTo>
                  <a:lnTo>
                    <a:pt x="248" y="240"/>
                  </a:lnTo>
                  <a:lnTo>
                    <a:pt x="240" y="224"/>
                  </a:lnTo>
                  <a:lnTo>
                    <a:pt x="224" y="224"/>
                  </a:lnTo>
                  <a:lnTo>
                    <a:pt x="216" y="232"/>
                  </a:lnTo>
                  <a:lnTo>
                    <a:pt x="216" y="232"/>
                  </a:lnTo>
                  <a:lnTo>
                    <a:pt x="200" y="240"/>
                  </a:lnTo>
                  <a:lnTo>
                    <a:pt x="192" y="240"/>
                  </a:lnTo>
                  <a:lnTo>
                    <a:pt x="168" y="240"/>
                  </a:lnTo>
                  <a:lnTo>
                    <a:pt x="152" y="240"/>
                  </a:lnTo>
                  <a:lnTo>
                    <a:pt x="152" y="248"/>
                  </a:lnTo>
                  <a:lnTo>
                    <a:pt x="160" y="256"/>
                  </a:lnTo>
                  <a:lnTo>
                    <a:pt x="160" y="256"/>
                  </a:lnTo>
                  <a:lnTo>
                    <a:pt x="152" y="272"/>
                  </a:lnTo>
                  <a:lnTo>
                    <a:pt x="128" y="272"/>
                  </a:lnTo>
                  <a:lnTo>
                    <a:pt x="120" y="296"/>
                  </a:lnTo>
                  <a:lnTo>
                    <a:pt x="120" y="304"/>
                  </a:lnTo>
                  <a:lnTo>
                    <a:pt x="120" y="304"/>
                  </a:lnTo>
                  <a:lnTo>
                    <a:pt x="120" y="304"/>
                  </a:lnTo>
                  <a:lnTo>
                    <a:pt x="112" y="320"/>
                  </a:lnTo>
                  <a:lnTo>
                    <a:pt x="96" y="328"/>
                  </a:lnTo>
                  <a:lnTo>
                    <a:pt x="88" y="336"/>
                  </a:lnTo>
                  <a:lnTo>
                    <a:pt x="88" y="336"/>
                  </a:lnTo>
                  <a:lnTo>
                    <a:pt x="88" y="336"/>
                  </a:lnTo>
                  <a:lnTo>
                    <a:pt x="88" y="336"/>
                  </a:lnTo>
                  <a:lnTo>
                    <a:pt x="80" y="336"/>
                  </a:lnTo>
                  <a:lnTo>
                    <a:pt x="72" y="336"/>
                  </a:lnTo>
                  <a:lnTo>
                    <a:pt x="56" y="344"/>
                  </a:lnTo>
                  <a:lnTo>
                    <a:pt x="48" y="344"/>
                  </a:lnTo>
                  <a:lnTo>
                    <a:pt x="40" y="328"/>
                  </a:lnTo>
                  <a:lnTo>
                    <a:pt x="16" y="336"/>
                  </a:lnTo>
                  <a:lnTo>
                    <a:pt x="8" y="336"/>
                  </a:lnTo>
                  <a:lnTo>
                    <a:pt x="8" y="328"/>
                  </a:lnTo>
                  <a:lnTo>
                    <a:pt x="8" y="312"/>
                  </a:lnTo>
                  <a:lnTo>
                    <a:pt x="8" y="312"/>
                  </a:lnTo>
                  <a:lnTo>
                    <a:pt x="0" y="312"/>
                  </a:lnTo>
                  <a:lnTo>
                    <a:pt x="0" y="304"/>
                  </a:lnTo>
                  <a:lnTo>
                    <a:pt x="8" y="296"/>
                  </a:lnTo>
                  <a:lnTo>
                    <a:pt x="8" y="288"/>
                  </a:lnTo>
                  <a:lnTo>
                    <a:pt x="8" y="264"/>
                  </a:lnTo>
                  <a:lnTo>
                    <a:pt x="8" y="256"/>
                  </a:lnTo>
                  <a:lnTo>
                    <a:pt x="8" y="248"/>
                  </a:lnTo>
                  <a:lnTo>
                    <a:pt x="8" y="248"/>
                  </a:lnTo>
                  <a:lnTo>
                    <a:pt x="24" y="232"/>
                  </a:lnTo>
                  <a:lnTo>
                    <a:pt x="32" y="232"/>
                  </a:lnTo>
                  <a:lnTo>
                    <a:pt x="32" y="232"/>
                  </a:lnTo>
                  <a:lnTo>
                    <a:pt x="32" y="232"/>
                  </a:lnTo>
                  <a:lnTo>
                    <a:pt x="48" y="232"/>
                  </a:lnTo>
                  <a:lnTo>
                    <a:pt x="48" y="232"/>
                  </a:lnTo>
                  <a:lnTo>
                    <a:pt x="56" y="240"/>
                  </a:lnTo>
                  <a:lnTo>
                    <a:pt x="56" y="240"/>
                  </a:lnTo>
                  <a:lnTo>
                    <a:pt x="80" y="240"/>
                  </a:lnTo>
                  <a:lnTo>
                    <a:pt x="80" y="240"/>
                  </a:lnTo>
                  <a:lnTo>
                    <a:pt x="88" y="240"/>
                  </a:lnTo>
                  <a:lnTo>
                    <a:pt x="104" y="240"/>
                  </a:lnTo>
                  <a:lnTo>
                    <a:pt x="104" y="232"/>
                  </a:lnTo>
                  <a:lnTo>
                    <a:pt x="104" y="224"/>
                  </a:lnTo>
                  <a:lnTo>
                    <a:pt x="104" y="216"/>
                  </a:lnTo>
                  <a:lnTo>
                    <a:pt x="104" y="208"/>
                  </a:lnTo>
                  <a:lnTo>
                    <a:pt x="104" y="208"/>
                  </a:lnTo>
                  <a:lnTo>
                    <a:pt x="112" y="208"/>
                  </a:lnTo>
                  <a:lnTo>
                    <a:pt x="104" y="200"/>
                  </a:lnTo>
                  <a:lnTo>
                    <a:pt x="104" y="192"/>
                  </a:lnTo>
                  <a:lnTo>
                    <a:pt x="104" y="192"/>
                  </a:lnTo>
                  <a:lnTo>
                    <a:pt x="96" y="192"/>
                  </a:lnTo>
                  <a:lnTo>
                    <a:pt x="96" y="176"/>
                  </a:lnTo>
                  <a:lnTo>
                    <a:pt x="96" y="176"/>
                  </a:lnTo>
                  <a:lnTo>
                    <a:pt x="88" y="176"/>
                  </a:lnTo>
                  <a:lnTo>
                    <a:pt x="80" y="176"/>
                  </a:lnTo>
                  <a:lnTo>
                    <a:pt x="64" y="168"/>
                  </a:lnTo>
                  <a:lnTo>
                    <a:pt x="64" y="160"/>
                  </a:lnTo>
                  <a:lnTo>
                    <a:pt x="64" y="160"/>
                  </a:lnTo>
                  <a:lnTo>
                    <a:pt x="64" y="160"/>
                  </a:lnTo>
                  <a:lnTo>
                    <a:pt x="72" y="152"/>
                  </a:lnTo>
                  <a:lnTo>
                    <a:pt x="80" y="152"/>
                  </a:lnTo>
                  <a:lnTo>
                    <a:pt x="80" y="152"/>
                  </a:lnTo>
                  <a:lnTo>
                    <a:pt x="80" y="160"/>
                  </a:lnTo>
                  <a:lnTo>
                    <a:pt x="88" y="160"/>
                  </a:lnTo>
                  <a:lnTo>
                    <a:pt x="96" y="160"/>
                  </a:lnTo>
                  <a:lnTo>
                    <a:pt x="96" y="160"/>
                  </a:lnTo>
                  <a:lnTo>
                    <a:pt x="104" y="160"/>
                  </a:lnTo>
                  <a:lnTo>
                    <a:pt x="104" y="152"/>
                  </a:lnTo>
                  <a:lnTo>
                    <a:pt x="96" y="152"/>
                  </a:lnTo>
                  <a:lnTo>
                    <a:pt x="96" y="152"/>
                  </a:lnTo>
                  <a:lnTo>
                    <a:pt x="96" y="144"/>
                  </a:lnTo>
                  <a:lnTo>
                    <a:pt x="96" y="144"/>
                  </a:lnTo>
                  <a:lnTo>
                    <a:pt x="96" y="144"/>
                  </a:lnTo>
                  <a:lnTo>
                    <a:pt x="96" y="144"/>
                  </a:lnTo>
                  <a:lnTo>
                    <a:pt x="104" y="144"/>
                  </a:lnTo>
                  <a:lnTo>
                    <a:pt x="112" y="144"/>
                  </a:lnTo>
                  <a:lnTo>
                    <a:pt x="120" y="144"/>
                  </a:lnTo>
                  <a:lnTo>
                    <a:pt x="120" y="136"/>
                  </a:lnTo>
                  <a:lnTo>
                    <a:pt x="120" y="136"/>
                  </a:lnTo>
                  <a:lnTo>
                    <a:pt x="128" y="136"/>
                  </a:lnTo>
                  <a:lnTo>
                    <a:pt x="144" y="128"/>
                  </a:lnTo>
                  <a:lnTo>
                    <a:pt x="144" y="120"/>
                  </a:lnTo>
                  <a:lnTo>
                    <a:pt x="144" y="120"/>
                  </a:lnTo>
                  <a:lnTo>
                    <a:pt x="144" y="120"/>
                  </a:lnTo>
                  <a:lnTo>
                    <a:pt x="152" y="120"/>
                  </a:lnTo>
                  <a:lnTo>
                    <a:pt x="168" y="112"/>
                  </a:lnTo>
                  <a:lnTo>
                    <a:pt x="176" y="104"/>
                  </a:lnTo>
                  <a:lnTo>
                    <a:pt x="176" y="104"/>
                  </a:lnTo>
                  <a:lnTo>
                    <a:pt x="176" y="96"/>
                  </a:lnTo>
                  <a:lnTo>
                    <a:pt x="176" y="88"/>
                  </a:lnTo>
                  <a:lnTo>
                    <a:pt x="192" y="80"/>
                  </a:lnTo>
                  <a:lnTo>
                    <a:pt x="200" y="80"/>
                  </a:lnTo>
                  <a:lnTo>
                    <a:pt x="208" y="80"/>
                  </a:lnTo>
                  <a:lnTo>
                    <a:pt x="208" y="80"/>
                  </a:lnTo>
                  <a:lnTo>
                    <a:pt x="208" y="80"/>
                  </a:lnTo>
                  <a:lnTo>
                    <a:pt x="208" y="72"/>
                  </a:lnTo>
                  <a:lnTo>
                    <a:pt x="216" y="72"/>
                  </a:lnTo>
                  <a:lnTo>
                    <a:pt x="224" y="72"/>
                  </a:lnTo>
                  <a:lnTo>
                    <a:pt x="232" y="72"/>
                  </a:lnTo>
                  <a:lnTo>
                    <a:pt x="232" y="64"/>
                  </a:lnTo>
                  <a:lnTo>
                    <a:pt x="224" y="56"/>
                  </a:lnTo>
                  <a:lnTo>
                    <a:pt x="224" y="40"/>
                  </a:lnTo>
                  <a:lnTo>
                    <a:pt x="216" y="16"/>
                  </a:lnTo>
                  <a:lnTo>
                    <a:pt x="240" y="8"/>
                  </a:lnTo>
                  <a:lnTo>
                    <a:pt x="248" y="0"/>
                  </a:lnTo>
                  <a:lnTo>
                    <a:pt x="248" y="0"/>
                  </a:lnTo>
                  <a:lnTo>
                    <a:pt x="248" y="8"/>
                  </a:lnTo>
                  <a:lnTo>
                    <a:pt x="240" y="16"/>
                  </a:lnTo>
                  <a:lnTo>
                    <a:pt x="240" y="24"/>
                  </a:lnTo>
                  <a:lnTo>
                    <a:pt x="248" y="24"/>
                  </a:lnTo>
                  <a:lnTo>
                    <a:pt x="248" y="24"/>
                  </a:lnTo>
                  <a:lnTo>
                    <a:pt x="248" y="24"/>
                  </a:lnTo>
                  <a:lnTo>
                    <a:pt x="248" y="32"/>
                  </a:lnTo>
                  <a:lnTo>
                    <a:pt x="240" y="40"/>
                  </a:lnTo>
                  <a:lnTo>
                    <a:pt x="240" y="56"/>
                  </a:lnTo>
                  <a:lnTo>
                    <a:pt x="240" y="56"/>
                  </a:lnTo>
                  <a:lnTo>
                    <a:pt x="240" y="56"/>
                  </a:lnTo>
                  <a:lnTo>
                    <a:pt x="240" y="64"/>
                  </a:lnTo>
                  <a:lnTo>
                    <a:pt x="248" y="64"/>
                  </a:lnTo>
                  <a:lnTo>
                    <a:pt x="256" y="64"/>
                  </a:lnTo>
                  <a:lnTo>
                    <a:pt x="256" y="64"/>
                  </a:lnTo>
                  <a:lnTo>
                    <a:pt x="273" y="64"/>
                  </a:lnTo>
                  <a:lnTo>
                    <a:pt x="289" y="56"/>
                  </a:lnTo>
                  <a:lnTo>
                    <a:pt x="289" y="56"/>
                  </a:lnTo>
                  <a:lnTo>
                    <a:pt x="281" y="64"/>
                  </a:lnTo>
                  <a:lnTo>
                    <a:pt x="281" y="64"/>
                  </a:lnTo>
                  <a:lnTo>
                    <a:pt x="289" y="72"/>
                  </a:lnTo>
                  <a:lnTo>
                    <a:pt x="289" y="72"/>
                  </a:lnTo>
                  <a:lnTo>
                    <a:pt x="297" y="64"/>
                  </a:lnTo>
                  <a:lnTo>
                    <a:pt x="313" y="64"/>
                  </a:lnTo>
                  <a:lnTo>
                    <a:pt x="329" y="56"/>
                  </a:lnTo>
                  <a:lnTo>
                    <a:pt x="337" y="48"/>
                  </a:lnTo>
                  <a:lnTo>
                    <a:pt x="337" y="48"/>
                  </a:lnTo>
                  <a:lnTo>
                    <a:pt x="345" y="48"/>
                  </a:lnTo>
                  <a:lnTo>
                    <a:pt x="345" y="56"/>
                  </a:lnTo>
                  <a:lnTo>
                    <a:pt x="345" y="56"/>
                  </a:lnTo>
                  <a:lnTo>
                    <a:pt x="353" y="56"/>
                  </a:lnTo>
                  <a:lnTo>
                    <a:pt x="377" y="56"/>
                  </a:lnTo>
                  <a:lnTo>
                    <a:pt x="393" y="56"/>
                  </a:lnTo>
                  <a:lnTo>
                    <a:pt x="409" y="56"/>
                  </a:lnTo>
                  <a:lnTo>
                    <a:pt x="417" y="72"/>
                  </a:lnTo>
                  <a:lnTo>
                    <a:pt x="417" y="80"/>
                  </a:lnTo>
                  <a:lnTo>
                    <a:pt x="417" y="80"/>
                  </a:lnTo>
                  <a:lnTo>
                    <a:pt x="409" y="88"/>
                  </a:lnTo>
                  <a:lnTo>
                    <a:pt x="409" y="104"/>
                  </a:lnTo>
                  <a:lnTo>
                    <a:pt x="417" y="112"/>
                  </a:lnTo>
                  <a:lnTo>
                    <a:pt x="409" y="128"/>
                  </a:lnTo>
                  <a:lnTo>
                    <a:pt x="401" y="136"/>
                  </a:lnTo>
                  <a:lnTo>
                    <a:pt x="401" y="168"/>
                  </a:lnTo>
                  <a:lnTo>
                    <a:pt x="417" y="168"/>
                  </a:lnTo>
                  <a:lnTo>
                    <a:pt x="417" y="168"/>
                  </a:lnTo>
                  <a:lnTo>
                    <a:pt x="425" y="168"/>
                  </a:lnTo>
                  <a:lnTo>
                    <a:pt x="441" y="160"/>
                  </a:lnTo>
                  <a:lnTo>
                    <a:pt x="457" y="160"/>
                  </a:lnTo>
                  <a:lnTo>
                    <a:pt x="465" y="184"/>
                  </a:lnTo>
                  <a:lnTo>
                    <a:pt x="473" y="184"/>
                  </a:lnTo>
                  <a:lnTo>
                    <a:pt x="473" y="184"/>
                  </a:lnTo>
                  <a:lnTo>
                    <a:pt x="473" y="200"/>
                  </a:lnTo>
                  <a:lnTo>
                    <a:pt x="473" y="200"/>
                  </a:lnTo>
                  <a:lnTo>
                    <a:pt x="473" y="208"/>
                  </a:lnTo>
                  <a:lnTo>
                    <a:pt x="481" y="200"/>
                  </a:lnTo>
                  <a:lnTo>
                    <a:pt x="489" y="200"/>
                  </a:lnTo>
                  <a:lnTo>
                    <a:pt x="489" y="200"/>
                  </a:lnTo>
                  <a:lnTo>
                    <a:pt x="489" y="208"/>
                  </a:lnTo>
                  <a:lnTo>
                    <a:pt x="489" y="208"/>
                  </a:lnTo>
                  <a:lnTo>
                    <a:pt x="473" y="208"/>
                  </a:lnTo>
                  <a:lnTo>
                    <a:pt x="473" y="2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89" name="Freeform 7"/>
            <p:cNvSpPr>
              <a:spLocks/>
            </p:cNvSpPr>
            <p:nvPr/>
          </p:nvSpPr>
          <p:spPr bwMode="auto">
            <a:xfrm>
              <a:off x="4443406" y="2197068"/>
              <a:ext cx="509586" cy="495292"/>
            </a:xfrm>
            <a:custGeom>
              <a:avLst/>
              <a:gdLst/>
              <a:ahLst/>
              <a:cxnLst>
                <a:cxn ang="0">
                  <a:pos x="64" y="232"/>
                </a:cxn>
                <a:cxn ang="0">
                  <a:pos x="8" y="256"/>
                </a:cxn>
                <a:cxn ang="0">
                  <a:pos x="8" y="240"/>
                </a:cxn>
                <a:cxn ang="0">
                  <a:pos x="0" y="240"/>
                </a:cxn>
                <a:cxn ang="0">
                  <a:pos x="8" y="232"/>
                </a:cxn>
                <a:cxn ang="0">
                  <a:pos x="0" y="200"/>
                </a:cxn>
                <a:cxn ang="0">
                  <a:pos x="40" y="160"/>
                </a:cxn>
                <a:cxn ang="0">
                  <a:pos x="40" y="160"/>
                </a:cxn>
                <a:cxn ang="0">
                  <a:pos x="89" y="112"/>
                </a:cxn>
                <a:cxn ang="0">
                  <a:pos x="137" y="64"/>
                </a:cxn>
                <a:cxn ang="0">
                  <a:pos x="113" y="64"/>
                </a:cxn>
                <a:cxn ang="0">
                  <a:pos x="113" y="56"/>
                </a:cxn>
                <a:cxn ang="0">
                  <a:pos x="129" y="48"/>
                </a:cxn>
                <a:cxn ang="0">
                  <a:pos x="129" y="48"/>
                </a:cxn>
                <a:cxn ang="0">
                  <a:pos x="153" y="48"/>
                </a:cxn>
                <a:cxn ang="0">
                  <a:pos x="145" y="48"/>
                </a:cxn>
                <a:cxn ang="0">
                  <a:pos x="169" y="40"/>
                </a:cxn>
                <a:cxn ang="0">
                  <a:pos x="177" y="24"/>
                </a:cxn>
                <a:cxn ang="0">
                  <a:pos x="185" y="32"/>
                </a:cxn>
                <a:cxn ang="0">
                  <a:pos x="193" y="32"/>
                </a:cxn>
                <a:cxn ang="0">
                  <a:pos x="217" y="16"/>
                </a:cxn>
                <a:cxn ang="0">
                  <a:pos x="217" y="8"/>
                </a:cxn>
                <a:cxn ang="0">
                  <a:pos x="249" y="8"/>
                </a:cxn>
                <a:cxn ang="0">
                  <a:pos x="241" y="16"/>
                </a:cxn>
                <a:cxn ang="0">
                  <a:pos x="265" y="8"/>
                </a:cxn>
                <a:cxn ang="0">
                  <a:pos x="265" y="16"/>
                </a:cxn>
                <a:cxn ang="0">
                  <a:pos x="281" y="8"/>
                </a:cxn>
                <a:cxn ang="0">
                  <a:pos x="289" y="8"/>
                </a:cxn>
                <a:cxn ang="0">
                  <a:pos x="305" y="16"/>
                </a:cxn>
                <a:cxn ang="0">
                  <a:pos x="297" y="32"/>
                </a:cxn>
                <a:cxn ang="0">
                  <a:pos x="313" y="32"/>
                </a:cxn>
                <a:cxn ang="0">
                  <a:pos x="305" y="64"/>
                </a:cxn>
                <a:cxn ang="0">
                  <a:pos x="305" y="120"/>
                </a:cxn>
                <a:cxn ang="0">
                  <a:pos x="313" y="152"/>
                </a:cxn>
                <a:cxn ang="0">
                  <a:pos x="281" y="216"/>
                </a:cxn>
                <a:cxn ang="0">
                  <a:pos x="249" y="224"/>
                </a:cxn>
                <a:cxn ang="0">
                  <a:pos x="217" y="224"/>
                </a:cxn>
                <a:cxn ang="0">
                  <a:pos x="193" y="192"/>
                </a:cxn>
                <a:cxn ang="0">
                  <a:pos x="193" y="176"/>
                </a:cxn>
                <a:cxn ang="0">
                  <a:pos x="249" y="120"/>
                </a:cxn>
                <a:cxn ang="0">
                  <a:pos x="201" y="136"/>
                </a:cxn>
                <a:cxn ang="0">
                  <a:pos x="161" y="176"/>
                </a:cxn>
                <a:cxn ang="0">
                  <a:pos x="145" y="200"/>
                </a:cxn>
                <a:cxn ang="0">
                  <a:pos x="145" y="216"/>
                </a:cxn>
                <a:cxn ang="0">
                  <a:pos x="153" y="248"/>
                </a:cxn>
                <a:cxn ang="0">
                  <a:pos x="145" y="280"/>
                </a:cxn>
                <a:cxn ang="0">
                  <a:pos x="129" y="304"/>
                </a:cxn>
                <a:cxn ang="0">
                  <a:pos x="97" y="312"/>
                </a:cxn>
                <a:cxn ang="0">
                  <a:pos x="89" y="288"/>
                </a:cxn>
                <a:cxn ang="0">
                  <a:pos x="72" y="240"/>
                </a:cxn>
              </a:cxnLst>
              <a:rect l="0" t="0" r="r" b="b"/>
              <a:pathLst>
                <a:path w="321" h="312">
                  <a:moveTo>
                    <a:pt x="72" y="240"/>
                  </a:moveTo>
                  <a:lnTo>
                    <a:pt x="64" y="240"/>
                  </a:lnTo>
                  <a:lnTo>
                    <a:pt x="64" y="232"/>
                  </a:lnTo>
                  <a:lnTo>
                    <a:pt x="64" y="232"/>
                  </a:lnTo>
                  <a:lnTo>
                    <a:pt x="56" y="248"/>
                  </a:lnTo>
                  <a:lnTo>
                    <a:pt x="32" y="264"/>
                  </a:lnTo>
                  <a:lnTo>
                    <a:pt x="16" y="264"/>
                  </a:lnTo>
                  <a:lnTo>
                    <a:pt x="8" y="256"/>
                  </a:lnTo>
                  <a:lnTo>
                    <a:pt x="0" y="248"/>
                  </a:lnTo>
                  <a:lnTo>
                    <a:pt x="8" y="248"/>
                  </a:lnTo>
                  <a:lnTo>
                    <a:pt x="8" y="248"/>
                  </a:lnTo>
                  <a:lnTo>
                    <a:pt x="8" y="240"/>
                  </a:lnTo>
                  <a:lnTo>
                    <a:pt x="8" y="240"/>
                  </a:lnTo>
                  <a:lnTo>
                    <a:pt x="0" y="240"/>
                  </a:lnTo>
                  <a:lnTo>
                    <a:pt x="0" y="240"/>
                  </a:lnTo>
                  <a:lnTo>
                    <a:pt x="0" y="240"/>
                  </a:lnTo>
                  <a:lnTo>
                    <a:pt x="0" y="240"/>
                  </a:lnTo>
                  <a:lnTo>
                    <a:pt x="0" y="232"/>
                  </a:lnTo>
                  <a:lnTo>
                    <a:pt x="8" y="232"/>
                  </a:lnTo>
                  <a:lnTo>
                    <a:pt x="8" y="232"/>
                  </a:lnTo>
                  <a:lnTo>
                    <a:pt x="0" y="224"/>
                  </a:lnTo>
                  <a:lnTo>
                    <a:pt x="0" y="208"/>
                  </a:lnTo>
                  <a:lnTo>
                    <a:pt x="0" y="200"/>
                  </a:lnTo>
                  <a:lnTo>
                    <a:pt x="0" y="200"/>
                  </a:lnTo>
                  <a:lnTo>
                    <a:pt x="8" y="192"/>
                  </a:lnTo>
                  <a:lnTo>
                    <a:pt x="16" y="176"/>
                  </a:lnTo>
                  <a:lnTo>
                    <a:pt x="32" y="176"/>
                  </a:lnTo>
                  <a:lnTo>
                    <a:pt x="40" y="160"/>
                  </a:lnTo>
                  <a:lnTo>
                    <a:pt x="48" y="160"/>
                  </a:lnTo>
                  <a:lnTo>
                    <a:pt x="56" y="160"/>
                  </a:lnTo>
                  <a:lnTo>
                    <a:pt x="40" y="160"/>
                  </a:lnTo>
                  <a:lnTo>
                    <a:pt x="40" y="160"/>
                  </a:lnTo>
                  <a:lnTo>
                    <a:pt x="56" y="160"/>
                  </a:lnTo>
                  <a:lnTo>
                    <a:pt x="72" y="136"/>
                  </a:lnTo>
                  <a:lnTo>
                    <a:pt x="89" y="120"/>
                  </a:lnTo>
                  <a:lnTo>
                    <a:pt x="89" y="112"/>
                  </a:lnTo>
                  <a:lnTo>
                    <a:pt x="97" y="104"/>
                  </a:lnTo>
                  <a:lnTo>
                    <a:pt x="105" y="88"/>
                  </a:lnTo>
                  <a:lnTo>
                    <a:pt x="121" y="80"/>
                  </a:lnTo>
                  <a:lnTo>
                    <a:pt x="137" y="64"/>
                  </a:lnTo>
                  <a:lnTo>
                    <a:pt x="137" y="56"/>
                  </a:lnTo>
                  <a:lnTo>
                    <a:pt x="137" y="56"/>
                  </a:lnTo>
                  <a:lnTo>
                    <a:pt x="129" y="56"/>
                  </a:lnTo>
                  <a:lnTo>
                    <a:pt x="113" y="64"/>
                  </a:lnTo>
                  <a:lnTo>
                    <a:pt x="121" y="56"/>
                  </a:lnTo>
                  <a:lnTo>
                    <a:pt x="121" y="56"/>
                  </a:lnTo>
                  <a:lnTo>
                    <a:pt x="113" y="56"/>
                  </a:lnTo>
                  <a:lnTo>
                    <a:pt x="113" y="56"/>
                  </a:lnTo>
                  <a:lnTo>
                    <a:pt x="121" y="48"/>
                  </a:lnTo>
                  <a:lnTo>
                    <a:pt x="121" y="48"/>
                  </a:lnTo>
                  <a:lnTo>
                    <a:pt x="129" y="48"/>
                  </a:lnTo>
                  <a:lnTo>
                    <a:pt x="129" y="48"/>
                  </a:lnTo>
                  <a:lnTo>
                    <a:pt x="129" y="48"/>
                  </a:lnTo>
                  <a:lnTo>
                    <a:pt x="129" y="48"/>
                  </a:lnTo>
                  <a:lnTo>
                    <a:pt x="129" y="48"/>
                  </a:lnTo>
                  <a:lnTo>
                    <a:pt x="129" y="48"/>
                  </a:lnTo>
                  <a:lnTo>
                    <a:pt x="137" y="56"/>
                  </a:lnTo>
                  <a:lnTo>
                    <a:pt x="145" y="56"/>
                  </a:lnTo>
                  <a:lnTo>
                    <a:pt x="153" y="48"/>
                  </a:lnTo>
                  <a:lnTo>
                    <a:pt x="153" y="48"/>
                  </a:lnTo>
                  <a:lnTo>
                    <a:pt x="153" y="48"/>
                  </a:lnTo>
                  <a:lnTo>
                    <a:pt x="153" y="48"/>
                  </a:lnTo>
                  <a:lnTo>
                    <a:pt x="145" y="48"/>
                  </a:lnTo>
                  <a:lnTo>
                    <a:pt x="145" y="48"/>
                  </a:lnTo>
                  <a:lnTo>
                    <a:pt x="153" y="40"/>
                  </a:lnTo>
                  <a:lnTo>
                    <a:pt x="161" y="40"/>
                  </a:lnTo>
                  <a:lnTo>
                    <a:pt x="161" y="40"/>
                  </a:lnTo>
                  <a:lnTo>
                    <a:pt x="169" y="40"/>
                  </a:lnTo>
                  <a:lnTo>
                    <a:pt x="161" y="32"/>
                  </a:lnTo>
                  <a:lnTo>
                    <a:pt x="161" y="32"/>
                  </a:lnTo>
                  <a:lnTo>
                    <a:pt x="177" y="32"/>
                  </a:lnTo>
                  <a:lnTo>
                    <a:pt x="177" y="24"/>
                  </a:lnTo>
                  <a:lnTo>
                    <a:pt x="177" y="24"/>
                  </a:lnTo>
                  <a:lnTo>
                    <a:pt x="177" y="32"/>
                  </a:lnTo>
                  <a:lnTo>
                    <a:pt x="177" y="32"/>
                  </a:lnTo>
                  <a:lnTo>
                    <a:pt x="185" y="32"/>
                  </a:lnTo>
                  <a:lnTo>
                    <a:pt x="193" y="24"/>
                  </a:lnTo>
                  <a:lnTo>
                    <a:pt x="193" y="24"/>
                  </a:lnTo>
                  <a:lnTo>
                    <a:pt x="193" y="24"/>
                  </a:lnTo>
                  <a:lnTo>
                    <a:pt x="193" y="32"/>
                  </a:lnTo>
                  <a:lnTo>
                    <a:pt x="193" y="32"/>
                  </a:lnTo>
                  <a:lnTo>
                    <a:pt x="201" y="24"/>
                  </a:lnTo>
                  <a:lnTo>
                    <a:pt x="209" y="16"/>
                  </a:lnTo>
                  <a:lnTo>
                    <a:pt x="217" y="16"/>
                  </a:lnTo>
                  <a:lnTo>
                    <a:pt x="217" y="16"/>
                  </a:lnTo>
                  <a:lnTo>
                    <a:pt x="209" y="16"/>
                  </a:lnTo>
                  <a:lnTo>
                    <a:pt x="217" y="8"/>
                  </a:lnTo>
                  <a:lnTo>
                    <a:pt x="217" y="8"/>
                  </a:lnTo>
                  <a:lnTo>
                    <a:pt x="217" y="8"/>
                  </a:lnTo>
                  <a:lnTo>
                    <a:pt x="225" y="8"/>
                  </a:lnTo>
                  <a:lnTo>
                    <a:pt x="233" y="8"/>
                  </a:lnTo>
                  <a:lnTo>
                    <a:pt x="249" y="8"/>
                  </a:lnTo>
                  <a:lnTo>
                    <a:pt x="249" y="8"/>
                  </a:lnTo>
                  <a:lnTo>
                    <a:pt x="249" y="8"/>
                  </a:lnTo>
                  <a:lnTo>
                    <a:pt x="249" y="16"/>
                  </a:lnTo>
                  <a:lnTo>
                    <a:pt x="241" y="16"/>
                  </a:lnTo>
                  <a:lnTo>
                    <a:pt x="241" y="16"/>
                  </a:lnTo>
                  <a:lnTo>
                    <a:pt x="249" y="24"/>
                  </a:lnTo>
                  <a:lnTo>
                    <a:pt x="257" y="8"/>
                  </a:lnTo>
                  <a:lnTo>
                    <a:pt x="265" y="8"/>
                  </a:lnTo>
                  <a:lnTo>
                    <a:pt x="265" y="8"/>
                  </a:lnTo>
                  <a:lnTo>
                    <a:pt x="265" y="8"/>
                  </a:lnTo>
                  <a:lnTo>
                    <a:pt x="265" y="16"/>
                  </a:lnTo>
                  <a:lnTo>
                    <a:pt x="265" y="16"/>
                  </a:lnTo>
                  <a:lnTo>
                    <a:pt x="273" y="8"/>
                  </a:lnTo>
                  <a:lnTo>
                    <a:pt x="281" y="0"/>
                  </a:lnTo>
                  <a:lnTo>
                    <a:pt x="281" y="0"/>
                  </a:lnTo>
                  <a:lnTo>
                    <a:pt x="281" y="8"/>
                  </a:lnTo>
                  <a:lnTo>
                    <a:pt x="281" y="16"/>
                  </a:lnTo>
                  <a:lnTo>
                    <a:pt x="289" y="16"/>
                  </a:lnTo>
                  <a:lnTo>
                    <a:pt x="289" y="16"/>
                  </a:lnTo>
                  <a:lnTo>
                    <a:pt x="289" y="8"/>
                  </a:lnTo>
                  <a:lnTo>
                    <a:pt x="305" y="8"/>
                  </a:lnTo>
                  <a:lnTo>
                    <a:pt x="305" y="16"/>
                  </a:lnTo>
                  <a:lnTo>
                    <a:pt x="305" y="16"/>
                  </a:lnTo>
                  <a:lnTo>
                    <a:pt x="305" y="16"/>
                  </a:lnTo>
                  <a:lnTo>
                    <a:pt x="297" y="24"/>
                  </a:lnTo>
                  <a:lnTo>
                    <a:pt x="289" y="24"/>
                  </a:lnTo>
                  <a:lnTo>
                    <a:pt x="289" y="24"/>
                  </a:lnTo>
                  <a:lnTo>
                    <a:pt x="297" y="32"/>
                  </a:lnTo>
                  <a:lnTo>
                    <a:pt x="305" y="32"/>
                  </a:lnTo>
                  <a:lnTo>
                    <a:pt x="305" y="32"/>
                  </a:lnTo>
                  <a:lnTo>
                    <a:pt x="313" y="32"/>
                  </a:lnTo>
                  <a:lnTo>
                    <a:pt x="313" y="32"/>
                  </a:lnTo>
                  <a:lnTo>
                    <a:pt x="305" y="40"/>
                  </a:lnTo>
                  <a:lnTo>
                    <a:pt x="289" y="48"/>
                  </a:lnTo>
                  <a:lnTo>
                    <a:pt x="289" y="56"/>
                  </a:lnTo>
                  <a:lnTo>
                    <a:pt x="305" y="64"/>
                  </a:lnTo>
                  <a:lnTo>
                    <a:pt x="297" y="80"/>
                  </a:lnTo>
                  <a:lnTo>
                    <a:pt x="297" y="96"/>
                  </a:lnTo>
                  <a:lnTo>
                    <a:pt x="305" y="112"/>
                  </a:lnTo>
                  <a:lnTo>
                    <a:pt x="305" y="120"/>
                  </a:lnTo>
                  <a:lnTo>
                    <a:pt x="305" y="128"/>
                  </a:lnTo>
                  <a:lnTo>
                    <a:pt x="313" y="144"/>
                  </a:lnTo>
                  <a:lnTo>
                    <a:pt x="313" y="152"/>
                  </a:lnTo>
                  <a:lnTo>
                    <a:pt x="313" y="152"/>
                  </a:lnTo>
                  <a:lnTo>
                    <a:pt x="321" y="168"/>
                  </a:lnTo>
                  <a:lnTo>
                    <a:pt x="321" y="176"/>
                  </a:lnTo>
                  <a:lnTo>
                    <a:pt x="297" y="200"/>
                  </a:lnTo>
                  <a:lnTo>
                    <a:pt x="281" y="216"/>
                  </a:lnTo>
                  <a:lnTo>
                    <a:pt x="281" y="216"/>
                  </a:lnTo>
                  <a:lnTo>
                    <a:pt x="281" y="224"/>
                  </a:lnTo>
                  <a:lnTo>
                    <a:pt x="257" y="224"/>
                  </a:lnTo>
                  <a:lnTo>
                    <a:pt x="249" y="224"/>
                  </a:lnTo>
                  <a:lnTo>
                    <a:pt x="233" y="232"/>
                  </a:lnTo>
                  <a:lnTo>
                    <a:pt x="217" y="232"/>
                  </a:lnTo>
                  <a:lnTo>
                    <a:pt x="217" y="224"/>
                  </a:lnTo>
                  <a:lnTo>
                    <a:pt x="217" y="224"/>
                  </a:lnTo>
                  <a:lnTo>
                    <a:pt x="209" y="224"/>
                  </a:lnTo>
                  <a:lnTo>
                    <a:pt x="193" y="216"/>
                  </a:lnTo>
                  <a:lnTo>
                    <a:pt x="201" y="200"/>
                  </a:lnTo>
                  <a:lnTo>
                    <a:pt x="193" y="192"/>
                  </a:lnTo>
                  <a:lnTo>
                    <a:pt x="193" y="176"/>
                  </a:lnTo>
                  <a:lnTo>
                    <a:pt x="193" y="176"/>
                  </a:lnTo>
                  <a:lnTo>
                    <a:pt x="193" y="176"/>
                  </a:lnTo>
                  <a:lnTo>
                    <a:pt x="193" y="176"/>
                  </a:lnTo>
                  <a:lnTo>
                    <a:pt x="201" y="176"/>
                  </a:lnTo>
                  <a:lnTo>
                    <a:pt x="233" y="144"/>
                  </a:lnTo>
                  <a:lnTo>
                    <a:pt x="249" y="136"/>
                  </a:lnTo>
                  <a:lnTo>
                    <a:pt x="249" y="120"/>
                  </a:lnTo>
                  <a:lnTo>
                    <a:pt x="233" y="120"/>
                  </a:lnTo>
                  <a:lnTo>
                    <a:pt x="217" y="120"/>
                  </a:lnTo>
                  <a:lnTo>
                    <a:pt x="201" y="128"/>
                  </a:lnTo>
                  <a:lnTo>
                    <a:pt x="201" y="136"/>
                  </a:lnTo>
                  <a:lnTo>
                    <a:pt x="201" y="144"/>
                  </a:lnTo>
                  <a:lnTo>
                    <a:pt x="201" y="152"/>
                  </a:lnTo>
                  <a:lnTo>
                    <a:pt x="169" y="168"/>
                  </a:lnTo>
                  <a:lnTo>
                    <a:pt x="161" y="176"/>
                  </a:lnTo>
                  <a:lnTo>
                    <a:pt x="145" y="184"/>
                  </a:lnTo>
                  <a:lnTo>
                    <a:pt x="145" y="200"/>
                  </a:lnTo>
                  <a:lnTo>
                    <a:pt x="145" y="200"/>
                  </a:lnTo>
                  <a:lnTo>
                    <a:pt x="145" y="200"/>
                  </a:lnTo>
                  <a:lnTo>
                    <a:pt x="145" y="208"/>
                  </a:lnTo>
                  <a:lnTo>
                    <a:pt x="145" y="208"/>
                  </a:lnTo>
                  <a:lnTo>
                    <a:pt x="145" y="216"/>
                  </a:lnTo>
                  <a:lnTo>
                    <a:pt x="145" y="216"/>
                  </a:lnTo>
                  <a:lnTo>
                    <a:pt x="153" y="216"/>
                  </a:lnTo>
                  <a:lnTo>
                    <a:pt x="169" y="224"/>
                  </a:lnTo>
                  <a:lnTo>
                    <a:pt x="169" y="240"/>
                  </a:lnTo>
                  <a:lnTo>
                    <a:pt x="153" y="248"/>
                  </a:lnTo>
                  <a:lnTo>
                    <a:pt x="137" y="248"/>
                  </a:lnTo>
                  <a:lnTo>
                    <a:pt x="137" y="280"/>
                  </a:lnTo>
                  <a:lnTo>
                    <a:pt x="145" y="280"/>
                  </a:lnTo>
                  <a:lnTo>
                    <a:pt x="145" y="280"/>
                  </a:lnTo>
                  <a:lnTo>
                    <a:pt x="145" y="288"/>
                  </a:lnTo>
                  <a:lnTo>
                    <a:pt x="129" y="296"/>
                  </a:lnTo>
                  <a:lnTo>
                    <a:pt x="129" y="304"/>
                  </a:lnTo>
                  <a:lnTo>
                    <a:pt x="129" y="304"/>
                  </a:lnTo>
                  <a:lnTo>
                    <a:pt x="121" y="304"/>
                  </a:lnTo>
                  <a:lnTo>
                    <a:pt x="113" y="304"/>
                  </a:lnTo>
                  <a:lnTo>
                    <a:pt x="105" y="312"/>
                  </a:lnTo>
                  <a:lnTo>
                    <a:pt x="97" y="312"/>
                  </a:lnTo>
                  <a:lnTo>
                    <a:pt x="89" y="296"/>
                  </a:lnTo>
                  <a:lnTo>
                    <a:pt x="89" y="296"/>
                  </a:lnTo>
                  <a:lnTo>
                    <a:pt x="89" y="288"/>
                  </a:lnTo>
                  <a:lnTo>
                    <a:pt x="89" y="288"/>
                  </a:lnTo>
                  <a:lnTo>
                    <a:pt x="81" y="272"/>
                  </a:lnTo>
                  <a:lnTo>
                    <a:pt x="72" y="256"/>
                  </a:lnTo>
                  <a:lnTo>
                    <a:pt x="72" y="248"/>
                  </a:lnTo>
                  <a:lnTo>
                    <a:pt x="72" y="240"/>
                  </a:lnTo>
                  <a:lnTo>
                    <a:pt x="72" y="248"/>
                  </a:lnTo>
                  <a:lnTo>
                    <a:pt x="72" y="24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90" name="Freeform 8"/>
            <p:cNvSpPr>
              <a:spLocks/>
            </p:cNvSpPr>
            <p:nvPr/>
          </p:nvSpPr>
          <p:spPr bwMode="auto">
            <a:xfrm>
              <a:off x="4724393" y="1943072"/>
              <a:ext cx="3378195" cy="1244581"/>
            </a:xfrm>
            <a:custGeom>
              <a:avLst/>
              <a:gdLst/>
              <a:ahLst/>
              <a:cxnLst>
                <a:cxn ang="0">
                  <a:pos x="1504" y="576"/>
                </a:cxn>
                <a:cxn ang="0">
                  <a:pos x="1480" y="496"/>
                </a:cxn>
                <a:cxn ang="0">
                  <a:pos x="1608" y="392"/>
                </a:cxn>
                <a:cxn ang="0">
                  <a:pos x="1736" y="352"/>
                </a:cxn>
                <a:cxn ang="0">
                  <a:pos x="1792" y="344"/>
                </a:cxn>
                <a:cxn ang="0">
                  <a:pos x="1696" y="448"/>
                </a:cxn>
                <a:cxn ang="0">
                  <a:pos x="1752" y="496"/>
                </a:cxn>
                <a:cxn ang="0">
                  <a:pos x="1792" y="400"/>
                </a:cxn>
                <a:cxn ang="0">
                  <a:pos x="1976" y="312"/>
                </a:cxn>
                <a:cxn ang="0">
                  <a:pos x="2088" y="304"/>
                </a:cxn>
                <a:cxn ang="0">
                  <a:pos x="2000" y="208"/>
                </a:cxn>
                <a:cxn ang="0">
                  <a:pos x="1856" y="192"/>
                </a:cxn>
                <a:cxn ang="0">
                  <a:pos x="1640" y="136"/>
                </a:cxn>
                <a:cxn ang="0">
                  <a:pos x="1424" y="152"/>
                </a:cxn>
                <a:cxn ang="0">
                  <a:pos x="1368" y="120"/>
                </a:cxn>
                <a:cxn ang="0">
                  <a:pos x="1240" y="112"/>
                </a:cxn>
                <a:cxn ang="0">
                  <a:pos x="1096" y="112"/>
                </a:cxn>
                <a:cxn ang="0">
                  <a:pos x="1136" y="24"/>
                </a:cxn>
                <a:cxn ang="0">
                  <a:pos x="1008" y="24"/>
                </a:cxn>
                <a:cxn ang="0">
                  <a:pos x="840" y="72"/>
                </a:cxn>
                <a:cxn ang="0">
                  <a:pos x="760" y="120"/>
                </a:cxn>
                <a:cxn ang="0">
                  <a:pos x="704" y="144"/>
                </a:cxn>
                <a:cxn ang="0">
                  <a:pos x="664" y="144"/>
                </a:cxn>
                <a:cxn ang="0">
                  <a:pos x="664" y="224"/>
                </a:cxn>
                <a:cxn ang="0">
                  <a:pos x="584" y="152"/>
                </a:cxn>
                <a:cxn ang="0">
                  <a:pos x="504" y="192"/>
                </a:cxn>
                <a:cxn ang="0">
                  <a:pos x="448" y="224"/>
                </a:cxn>
                <a:cxn ang="0">
                  <a:pos x="320" y="240"/>
                </a:cxn>
                <a:cxn ang="0">
                  <a:pos x="304" y="248"/>
                </a:cxn>
                <a:cxn ang="0">
                  <a:pos x="216" y="288"/>
                </a:cxn>
                <a:cxn ang="0">
                  <a:pos x="216" y="264"/>
                </a:cxn>
                <a:cxn ang="0">
                  <a:pos x="144" y="192"/>
                </a:cxn>
                <a:cxn ang="0">
                  <a:pos x="120" y="256"/>
                </a:cxn>
                <a:cxn ang="0">
                  <a:pos x="144" y="336"/>
                </a:cxn>
                <a:cxn ang="0">
                  <a:pos x="64" y="392"/>
                </a:cxn>
                <a:cxn ang="0">
                  <a:pos x="16" y="448"/>
                </a:cxn>
                <a:cxn ang="0">
                  <a:pos x="56" y="504"/>
                </a:cxn>
                <a:cxn ang="0">
                  <a:pos x="40" y="600"/>
                </a:cxn>
                <a:cxn ang="0">
                  <a:pos x="112" y="616"/>
                </a:cxn>
                <a:cxn ang="0">
                  <a:pos x="176" y="656"/>
                </a:cxn>
                <a:cxn ang="0">
                  <a:pos x="216" y="616"/>
                </a:cxn>
                <a:cxn ang="0">
                  <a:pos x="216" y="648"/>
                </a:cxn>
                <a:cxn ang="0">
                  <a:pos x="320" y="728"/>
                </a:cxn>
                <a:cxn ang="0">
                  <a:pos x="360" y="736"/>
                </a:cxn>
                <a:cxn ang="0">
                  <a:pos x="352" y="672"/>
                </a:cxn>
                <a:cxn ang="0">
                  <a:pos x="376" y="616"/>
                </a:cxn>
                <a:cxn ang="0">
                  <a:pos x="408" y="640"/>
                </a:cxn>
                <a:cxn ang="0">
                  <a:pos x="408" y="696"/>
                </a:cxn>
                <a:cxn ang="0">
                  <a:pos x="408" y="720"/>
                </a:cxn>
                <a:cxn ang="0">
                  <a:pos x="456" y="744"/>
                </a:cxn>
                <a:cxn ang="0">
                  <a:pos x="528" y="784"/>
                </a:cxn>
                <a:cxn ang="0">
                  <a:pos x="600" y="760"/>
                </a:cxn>
                <a:cxn ang="0">
                  <a:pos x="648" y="752"/>
                </a:cxn>
                <a:cxn ang="0">
                  <a:pos x="688" y="744"/>
                </a:cxn>
                <a:cxn ang="0">
                  <a:pos x="760" y="640"/>
                </a:cxn>
                <a:cxn ang="0">
                  <a:pos x="824" y="584"/>
                </a:cxn>
                <a:cxn ang="0">
                  <a:pos x="984" y="528"/>
                </a:cxn>
                <a:cxn ang="0">
                  <a:pos x="1192" y="560"/>
                </a:cxn>
                <a:cxn ang="0">
                  <a:pos x="1376" y="576"/>
                </a:cxn>
                <a:cxn ang="0">
                  <a:pos x="1440" y="600"/>
                </a:cxn>
                <a:cxn ang="0">
                  <a:pos x="1392" y="672"/>
                </a:cxn>
              </a:cxnLst>
              <a:rect l="0" t="0" r="r" b="b"/>
              <a:pathLst>
                <a:path w="2128" h="784">
                  <a:moveTo>
                    <a:pt x="1392" y="680"/>
                  </a:moveTo>
                  <a:lnTo>
                    <a:pt x="1400" y="680"/>
                  </a:lnTo>
                  <a:lnTo>
                    <a:pt x="1416" y="680"/>
                  </a:lnTo>
                  <a:lnTo>
                    <a:pt x="1440" y="680"/>
                  </a:lnTo>
                  <a:lnTo>
                    <a:pt x="1472" y="632"/>
                  </a:lnTo>
                  <a:lnTo>
                    <a:pt x="1496" y="608"/>
                  </a:lnTo>
                  <a:lnTo>
                    <a:pt x="1504" y="584"/>
                  </a:lnTo>
                  <a:lnTo>
                    <a:pt x="1504" y="576"/>
                  </a:lnTo>
                  <a:lnTo>
                    <a:pt x="1504" y="568"/>
                  </a:lnTo>
                  <a:lnTo>
                    <a:pt x="1504" y="560"/>
                  </a:lnTo>
                  <a:lnTo>
                    <a:pt x="1504" y="552"/>
                  </a:lnTo>
                  <a:lnTo>
                    <a:pt x="1520" y="536"/>
                  </a:lnTo>
                  <a:lnTo>
                    <a:pt x="1520" y="512"/>
                  </a:lnTo>
                  <a:lnTo>
                    <a:pt x="1504" y="488"/>
                  </a:lnTo>
                  <a:lnTo>
                    <a:pt x="1496" y="496"/>
                  </a:lnTo>
                  <a:lnTo>
                    <a:pt x="1480" y="496"/>
                  </a:lnTo>
                  <a:lnTo>
                    <a:pt x="1464" y="496"/>
                  </a:lnTo>
                  <a:lnTo>
                    <a:pt x="1456" y="480"/>
                  </a:lnTo>
                  <a:lnTo>
                    <a:pt x="1456" y="472"/>
                  </a:lnTo>
                  <a:lnTo>
                    <a:pt x="1472" y="456"/>
                  </a:lnTo>
                  <a:lnTo>
                    <a:pt x="1496" y="432"/>
                  </a:lnTo>
                  <a:lnTo>
                    <a:pt x="1520" y="408"/>
                  </a:lnTo>
                  <a:lnTo>
                    <a:pt x="1544" y="400"/>
                  </a:lnTo>
                  <a:lnTo>
                    <a:pt x="1608" y="392"/>
                  </a:lnTo>
                  <a:lnTo>
                    <a:pt x="1632" y="392"/>
                  </a:lnTo>
                  <a:lnTo>
                    <a:pt x="1648" y="400"/>
                  </a:lnTo>
                  <a:lnTo>
                    <a:pt x="1656" y="400"/>
                  </a:lnTo>
                  <a:lnTo>
                    <a:pt x="1680" y="400"/>
                  </a:lnTo>
                  <a:lnTo>
                    <a:pt x="1680" y="400"/>
                  </a:lnTo>
                  <a:lnTo>
                    <a:pt x="1688" y="376"/>
                  </a:lnTo>
                  <a:lnTo>
                    <a:pt x="1704" y="360"/>
                  </a:lnTo>
                  <a:lnTo>
                    <a:pt x="1736" y="352"/>
                  </a:lnTo>
                  <a:lnTo>
                    <a:pt x="1752" y="352"/>
                  </a:lnTo>
                  <a:lnTo>
                    <a:pt x="1760" y="360"/>
                  </a:lnTo>
                  <a:lnTo>
                    <a:pt x="1760" y="360"/>
                  </a:lnTo>
                  <a:lnTo>
                    <a:pt x="1752" y="360"/>
                  </a:lnTo>
                  <a:lnTo>
                    <a:pt x="1752" y="376"/>
                  </a:lnTo>
                  <a:lnTo>
                    <a:pt x="1760" y="376"/>
                  </a:lnTo>
                  <a:lnTo>
                    <a:pt x="1776" y="360"/>
                  </a:lnTo>
                  <a:lnTo>
                    <a:pt x="1792" y="344"/>
                  </a:lnTo>
                  <a:lnTo>
                    <a:pt x="1808" y="344"/>
                  </a:lnTo>
                  <a:lnTo>
                    <a:pt x="1808" y="360"/>
                  </a:lnTo>
                  <a:lnTo>
                    <a:pt x="1784" y="376"/>
                  </a:lnTo>
                  <a:lnTo>
                    <a:pt x="1760" y="384"/>
                  </a:lnTo>
                  <a:lnTo>
                    <a:pt x="1744" y="408"/>
                  </a:lnTo>
                  <a:lnTo>
                    <a:pt x="1736" y="416"/>
                  </a:lnTo>
                  <a:lnTo>
                    <a:pt x="1712" y="432"/>
                  </a:lnTo>
                  <a:lnTo>
                    <a:pt x="1696" y="448"/>
                  </a:lnTo>
                  <a:lnTo>
                    <a:pt x="1696" y="472"/>
                  </a:lnTo>
                  <a:lnTo>
                    <a:pt x="1712" y="528"/>
                  </a:lnTo>
                  <a:lnTo>
                    <a:pt x="1720" y="536"/>
                  </a:lnTo>
                  <a:lnTo>
                    <a:pt x="1720" y="536"/>
                  </a:lnTo>
                  <a:lnTo>
                    <a:pt x="1728" y="520"/>
                  </a:lnTo>
                  <a:lnTo>
                    <a:pt x="1736" y="496"/>
                  </a:lnTo>
                  <a:lnTo>
                    <a:pt x="1752" y="496"/>
                  </a:lnTo>
                  <a:lnTo>
                    <a:pt x="1752" y="496"/>
                  </a:lnTo>
                  <a:lnTo>
                    <a:pt x="1752" y="488"/>
                  </a:lnTo>
                  <a:lnTo>
                    <a:pt x="1768" y="480"/>
                  </a:lnTo>
                  <a:lnTo>
                    <a:pt x="1768" y="464"/>
                  </a:lnTo>
                  <a:lnTo>
                    <a:pt x="1784" y="448"/>
                  </a:lnTo>
                  <a:lnTo>
                    <a:pt x="1784" y="440"/>
                  </a:lnTo>
                  <a:lnTo>
                    <a:pt x="1784" y="432"/>
                  </a:lnTo>
                  <a:lnTo>
                    <a:pt x="1784" y="424"/>
                  </a:lnTo>
                  <a:lnTo>
                    <a:pt x="1792" y="400"/>
                  </a:lnTo>
                  <a:lnTo>
                    <a:pt x="1816" y="384"/>
                  </a:lnTo>
                  <a:lnTo>
                    <a:pt x="1840" y="384"/>
                  </a:lnTo>
                  <a:lnTo>
                    <a:pt x="1864" y="392"/>
                  </a:lnTo>
                  <a:lnTo>
                    <a:pt x="1880" y="392"/>
                  </a:lnTo>
                  <a:lnTo>
                    <a:pt x="1952" y="344"/>
                  </a:lnTo>
                  <a:lnTo>
                    <a:pt x="2000" y="344"/>
                  </a:lnTo>
                  <a:lnTo>
                    <a:pt x="2000" y="328"/>
                  </a:lnTo>
                  <a:lnTo>
                    <a:pt x="1976" y="312"/>
                  </a:lnTo>
                  <a:lnTo>
                    <a:pt x="1976" y="296"/>
                  </a:lnTo>
                  <a:lnTo>
                    <a:pt x="2008" y="288"/>
                  </a:lnTo>
                  <a:lnTo>
                    <a:pt x="2008" y="280"/>
                  </a:lnTo>
                  <a:lnTo>
                    <a:pt x="2008" y="280"/>
                  </a:lnTo>
                  <a:lnTo>
                    <a:pt x="2008" y="264"/>
                  </a:lnTo>
                  <a:lnTo>
                    <a:pt x="2032" y="264"/>
                  </a:lnTo>
                  <a:lnTo>
                    <a:pt x="2072" y="304"/>
                  </a:lnTo>
                  <a:lnTo>
                    <a:pt x="2088" y="304"/>
                  </a:lnTo>
                  <a:lnTo>
                    <a:pt x="2096" y="288"/>
                  </a:lnTo>
                  <a:lnTo>
                    <a:pt x="2104" y="280"/>
                  </a:lnTo>
                  <a:lnTo>
                    <a:pt x="2120" y="272"/>
                  </a:lnTo>
                  <a:lnTo>
                    <a:pt x="2128" y="272"/>
                  </a:lnTo>
                  <a:lnTo>
                    <a:pt x="2128" y="272"/>
                  </a:lnTo>
                  <a:lnTo>
                    <a:pt x="2120" y="256"/>
                  </a:lnTo>
                  <a:lnTo>
                    <a:pt x="2040" y="224"/>
                  </a:lnTo>
                  <a:lnTo>
                    <a:pt x="2000" y="208"/>
                  </a:lnTo>
                  <a:lnTo>
                    <a:pt x="1936" y="184"/>
                  </a:lnTo>
                  <a:lnTo>
                    <a:pt x="1880" y="184"/>
                  </a:lnTo>
                  <a:lnTo>
                    <a:pt x="1880" y="192"/>
                  </a:lnTo>
                  <a:lnTo>
                    <a:pt x="1880" y="192"/>
                  </a:lnTo>
                  <a:lnTo>
                    <a:pt x="1888" y="200"/>
                  </a:lnTo>
                  <a:lnTo>
                    <a:pt x="1888" y="208"/>
                  </a:lnTo>
                  <a:lnTo>
                    <a:pt x="1880" y="208"/>
                  </a:lnTo>
                  <a:lnTo>
                    <a:pt x="1856" y="192"/>
                  </a:lnTo>
                  <a:lnTo>
                    <a:pt x="1856" y="192"/>
                  </a:lnTo>
                  <a:lnTo>
                    <a:pt x="1752" y="184"/>
                  </a:lnTo>
                  <a:lnTo>
                    <a:pt x="1752" y="184"/>
                  </a:lnTo>
                  <a:lnTo>
                    <a:pt x="1744" y="160"/>
                  </a:lnTo>
                  <a:lnTo>
                    <a:pt x="1680" y="160"/>
                  </a:lnTo>
                  <a:lnTo>
                    <a:pt x="1656" y="160"/>
                  </a:lnTo>
                  <a:lnTo>
                    <a:pt x="1648" y="152"/>
                  </a:lnTo>
                  <a:lnTo>
                    <a:pt x="1640" y="136"/>
                  </a:lnTo>
                  <a:lnTo>
                    <a:pt x="1608" y="128"/>
                  </a:lnTo>
                  <a:lnTo>
                    <a:pt x="1560" y="120"/>
                  </a:lnTo>
                  <a:lnTo>
                    <a:pt x="1520" y="120"/>
                  </a:lnTo>
                  <a:lnTo>
                    <a:pt x="1504" y="136"/>
                  </a:lnTo>
                  <a:lnTo>
                    <a:pt x="1496" y="152"/>
                  </a:lnTo>
                  <a:lnTo>
                    <a:pt x="1496" y="152"/>
                  </a:lnTo>
                  <a:lnTo>
                    <a:pt x="1424" y="152"/>
                  </a:lnTo>
                  <a:lnTo>
                    <a:pt x="1424" y="152"/>
                  </a:lnTo>
                  <a:lnTo>
                    <a:pt x="1408" y="144"/>
                  </a:lnTo>
                  <a:lnTo>
                    <a:pt x="1400" y="144"/>
                  </a:lnTo>
                  <a:lnTo>
                    <a:pt x="1400" y="144"/>
                  </a:lnTo>
                  <a:lnTo>
                    <a:pt x="1400" y="160"/>
                  </a:lnTo>
                  <a:lnTo>
                    <a:pt x="1376" y="160"/>
                  </a:lnTo>
                  <a:lnTo>
                    <a:pt x="1360" y="136"/>
                  </a:lnTo>
                  <a:lnTo>
                    <a:pt x="1368" y="120"/>
                  </a:lnTo>
                  <a:lnTo>
                    <a:pt x="1368" y="120"/>
                  </a:lnTo>
                  <a:lnTo>
                    <a:pt x="1368" y="104"/>
                  </a:lnTo>
                  <a:lnTo>
                    <a:pt x="1344" y="96"/>
                  </a:lnTo>
                  <a:lnTo>
                    <a:pt x="1304" y="96"/>
                  </a:lnTo>
                  <a:lnTo>
                    <a:pt x="1304" y="96"/>
                  </a:lnTo>
                  <a:lnTo>
                    <a:pt x="1288" y="88"/>
                  </a:lnTo>
                  <a:lnTo>
                    <a:pt x="1288" y="112"/>
                  </a:lnTo>
                  <a:lnTo>
                    <a:pt x="1288" y="112"/>
                  </a:lnTo>
                  <a:lnTo>
                    <a:pt x="1240" y="112"/>
                  </a:lnTo>
                  <a:lnTo>
                    <a:pt x="1240" y="112"/>
                  </a:lnTo>
                  <a:lnTo>
                    <a:pt x="1216" y="104"/>
                  </a:lnTo>
                  <a:lnTo>
                    <a:pt x="1144" y="96"/>
                  </a:lnTo>
                  <a:lnTo>
                    <a:pt x="1144" y="80"/>
                  </a:lnTo>
                  <a:lnTo>
                    <a:pt x="1144" y="80"/>
                  </a:lnTo>
                  <a:lnTo>
                    <a:pt x="1120" y="96"/>
                  </a:lnTo>
                  <a:lnTo>
                    <a:pt x="1104" y="112"/>
                  </a:lnTo>
                  <a:lnTo>
                    <a:pt x="1096" y="112"/>
                  </a:lnTo>
                  <a:lnTo>
                    <a:pt x="1096" y="104"/>
                  </a:lnTo>
                  <a:lnTo>
                    <a:pt x="1096" y="104"/>
                  </a:lnTo>
                  <a:lnTo>
                    <a:pt x="1096" y="104"/>
                  </a:lnTo>
                  <a:lnTo>
                    <a:pt x="1136" y="80"/>
                  </a:lnTo>
                  <a:lnTo>
                    <a:pt x="1176" y="56"/>
                  </a:lnTo>
                  <a:lnTo>
                    <a:pt x="1176" y="40"/>
                  </a:lnTo>
                  <a:lnTo>
                    <a:pt x="1160" y="24"/>
                  </a:lnTo>
                  <a:lnTo>
                    <a:pt x="1136" y="24"/>
                  </a:lnTo>
                  <a:lnTo>
                    <a:pt x="1136" y="24"/>
                  </a:lnTo>
                  <a:lnTo>
                    <a:pt x="1088" y="24"/>
                  </a:lnTo>
                  <a:lnTo>
                    <a:pt x="1088" y="24"/>
                  </a:lnTo>
                  <a:lnTo>
                    <a:pt x="1088" y="8"/>
                  </a:lnTo>
                  <a:lnTo>
                    <a:pt x="1072" y="0"/>
                  </a:lnTo>
                  <a:lnTo>
                    <a:pt x="1040" y="0"/>
                  </a:lnTo>
                  <a:lnTo>
                    <a:pt x="1024" y="16"/>
                  </a:lnTo>
                  <a:lnTo>
                    <a:pt x="1008" y="24"/>
                  </a:lnTo>
                  <a:lnTo>
                    <a:pt x="968" y="40"/>
                  </a:lnTo>
                  <a:lnTo>
                    <a:pt x="952" y="40"/>
                  </a:lnTo>
                  <a:lnTo>
                    <a:pt x="952" y="32"/>
                  </a:lnTo>
                  <a:lnTo>
                    <a:pt x="952" y="32"/>
                  </a:lnTo>
                  <a:lnTo>
                    <a:pt x="952" y="32"/>
                  </a:lnTo>
                  <a:lnTo>
                    <a:pt x="920" y="40"/>
                  </a:lnTo>
                  <a:lnTo>
                    <a:pt x="864" y="56"/>
                  </a:lnTo>
                  <a:lnTo>
                    <a:pt x="840" y="72"/>
                  </a:lnTo>
                  <a:lnTo>
                    <a:pt x="832" y="96"/>
                  </a:lnTo>
                  <a:lnTo>
                    <a:pt x="824" y="96"/>
                  </a:lnTo>
                  <a:lnTo>
                    <a:pt x="808" y="96"/>
                  </a:lnTo>
                  <a:lnTo>
                    <a:pt x="784" y="96"/>
                  </a:lnTo>
                  <a:lnTo>
                    <a:pt x="752" y="104"/>
                  </a:lnTo>
                  <a:lnTo>
                    <a:pt x="752" y="112"/>
                  </a:lnTo>
                  <a:lnTo>
                    <a:pt x="752" y="112"/>
                  </a:lnTo>
                  <a:lnTo>
                    <a:pt x="760" y="120"/>
                  </a:lnTo>
                  <a:lnTo>
                    <a:pt x="760" y="128"/>
                  </a:lnTo>
                  <a:lnTo>
                    <a:pt x="760" y="128"/>
                  </a:lnTo>
                  <a:lnTo>
                    <a:pt x="760" y="136"/>
                  </a:lnTo>
                  <a:lnTo>
                    <a:pt x="752" y="136"/>
                  </a:lnTo>
                  <a:lnTo>
                    <a:pt x="728" y="128"/>
                  </a:lnTo>
                  <a:lnTo>
                    <a:pt x="720" y="128"/>
                  </a:lnTo>
                  <a:lnTo>
                    <a:pt x="720" y="128"/>
                  </a:lnTo>
                  <a:lnTo>
                    <a:pt x="704" y="144"/>
                  </a:lnTo>
                  <a:lnTo>
                    <a:pt x="696" y="144"/>
                  </a:lnTo>
                  <a:lnTo>
                    <a:pt x="688" y="120"/>
                  </a:lnTo>
                  <a:lnTo>
                    <a:pt x="688" y="120"/>
                  </a:lnTo>
                  <a:lnTo>
                    <a:pt x="688" y="120"/>
                  </a:lnTo>
                  <a:lnTo>
                    <a:pt x="688" y="128"/>
                  </a:lnTo>
                  <a:lnTo>
                    <a:pt x="680" y="136"/>
                  </a:lnTo>
                  <a:lnTo>
                    <a:pt x="664" y="144"/>
                  </a:lnTo>
                  <a:lnTo>
                    <a:pt x="664" y="144"/>
                  </a:lnTo>
                  <a:lnTo>
                    <a:pt x="664" y="144"/>
                  </a:lnTo>
                  <a:lnTo>
                    <a:pt x="680" y="168"/>
                  </a:lnTo>
                  <a:lnTo>
                    <a:pt x="680" y="176"/>
                  </a:lnTo>
                  <a:lnTo>
                    <a:pt x="672" y="184"/>
                  </a:lnTo>
                  <a:lnTo>
                    <a:pt x="672" y="192"/>
                  </a:lnTo>
                  <a:lnTo>
                    <a:pt x="680" y="216"/>
                  </a:lnTo>
                  <a:lnTo>
                    <a:pt x="680" y="224"/>
                  </a:lnTo>
                  <a:lnTo>
                    <a:pt x="664" y="224"/>
                  </a:lnTo>
                  <a:lnTo>
                    <a:pt x="656" y="168"/>
                  </a:lnTo>
                  <a:lnTo>
                    <a:pt x="656" y="144"/>
                  </a:lnTo>
                  <a:lnTo>
                    <a:pt x="664" y="128"/>
                  </a:lnTo>
                  <a:lnTo>
                    <a:pt x="664" y="120"/>
                  </a:lnTo>
                  <a:lnTo>
                    <a:pt x="640" y="120"/>
                  </a:lnTo>
                  <a:lnTo>
                    <a:pt x="640" y="120"/>
                  </a:lnTo>
                  <a:lnTo>
                    <a:pt x="624" y="120"/>
                  </a:lnTo>
                  <a:lnTo>
                    <a:pt x="584" y="152"/>
                  </a:lnTo>
                  <a:lnTo>
                    <a:pt x="584" y="176"/>
                  </a:lnTo>
                  <a:lnTo>
                    <a:pt x="600" y="192"/>
                  </a:lnTo>
                  <a:lnTo>
                    <a:pt x="616" y="216"/>
                  </a:lnTo>
                  <a:lnTo>
                    <a:pt x="616" y="224"/>
                  </a:lnTo>
                  <a:lnTo>
                    <a:pt x="608" y="224"/>
                  </a:lnTo>
                  <a:lnTo>
                    <a:pt x="560" y="200"/>
                  </a:lnTo>
                  <a:lnTo>
                    <a:pt x="528" y="192"/>
                  </a:lnTo>
                  <a:lnTo>
                    <a:pt x="504" y="192"/>
                  </a:lnTo>
                  <a:lnTo>
                    <a:pt x="504" y="200"/>
                  </a:lnTo>
                  <a:lnTo>
                    <a:pt x="512" y="200"/>
                  </a:lnTo>
                  <a:lnTo>
                    <a:pt x="512" y="200"/>
                  </a:lnTo>
                  <a:lnTo>
                    <a:pt x="512" y="224"/>
                  </a:lnTo>
                  <a:lnTo>
                    <a:pt x="504" y="224"/>
                  </a:lnTo>
                  <a:lnTo>
                    <a:pt x="488" y="208"/>
                  </a:lnTo>
                  <a:lnTo>
                    <a:pt x="480" y="208"/>
                  </a:lnTo>
                  <a:lnTo>
                    <a:pt x="448" y="224"/>
                  </a:lnTo>
                  <a:lnTo>
                    <a:pt x="432" y="224"/>
                  </a:lnTo>
                  <a:lnTo>
                    <a:pt x="424" y="216"/>
                  </a:lnTo>
                  <a:lnTo>
                    <a:pt x="424" y="216"/>
                  </a:lnTo>
                  <a:lnTo>
                    <a:pt x="424" y="208"/>
                  </a:lnTo>
                  <a:lnTo>
                    <a:pt x="400" y="216"/>
                  </a:lnTo>
                  <a:lnTo>
                    <a:pt x="336" y="248"/>
                  </a:lnTo>
                  <a:lnTo>
                    <a:pt x="320" y="248"/>
                  </a:lnTo>
                  <a:lnTo>
                    <a:pt x="320" y="240"/>
                  </a:lnTo>
                  <a:lnTo>
                    <a:pt x="320" y="240"/>
                  </a:lnTo>
                  <a:lnTo>
                    <a:pt x="328" y="232"/>
                  </a:lnTo>
                  <a:lnTo>
                    <a:pt x="328" y="216"/>
                  </a:lnTo>
                  <a:lnTo>
                    <a:pt x="312" y="216"/>
                  </a:lnTo>
                  <a:lnTo>
                    <a:pt x="304" y="224"/>
                  </a:lnTo>
                  <a:lnTo>
                    <a:pt x="304" y="248"/>
                  </a:lnTo>
                  <a:lnTo>
                    <a:pt x="304" y="248"/>
                  </a:lnTo>
                  <a:lnTo>
                    <a:pt x="304" y="248"/>
                  </a:lnTo>
                  <a:lnTo>
                    <a:pt x="304" y="264"/>
                  </a:lnTo>
                  <a:lnTo>
                    <a:pt x="280" y="264"/>
                  </a:lnTo>
                  <a:lnTo>
                    <a:pt x="272" y="264"/>
                  </a:lnTo>
                  <a:lnTo>
                    <a:pt x="272" y="264"/>
                  </a:lnTo>
                  <a:lnTo>
                    <a:pt x="256" y="296"/>
                  </a:lnTo>
                  <a:lnTo>
                    <a:pt x="232" y="296"/>
                  </a:lnTo>
                  <a:lnTo>
                    <a:pt x="216" y="288"/>
                  </a:lnTo>
                  <a:lnTo>
                    <a:pt x="216" y="288"/>
                  </a:lnTo>
                  <a:lnTo>
                    <a:pt x="216" y="312"/>
                  </a:lnTo>
                  <a:lnTo>
                    <a:pt x="216" y="312"/>
                  </a:lnTo>
                  <a:lnTo>
                    <a:pt x="200" y="304"/>
                  </a:lnTo>
                  <a:lnTo>
                    <a:pt x="192" y="280"/>
                  </a:lnTo>
                  <a:lnTo>
                    <a:pt x="184" y="264"/>
                  </a:lnTo>
                  <a:lnTo>
                    <a:pt x="184" y="264"/>
                  </a:lnTo>
                  <a:lnTo>
                    <a:pt x="192" y="264"/>
                  </a:lnTo>
                  <a:lnTo>
                    <a:pt x="216" y="264"/>
                  </a:lnTo>
                  <a:lnTo>
                    <a:pt x="232" y="272"/>
                  </a:lnTo>
                  <a:lnTo>
                    <a:pt x="248" y="272"/>
                  </a:lnTo>
                  <a:lnTo>
                    <a:pt x="272" y="264"/>
                  </a:lnTo>
                  <a:lnTo>
                    <a:pt x="272" y="248"/>
                  </a:lnTo>
                  <a:lnTo>
                    <a:pt x="248" y="232"/>
                  </a:lnTo>
                  <a:lnTo>
                    <a:pt x="192" y="208"/>
                  </a:lnTo>
                  <a:lnTo>
                    <a:pt x="152" y="192"/>
                  </a:lnTo>
                  <a:lnTo>
                    <a:pt x="144" y="192"/>
                  </a:lnTo>
                  <a:lnTo>
                    <a:pt x="136" y="192"/>
                  </a:lnTo>
                  <a:lnTo>
                    <a:pt x="136" y="192"/>
                  </a:lnTo>
                  <a:lnTo>
                    <a:pt x="128" y="200"/>
                  </a:lnTo>
                  <a:lnTo>
                    <a:pt x="112" y="208"/>
                  </a:lnTo>
                  <a:lnTo>
                    <a:pt x="112" y="216"/>
                  </a:lnTo>
                  <a:lnTo>
                    <a:pt x="128" y="224"/>
                  </a:lnTo>
                  <a:lnTo>
                    <a:pt x="120" y="240"/>
                  </a:lnTo>
                  <a:lnTo>
                    <a:pt x="120" y="256"/>
                  </a:lnTo>
                  <a:lnTo>
                    <a:pt x="128" y="272"/>
                  </a:lnTo>
                  <a:lnTo>
                    <a:pt x="128" y="280"/>
                  </a:lnTo>
                  <a:lnTo>
                    <a:pt x="128" y="288"/>
                  </a:lnTo>
                  <a:lnTo>
                    <a:pt x="136" y="304"/>
                  </a:lnTo>
                  <a:lnTo>
                    <a:pt x="136" y="312"/>
                  </a:lnTo>
                  <a:lnTo>
                    <a:pt x="136" y="312"/>
                  </a:lnTo>
                  <a:lnTo>
                    <a:pt x="144" y="328"/>
                  </a:lnTo>
                  <a:lnTo>
                    <a:pt x="144" y="336"/>
                  </a:lnTo>
                  <a:lnTo>
                    <a:pt x="120" y="360"/>
                  </a:lnTo>
                  <a:lnTo>
                    <a:pt x="104" y="376"/>
                  </a:lnTo>
                  <a:lnTo>
                    <a:pt x="104" y="376"/>
                  </a:lnTo>
                  <a:lnTo>
                    <a:pt x="112" y="384"/>
                  </a:lnTo>
                  <a:lnTo>
                    <a:pt x="120" y="392"/>
                  </a:lnTo>
                  <a:lnTo>
                    <a:pt x="96" y="400"/>
                  </a:lnTo>
                  <a:lnTo>
                    <a:pt x="80" y="392"/>
                  </a:lnTo>
                  <a:lnTo>
                    <a:pt x="64" y="392"/>
                  </a:lnTo>
                  <a:lnTo>
                    <a:pt x="48" y="408"/>
                  </a:lnTo>
                  <a:lnTo>
                    <a:pt x="48" y="408"/>
                  </a:lnTo>
                  <a:lnTo>
                    <a:pt x="64" y="424"/>
                  </a:lnTo>
                  <a:lnTo>
                    <a:pt x="64" y="440"/>
                  </a:lnTo>
                  <a:lnTo>
                    <a:pt x="48" y="440"/>
                  </a:lnTo>
                  <a:lnTo>
                    <a:pt x="40" y="432"/>
                  </a:lnTo>
                  <a:lnTo>
                    <a:pt x="32" y="432"/>
                  </a:lnTo>
                  <a:lnTo>
                    <a:pt x="16" y="448"/>
                  </a:lnTo>
                  <a:lnTo>
                    <a:pt x="16" y="472"/>
                  </a:lnTo>
                  <a:lnTo>
                    <a:pt x="0" y="480"/>
                  </a:lnTo>
                  <a:lnTo>
                    <a:pt x="0" y="488"/>
                  </a:lnTo>
                  <a:lnTo>
                    <a:pt x="0" y="488"/>
                  </a:lnTo>
                  <a:lnTo>
                    <a:pt x="8" y="488"/>
                  </a:lnTo>
                  <a:lnTo>
                    <a:pt x="32" y="488"/>
                  </a:lnTo>
                  <a:lnTo>
                    <a:pt x="48" y="488"/>
                  </a:lnTo>
                  <a:lnTo>
                    <a:pt x="56" y="504"/>
                  </a:lnTo>
                  <a:lnTo>
                    <a:pt x="56" y="512"/>
                  </a:lnTo>
                  <a:lnTo>
                    <a:pt x="56" y="512"/>
                  </a:lnTo>
                  <a:lnTo>
                    <a:pt x="48" y="520"/>
                  </a:lnTo>
                  <a:lnTo>
                    <a:pt x="48" y="536"/>
                  </a:lnTo>
                  <a:lnTo>
                    <a:pt x="56" y="544"/>
                  </a:lnTo>
                  <a:lnTo>
                    <a:pt x="48" y="560"/>
                  </a:lnTo>
                  <a:lnTo>
                    <a:pt x="40" y="568"/>
                  </a:lnTo>
                  <a:lnTo>
                    <a:pt x="40" y="600"/>
                  </a:lnTo>
                  <a:lnTo>
                    <a:pt x="56" y="600"/>
                  </a:lnTo>
                  <a:lnTo>
                    <a:pt x="56" y="600"/>
                  </a:lnTo>
                  <a:lnTo>
                    <a:pt x="64" y="600"/>
                  </a:lnTo>
                  <a:lnTo>
                    <a:pt x="80" y="592"/>
                  </a:lnTo>
                  <a:lnTo>
                    <a:pt x="96" y="592"/>
                  </a:lnTo>
                  <a:lnTo>
                    <a:pt x="104" y="616"/>
                  </a:lnTo>
                  <a:lnTo>
                    <a:pt x="112" y="616"/>
                  </a:lnTo>
                  <a:lnTo>
                    <a:pt x="112" y="616"/>
                  </a:lnTo>
                  <a:lnTo>
                    <a:pt x="112" y="632"/>
                  </a:lnTo>
                  <a:lnTo>
                    <a:pt x="112" y="632"/>
                  </a:lnTo>
                  <a:lnTo>
                    <a:pt x="112" y="640"/>
                  </a:lnTo>
                  <a:lnTo>
                    <a:pt x="120" y="632"/>
                  </a:lnTo>
                  <a:lnTo>
                    <a:pt x="128" y="632"/>
                  </a:lnTo>
                  <a:lnTo>
                    <a:pt x="136" y="624"/>
                  </a:lnTo>
                  <a:lnTo>
                    <a:pt x="152" y="624"/>
                  </a:lnTo>
                  <a:lnTo>
                    <a:pt x="176" y="656"/>
                  </a:lnTo>
                  <a:lnTo>
                    <a:pt x="184" y="656"/>
                  </a:lnTo>
                  <a:lnTo>
                    <a:pt x="208" y="640"/>
                  </a:lnTo>
                  <a:lnTo>
                    <a:pt x="208" y="640"/>
                  </a:lnTo>
                  <a:lnTo>
                    <a:pt x="208" y="640"/>
                  </a:lnTo>
                  <a:lnTo>
                    <a:pt x="200" y="640"/>
                  </a:lnTo>
                  <a:lnTo>
                    <a:pt x="192" y="640"/>
                  </a:lnTo>
                  <a:lnTo>
                    <a:pt x="192" y="632"/>
                  </a:lnTo>
                  <a:lnTo>
                    <a:pt x="216" y="616"/>
                  </a:lnTo>
                  <a:lnTo>
                    <a:pt x="232" y="608"/>
                  </a:lnTo>
                  <a:lnTo>
                    <a:pt x="232" y="608"/>
                  </a:lnTo>
                  <a:lnTo>
                    <a:pt x="224" y="616"/>
                  </a:lnTo>
                  <a:lnTo>
                    <a:pt x="232" y="624"/>
                  </a:lnTo>
                  <a:lnTo>
                    <a:pt x="232" y="632"/>
                  </a:lnTo>
                  <a:lnTo>
                    <a:pt x="216" y="640"/>
                  </a:lnTo>
                  <a:lnTo>
                    <a:pt x="216" y="640"/>
                  </a:lnTo>
                  <a:lnTo>
                    <a:pt x="216" y="648"/>
                  </a:lnTo>
                  <a:lnTo>
                    <a:pt x="272" y="680"/>
                  </a:lnTo>
                  <a:lnTo>
                    <a:pt x="272" y="696"/>
                  </a:lnTo>
                  <a:lnTo>
                    <a:pt x="272" y="696"/>
                  </a:lnTo>
                  <a:lnTo>
                    <a:pt x="280" y="696"/>
                  </a:lnTo>
                  <a:lnTo>
                    <a:pt x="296" y="696"/>
                  </a:lnTo>
                  <a:lnTo>
                    <a:pt x="304" y="704"/>
                  </a:lnTo>
                  <a:lnTo>
                    <a:pt x="304" y="712"/>
                  </a:lnTo>
                  <a:lnTo>
                    <a:pt x="320" y="728"/>
                  </a:lnTo>
                  <a:lnTo>
                    <a:pt x="344" y="736"/>
                  </a:lnTo>
                  <a:lnTo>
                    <a:pt x="344" y="728"/>
                  </a:lnTo>
                  <a:lnTo>
                    <a:pt x="352" y="720"/>
                  </a:lnTo>
                  <a:lnTo>
                    <a:pt x="352" y="720"/>
                  </a:lnTo>
                  <a:lnTo>
                    <a:pt x="360" y="720"/>
                  </a:lnTo>
                  <a:lnTo>
                    <a:pt x="360" y="728"/>
                  </a:lnTo>
                  <a:lnTo>
                    <a:pt x="360" y="728"/>
                  </a:lnTo>
                  <a:lnTo>
                    <a:pt x="360" y="736"/>
                  </a:lnTo>
                  <a:lnTo>
                    <a:pt x="360" y="736"/>
                  </a:lnTo>
                  <a:lnTo>
                    <a:pt x="368" y="736"/>
                  </a:lnTo>
                  <a:lnTo>
                    <a:pt x="368" y="736"/>
                  </a:lnTo>
                  <a:lnTo>
                    <a:pt x="368" y="720"/>
                  </a:lnTo>
                  <a:lnTo>
                    <a:pt x="376" y="712"/>
                  </a:lnTo>
                  <a:lnTo>
                    <a:pt x="376" y="712"/>
                  </a:lnTo>
                  <a:lnTo>
                    <a:pt x="368" y="712"/>
                  </a:lnTo>
                  <a:lnTo>
                    <a:pt x="352" y="672"/>
                  </a:lnTo>
                  <a:lnTo>
                    <a:pt x="352" y="664"/>
                  </a:lnTo>
                  <a:lnTo>
                    <a:pt x="336" y="648"/>
                  </a:lnTo>
                  <a:lnTo>
                    <a:pt x="336" y="648"/>
                  </a:lnTo>
                  <a:lnTo>
                    <a:pt x="344" y="632"/>
                  </a:lnTo>
                  <a:lnTo>
                    <a:pt x="352" y="624"/>
                  </a:lnTo>
                  <a:lnTo>
                    <a:pt x="352" y="624"/>
                  </a:lnTo>
                  <a:lnTo>
                    <a:pt x="360" y="624"/>
                  </a:lnTo>
                  <a:lnTo>
                    <a:pt x="376" y="616"/>
                  </a:lnTo>
                  <a:lnTo>
                    <a:pt x="392" y="616"/>
                  </a:lnTo>
                  <a:lnTo>
                    <a:pt x="416" y="616"/>
                  </a:lnTo>
                  <a:lnTo>
                    <a:pt x="424" y="624"/>
                  </a:lnTo>
                  <a:lnTo>
                    <a:pt x="432" y="640"/>
                  </a:lnTo>
                  <a:lnTo>
                    <a:pt x="432" y="640"/>
                  </a:lnTo>
                  <a:lnTo>
                    <a:pt x="432" y="640"/>
                  </a:lnTo>
                  <a:lnTo>
                    <a:pt x="416" y="640"/>
                  </a:lnTo>
                  <a:lnTo>
                    <a:pt x="408" y="640"/>
                  </a:lnTo>
                  <a:lnTo>
                    <a:pt x="384" y="648"/>
                  </a:lnTo>
                  <a:lnTo>
                    <a:pt x="384" y="648"/>
                  </a:lnTo>
                  <a:lnTo>
                    <a:pt x="384" y="656"/>
                  </a:lnTo>
                  <a:lnTo>
                    <a:pt x="392" y="664"/>
                  </a:lnTo>
                  <a:lnTo>
                    <a:pt x="392" y="664"/>
                  </a:lnTo>
                  <a:lnTo>
                    <a:pt x="408" y="688"/>
                  </a:lnTo>
                  <a:lnTo>
                    <a:pt x="408" y="696"/>
                  </a:lnTo>
                  <a:lnTo>
                    <a:pt x="408" y="696"/>
                  </a:lnTo>
                  <a:lnTo>
                    <a:pt x="416" y="696"/>
                  </a:lnTo>
                  <a:lnTo>
                    <a:pt x="424" y="696"/>
                  </a:lnTo>
                  <a:lnTo>
                    <a:pt x="432" y="704"/>
                  </a:lnTo>
                  <a:lnTo>
                    <a:pt x="432" y="712"/>
                  </a:lnTo>
                  <a:lnTo>
                    <a:pt x="432" y="712"/>
                  </a:lnTo>
                  <a:lnTo>
                    <a:pt x="424" y="712"/>
                  </a:lnTo>
                  <a:lnTo>
                    <a:pt x="416" y="712"/>
                  </a:lnTo>
                  <a:lnTo>
                    <a:pt x="408" y="720"/>
                  </a:lnTo>
                  <a:lnTo>
                    <a:pt x="408" y="720"/>
                  </a:lnTo>
                  <a:lnTo>
                    <a:pt x="424" y="720"/>
                  </a:lnTo>
                  <a:lnTo>
                    <a:pt x="424" y="744"/>
                  </a:lnTo>
                  <a:lnTo>
                    <a:pt x="424" y="752"/>
                  </a:lnTo>
                  <a:lnTo>
                    <a:pt x="424" y="760"/>
                  </a:lnTo>
                  <a:lnTo>
                    <a:pt x="432" y="752"/>
                  </a:lnTo>
                  <a:lnTo>
                    <a:pt x="440" y="752"/>
                  </a:lnTo>
                  <a:lnTo>
                    <a:pt x="456" y="744"/>
                  </a:lnTo>
                  <a:lnTo>
                    <a:pt x="464" y="744"/>
                  </a:lnTo>
                  <a:lnTo>
                    <a:pt x="464" y="744"/>
                  </a:lnTo>
                  <a:lnTo>
                    <a:pt x="472" y="744"/>
                  </a:lnTo>
                  <a:lnTo>
                    <a:pt x="504" y="760"/>
                  </a:lnTo>
                  <a:lnTo>
                    <a:pt x="520" y="768"/>
                  </a:lnTo>
                  <a:lnTo>
                    <a:pt x="520" y="776"/>
                  </a:lnTo>
                  <a:lnTo>
                    <a:pt x="520" y="784"/>
                  </a:lnTo>
                  <a:lnTo>
                    <a:pt x="528" y="784"/>
                  </a:lnTo>
                  <a:lnTo>
                    <a:pt x="528" y="784"/>
                  </a:lnTo>
                  <a:lnTo>
                    <a:pt x="544" y="784"/>
                  </a:lnTo>
                  <a:lnTo>
                    <a:pt x="552" y="776"/>
                  </a:lnTo>
                  <a:lnTo>
                    <a:pt x="560" y="768"/>
                  </a:lnTo>
                  <a:lnTo>
                    <a:pt x="568" y="752"/>
                  </a:lnTo>
                  <a:lnTo>
                    <a:pt x="584" y="752"/>
                  </a:lnTo>
                  <a:lnTo>
                    <a:pt x="584" y="760"/>
                  </a:lnTo>
                  <a:lnTo>
                    <a:pt x="600" y="760"/>
                  </a:lnTo>
                  <a:lnTo>
                    <a:pt x="600" y="760"/>
                  </a:lnTo>
                  <a:lnTo>
                    <a:pt x="616" y="760"/>
                  </a:lnTo>
                  <a:lnTo>
                    <a:pt x="624" y="752"/>
                  </a:lnTo>
                  <a:lnTo>
                    <a:pt x="632" y="752"/>
                  </a:lnTo>
                  <a:lnTo>
                    <a:pt x="632" y="752"/>
                  </a:lnTo>
                  <a:lnTo>
                    <a:pt x="640" y="744"/>
                  </a:lnTo>
                  <a:lnTo>
                    <a:pt x="648" y="744"/>
                  </a:lnTo>
                  <a:lnTo>
                    <a:pt x="648" y="752"/>
                  </a:lnTo>
                  <a:lnTo>
                    <a:pt x="648" y="752"/>
                  </a:lnTo>
                  <a:lnTo>
                    <a:pt x="648" y="760"/>
                  </a:lnTo>
                  <a:lnTo>
                    <a:pt x="664" y="752"/>
                  </a:lnTo>
                  <a:lnTo>
                    <a:pt x="680" y="752"/>
                  </a:lnTo>
                  <a:lnTo>
                    <a:pt x="688" y="760"/>
                  </a:lnTo>
                  <a:lnTo>
                    <a:pt x="688" y="760"/>
                  </a:lnTo>
                  <a:lnTo>
                    <a:pt x="688" y="752"/>
                  </a:lnTo>
                  <a:lnTo>
                    <a:pt x="688" y="744"/>
                  </a:lnTo>
                  <a:lnTo>
                    <a:pt x="672" y="736"/>
                  </a:lnTo>
                  <a:lnTo>
                    <a:pt x="672" y="736"/>
                  </a:lnTo>
                  <a:lnTo>
                    <a:pt x="672" y="728"/>
                  </a:lnTo>
                  <a:lnTo>
                    <a:pt x="688" y="712"/>
                  </a:lnTo>
                  <a:lnTo>
                    <a:pt x="720" y="712"/>
                  </a:lnTo>
                  <a:lnTo>
                    <a:pt x="760" y="680"/>
                  </a:lnTo>
                  <a:lnTo>
                    <a:pt x="760" y="640"/>
                  </a:lnTo>
                  <a:lnTo>
                    <a:pt x="760" y="640"/>
                  </a:lnTo>
                  <a:lnTo>
                    <a:pt x="768" y="640"/>
                  </a:lnTo>
                  <a:lnTo>
                    <a:pt x="792" y="616"/>
                  </a:lnTo>
                  <a:lnTo>
                    <a:pt x="800" y="616"/>
                  </a:lnTo>
                  <a:lnTo>
                    <a:pt x="808" y="616"/>
                  </a:lnTo>
                  <a:lnTo>
                    <a:pt x="824" y="616"/>
                  </a:lnTo>
                  <a:lnTo>
                    <a:pt x="824" y="592"/>
                  </a:lnTo>
                  <a:lnTo>
                    <a:pt x="824" y="584"/>
                  </a:lnTo>
                  <a:lnTo>
                    <a:pt x="824" y="584"/>
                  </a:lnTo>
                  <a:lnTo>
                    <a:pt x="832" y="576"/>
                  </a:lnTo>
                  <a:lnTo>
                    <a:pt x="888" y="560"/>
                  </a:lnTo>
                  <a:lnTo>
                    <a:pt x="896" y="552"/>
                  </a:lnTo>
                  <a:lnTo>
                    <a:pt x="904" y="544"/>
                  </a:lnTo>
                  <a:lnTo>
                    <a:pt x="912" y="544"/>
                  </a:lnTo>
                  <a:lnTo>
                    <a:pt x="952" y="560"/>
                  </a:lnTo>
                  <a:lnTo>
                    <a:pt x="968" y="560"/>
                  </a:lnTo>
                  <a:lnTo>
                    <a:pt x="984" y="528"/>
                  </a:lnTo>
                  <a:lnTo>
                    <a:pt x="1000" y="528"/>
                  </a:lnTo>
                  <a:lnTo>
                    <a:pt x="1024" y="536"/>
                  </a:lnTo>
                  <a:lnTo>
                    <a:pt x="1032" y="552"/>
                  </a:lnTo>
                  <a:lnTo>
                    <a:pt x="1064" y="552"/>
                  </a:lnTo>
                  <a:lnTo>
                    <a:pt x="1080" y="552"/>
                  </a:lnTo>
                  <a:lnTo>
                    <a:pt x="1112" y="576"/>
                  </a:lnTo>
                  <a:lnTo>
                    <a:pt x="1136" y="576"/>
                  </a:lnTo>
                  <a:lnTo>
                    <a:pt x="1192" y="560"/>
                  </a:lnTo>
                  <a:lnTo>
                    <a:pt x="1208" y="560"/>
                  </a:lnTo>
                  <a:lnTo>
                    <a:pt x="1224" y="568"/>
                  </a:lnTo>
                  <a:lnTo>
                    <a:pt x="1248" y="560"/>
                  </a:lnTo>
                  <a:lnTo>
                    <a:pt x="1264" y="504"/>
                  </a:lnTo>
                  <a:lnTo>
                    <a:pt x="1320" y="504"/>
                  </a:lnTo>
                  <a:lnTo>
                    <a:pt x="1336" y="552"/>
                  </a:lnTo>
                  <a:lnTo>
                    <a:pt x="1352" y="568"/>
                  </a:lnTo>
                  <a:lnTo>
                    <a:pt x="1376" y="576"/>
                  </a:lnTo>
                  <a:lnTo>
                    <a:pt x="1384" y="592"/>
                  </a:lnTo>
                  <a:lnTo>
                    <a:pt x="1400" y="600"/>
                  </a:lnTo>
                  <a:lnTo>
                    <a:pt x="1408" y="600"/>
                  </a:lnTo>
                  <a:lnTo>
                    <a:pt x="1432" y="584"/>
                  </a:lnTo>
                  <a:lnTo>
                    <a:pt x="1440" y="584"/>
                  </a:lnTo>
                  <a:lnTo>
                    <a:pt x="1440" y="584"/>
                  </a:lnTo>
                  <a:lnTo>
                    <a:pt x="1440" y="600"/>
                  </a:lnTo>
                  <a:lnTo>
                    <a:pt x="1440" y="600"/>
                  </a:lnTo>
                  <a:lnTo>
                    <a:pt x="1432" y="600"/>
                  </a:lnTo>
                  <a:lnTo>
                    <a:pt x="1424" y="632"/>
                  </a:lnTo>
                  <a:lnTo>
                    <a:pt x="1400" y="640"/>
                  </a:lnTo>
                  <a:lnTo>
                    <a:pt x="1392" y="648"/>
                  </a:lnTo>
                  <a:lnTo>
                    <a:pt x="1392" y="648"/>
                  </a:lnTo>
                  <a:lnTo>
                    <a:pt x="1400" y="648"/>
                  </a:lnTo>
                  <a:lnTo>
                    <a:pt x="1400" y="664"/>
                  </a:lnTo>
                  <a:lnTo>
                    <a:pt x="1392" y="672"/>
                  </a:lnTo>
                  <a:lnTo>
                    <a:pt x="1392" y="68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91" name="Freeform 9"/>
            <p:cNvSpPr>
              <a:spLocks/>
            </p:cNvSpPr>
            <p:nvPr/>
          </p:nvSpPr>
          <p:spPr bwMode="auto">
            <a:xfrm>
              <a:off x="5791191" y="2743159"/>
              <a:ext cx="1219198" cy="774688"/>
            </a:xfrm>
            <a:custGeom>
              <a:avLst/>
              <a:gdLst/>
              <a:ahLst/>
              <a:cxnLst>
                <a:cxn ang="0">
                  <a:pos x="568" y="296"/>
                </a:cxn>
                <a:cxn ang="0">
                  <a:pos x="608" y="256"/>
                </a:cxn>
                <a:cxn ang="0">
                  <a:pos x="600" y="248"/>
                </a:cxn>
                <a:cxn ang="0">
                  <a:pos x="576" y="256"/>
                </a:cxn>
                <a:cxn ang="0">
                  <a:pos x="552" y="232"/>
                </a:cxn>
                <a:cxn ang="0">
                  <a:pos x="592" y="200"/>
                </a:cxn>
                <a:cxn ang="0">
                  <a:pos x="600" y="224"/>
                </a:cxn>
                <a:cxn ang="0">
                  <a:pos x="624" y="216"/>
                </a:cxn>
                <a:cxn ang="0">
                  <a:pos x="648" y="232"/>
                </a:cxn>
                <a:cxn ang="0">
                  <a:pos x="664" y="248"/>
                </a:cxn>
                <a:cxn ang="0">
                  <a:pos x="656" y="264"/>
                </a:cxn>
                <a:cxn ang="0">
                  <a:pos x="656" y="280"/>
                </a:cxn>
                <a:cxn ang="0">
                  <a:pos x="664" y="296"/>
                </a:cxn>
                <a:cxn ang="0">
                  <a:pos x="696" y="280"/>
                </a:cxn>
                <a:cxn ang="0">
                  <a:pos x="672" y="216"/>
                </a:cxn>
                <a:cxn ang="0">
                  <a:pos x="704" y="184"/>
                </a:cxn>
                <a:cxn ang="0">
                  <a:pos x="720" y="144"/>
                </a:cxn>
                <a:cxn ang="0">
                  <a:pos x="752" y="128"/>
                </a:cxn>
                <a:cxn ang="0">
                  <a:pos x="768" y="80"/>
                </a:cxn>
                <a:cxn ang="0">
                  <a:pos x="712" y="80"/>
                </a:cxn>
                <a:cxn ang="0">
                  <a:pos x="672" y="56"/>
                </a:cxn>
                <a:cxn ang="0">
                  <a:pos x="592" y="0"/>
                </a:cxn>
                <a:cxn ang="0">
                  <a:pos x="512" y="56"/>
                </a:cxn>
                <a:cxn ang="0">
                  <a:pos x="384" y="48"/>
                </a:cxn>
                <a:cxn ang="0">
                  <a:pos x="312" y="24"/>
                </a:cxn>
                <a:cxn ang="0">
                  <a:pos x="232" y="40"/>
                </a:cxn>
                <a:cxn ang="0">
                  <a:pos x="152" y="80"/>
                </a:cxn>
                <a:cxn ang="0">
                  <a:pos x="136" y="112"/>
                </a:cxn>
                <a:cxn ang="0">
                  <a:pos x="88" y="136"/>
                </a:cxn>
                <a:cxn ang="0">
                  <a:pos x="16" y="208"/>
                </a:cxn>
                <a:cxn ang="0">
                  <a:pos x="16" y="240"/>
                </a:cxn>
                <a:cxn ang="0">
                  <a:pos x="32" y="264"/>
                </a:cxn>
                <a:cxn ang="0">
                  <a:pos x="56" y="280"/>
                </a:cxn>
                <a:cxn ang="0">
                  <a:pos x="88" y="288"/>
                </a:cxn>
                <a:cxn ang="0">
                  <a:pos x="72" y="312"/>
                </a:cxn>
                <a:cxn ang="0">
                  <a:pos x="64" y="328"/>
                </a:cxn>
                <a:cxn ang="0">
                  <a:pos x="112" y="352"/>
                </a:cxn>
                <a:cxn ang="0">
                  <a:pos x="136" y="376"/>
                </a:cxn>
                <a:cxn ang="0">
                  <a:pos x="152" y="384"/>
                </a:cxn>
                <a:cxn ang="0">
                  <a:pos x="192" y="384"/>
                </a:cxn>
                <a:cxn ang="0">
                  <a:pos x="208" y="376"/>
                </a:cxn>
                <a:cxn ang="0">
                  <a:pos x="256" y="368"/>
                </a:cxn>
                <a:cxn ang="0">
                  <a:pos x="272" y="368"/>
                </a:cxn>
                <a:cxn ang="0">
                  <a:pos x="280" y="360"/>
                </a:cxn>
                <a:cxn ang="0">
                  <a:pos x="320" y="392"/>
                </a:cxn>
                <a:cxn ang="0">
                  <a:pos x="304" y="440"/>
                </a:cxn>
                <a:cxn ang="0">
                  <a:pos x="328" y="456"/>
                </a:cxn>
                <a:cxn ang="0">
                  <a:pos x="352" y="464"/>
                </a:cxn>
                <a:cxn ang="0">
                  <a:pos x="352" y="464"/>
                </a:cxn>
                <a:cxn ang="0">
                  <a:pos x="376" y="456"/>
                </a:cxn>
                <a:cxn ang="0">
                  <a:pos x="416" y="448"/>
                </a:cxn>
                <a:cxn ang="0">
                  <a:pos x="448" y="472"/>
                </a:cxn>
                <a:cxn ang="0">
                  <a:pos x="448" y="488"/>
                </a:cxn>
                <a:cxn ang="0">
                  <a:pos x="496" y="464"/>
                </a:cxn>
                <a:cxn ang="0">
                  <a:pos x="512" y="456"/>
                </a:cxn>
                <a:cxn ang="0">
                  <a:pos x="560" y="432"/>
                </a:cxn>
                <a:cxn ang="0">
                  <a:pos x="584" y="392"/>
                </a:cxn>
                <a:cxn ang="0">
                  <a:pos x="600" y="336"/>
                </a:cxn>
                <a:cxn ang="0">
                  <a:pos x="584" y="304"/>
                </a:cxn>
              </a:cxnLst>
              <a:rect l="0" t="0" r="r" b="b"/>
              <a:pathLst>
                <a:path w="768" h="488">
                  <a:moveTo>
                    <a:pt x="584" y="304"/>
                  </a:moveTo>
                  <a:lnTo>
                    <a:pt x="584" y="296"/>
                  </a:lnTo>
                  <a:lnTo>
                    <a:pt x="584" y="296"/>
                  </a:lnTo>
                  <a:lnTo>
                    <a:pt x="568" y="296"/>
                  </a:lnTo>
                  <a:lnTo>
                    <a:pt x="568" y="280"/>
                  </a:lnTo>
                  <a:lnTo>
                    <a:pt x="584" y="280"/>
                  </a:lnTo>
                  <a:lnTo>
                    <a:pt x="584" y="272"/>
                  </a:lnTo>
                  <a:lnTo>
                    <a:pt x="608" y="256"/>
                  </a:lnTo>
                  <a:lnTo>
                    <a:pt x="608" y="256"/>
                  </a:lnTo>
                  <a:lnTo>
                    <a:pt x="608" y="256"/>
                  </a:lnTo>
                  <a:lnTo>
                    <a:pt x="600" y="256"/>
                  </a:lnTo>
                  <a:lnTo>
                    <a:pt x="600" y="248"/>
                  </a:lnTo>
                  <a:lnTo>
                    <a:pt x="592" y="248"/>
                  </a:lnTo>
                  <a:lnTo>
                    <a:pt x="584" y="248"/>
                  </a:lnTo>
                  <a:lnTo>
                    <a:pt x="584" y="256"/>
                  </a:lnTo>
                  <a:lnTo>
                    <a:pt x="576" y="256"/>
                  </a:lnTo>
                  <a:lnTo>
                    <a:pt x="568" y="256"/>
                  </a:lnTo>
                  <a:lnTo>
                    <a:pt x="568" y="248"/>
                  </a:lnTo>
                  <a:lnTo>
                    <a:pt x="552" y="240"/>
                  </a:lnTo>
                  <a:lnTo>
                    <a:pt x="552" y="232"/>
                  </a:lnTo>
                  <a:lnTo>
                    <a:pt x="560" y="224"/>
                  </a:lnTo>
                  <a:lnTo>
                    <a:pt x="576" y="224"/>
                  </a:lnTo>
                  <a:lnTo>
                    <a:pt x="584" y="216"/>
                  </a:lnTo>
                  <a:lnTo>
                    <a:pt x="592" y="200"/>
                  </a:lnTo>
                  <a:lnTo>
                    <a:pt x="608" y="200"/>
                  </a:lnTo>
                  <a:lnTo>
                    <a:pt x="608" y="208"/>
                  </a:lnTo>
                  <a:lnTo>
                    <a:pt x="608" y="208"/>
                  </a:lnTo>
                  <a:lnTo>
                    <a:pt x="600" y="224"/>
                  </a:lnTo>
                  <a:lnTo>
                    <a:pt x="600" y="232"/>
                  </a:lnTo>
                  <a:lnTo>
                    <a:pt x="600" y="232"/>
                  </a:lnTo>
                  <a:lnTo>
                    <a:pt x="600" y="232"/>
                  </a:lnTo>
                  <a:lnTo>
                    <a:pt x="624" y="216"/>
                  </a:lnTo>
                  <a:lnTo>
                    <a:pt x="640" y="224"/>
                  </a:lnTo>
                  <a:lnTo>
                    <a:pt x="648" y="224"/>
                  </a:lnTo>
                  <a:lnTo>
                    <a:pt x="648" y="224"/>
                  </a:lnTo>
                  <a:lnTo>
                    <a:pt x="648" y="232"/>
                  </a:lnTo>
                  <a:lnTo>
                    <a:pt x="640" y="240"/>
                  </a:lnTo>
                  <a:lnTo>
                    <a:pt x="640" y="248"/>
                  </a:lnTo>
                  <a:lnTo>
                    <a:pt x="648" y="248"/>
                  </a:lnTo>
                  <a:lnTo>
                    <a:pt x="664" y="248"/>
                  </a:lnTo>
                  <a:lnTo>
                    <a:pt x="664" y="256"/>
                  </a:lnTo>
                  <a:lnTo>
                    <a:pt x="656" y="256"/>
                  </a:lnTo>
                  <a:lnTo>
                    <a:pt x="656" y="256"/>
                  </a:lnTo>
                  <a:lnTo>
                    <a:pt x="656" y="264"/>
                  </a:lnTo>
                  <a:lnTo>
                    <a:pt x="656" y="264"/>
                  </a:lnTo>
                  <a:lnTo>
                    <a:pt x="664" y="272"/>
                  </a:lnTo>
                  <a:lnTo>
                    <a:pt x="664" y="280"/>
                  </a:lnTo>
                  <a:lnTo>
                    <a:pt x="656" y="280"/>
                  </a:lnTo>
                  <a:lnTo>
                    <a:pt x="656" y="288"/>
                  </a:lnTo>
                  <a:lnTo>
                    <a:pt x="656" y="296"/>
                  </a:lnTo>
                  <a:lnTo>
                    <a:pt x="656" y="296"/>
                  </a:lnTo>
                  <a:lnTo>
                    <a:pt x="664" y="296"/>
                  </a:lnTo>
                  <a:lnTo>
                    <a:pt x="672" y="288"/>
                  </a:lnTo>
                  <a:lnTo>
                    <a:pt x="672" y="288"/>
                  </a:lnTo>
                  <a:lnTo>
                    <a:pt x="688" y="288"/>
                  </a:lnTo>
                  <a:lnTo>
                    <a:pt x="696" y="280"/>
                  </a:lnTo>
                  <a:lnTo>
                    <a:pt x="696" y="248"/>
                  </a:lnTo>
                  <a:lnTo>
                    <a:pt x="672" y="224"/>
                  </a:lnTo>
                  <a:lnTo>
                    <a:pt x="672" y="216"/>
                  </a:lnTo>
                  <a:lnTo>
                    <a:pt x="672" y="216"/>
                  </a:lnTo>
                  <a:lnTo>
                    <a:pt x="672" y="216"/>
                  </a:lnTo>
                  <a:lnTo>
                    <a:pt x="680" y="216"/>
                  </a:lnTo>
                  <a:lnTo>
                    <a:pt x="696" y="208"/>
                  </a:lnTo>
                  <a:lnTo>
                    <a:pt x="704" y="184"/>
                  </a:lnTo>
                  <a:lnTo>
                    <a:pt x="720" y="168"/>
                  </a:lnTo>
                  <a:lnTo>
                    <a:pt x="728" y="160"/>
                  </a:lnTo>
                  <a:lnTo>
                    <a:pt x="728" y="144"/>
                  </a:lnTo>
                  <a:lnTo>
                    <a:pt x="720" y="144"/>
                  </a:lnTo>
                  <a:lnTo>
                    <a:pt x="720" y="144"/>
                  </a:lnTo>
                  <a:lnTo>
                    <a:pt x="720" y="144"/>
                  </a:lnTo>
                  <a:lnTo>
                    <a:pt x="736" y="136"/>
                  </a:lnTo>
                  <a:lnTo>
                    <a:pt x="752" y="128"/>
                  </a:lnTo>
                  <a:lnTo>
                    <a:pt x="760" y="96"/>
                  </a:lnTo>
                  <a:lnTo>
                    <a:pt x="768" y="96"/>
                  </a:lnTo>
                  <a:lnTo>
                    <a:pt x="768" y="80"/>
                  </a:lnTo>
                  <a:lnTo>
                    <a:pt x="768" y="80"/>
                  </a:lnTo>
                  <a:lnTo>
                    <a:pt x="760" y="80"/>
                  </a:lnTo>
                  <a:lnTo>
                    <a:pt x="736" y="96"/>
                  </a:lnTo>
                  <a:lnTo>
                    <a:pt x="720" y="96"/>
                  </a:lnTo>
                  <a:lnTo>
                    <a:pt x="712" y="80"/>
                  </a:lnTo>
                  <a:lnTo>
                    <a:pt x="704" y="72"/>
                  </a:lnTo>
                  <a:lnTo>
                    <a:pt x="704" y="72"/>
                  </a:lnTo>
                  <a:lnTo>
                    <a:pt x="688" y="64"/>
                  </a:lnTo>
                  <a:lnTo>
                    <a:pt x="672" y="56"/>
                  </a:lnTo>
                  <a:lnTo>
                    <a:pt x="672" y="56"/>
                  </a:lnTo>
                  <a:lnTo>
                    <a:pt x="664" y="40"/>
                  </a:lnTo>
                  <a:lnTo>
                    <a:pt x="648" y="0"/>
                  </a:lnTo>
                  <a:lnTo>
                    <a:pt x="592" y="0"/>
                  </a:lnTo>
                  <a:lnTo>
                    <a:pt x="568" y="64"/>
                  </a:lnTo>
                  <a:lnTo>
                    <a:pt x="552" y="64"/>
                  </a:lnTo>
                  <a:lnTo>
                    <a:pt x="536" y="56"/>
                  </a:lnTo>
                  <a:lnTo>
                    <a:pt x="512" y="56"/>
                  </a:lnTo>
                  <a:lnTo>
                    <a:pt x="464" y="72"/>
                  </a:lnTo>
                  <a:lnTo>
                    <a:pt x="440" y="72"/>
                  </a:lnTo>
                  <a:lnTo>
                    <a:pt x="408" y="48"/>
                  </a:lnTo>
                  <a:lnTo>
                    <a:pt x="384" y="48"/>
                  </a:lnTo>
                  <a:lnTo>
                    <a:pt x="360" y="48"/>
                  </a:lnTo>
                  <a:lnTo>
                    <a:pt x="352" y="32"/>
                  </a:lnTo>
                  <a:lnTo>
                    <a:pt x="328" y="24"/>
                  </a:lnTo>
                  <a:lnTo>
                    <a:pt x="312" y="24"/>
                  </a:lnTo>
                  <a:lnTo>
                    <a:pt x="296" y="56"/>
                  </a:lnTo>
                  <a:lnTo>
                    <a:pt x="272" y="56"/>
                  </a:lnTo>
                  <a:lnTo>
                    <a:pt x="240" y="40"/>
                  </a:lnTo>
                  <a:lnTo>
                    <a:pt x="232" y="40"/>
                  </a:lnTo>
                  <a:lnTo>
                    <a:pt x="224" y="48"/>
                  </a:lnTo>
                  <a:lnTo>
                    <a:pt x="216" y="56"/>
                  </a:lnTo>
                  <a:lnTo>
                    <a:pt x="160" y="72"/>
                  </a:lnTo>
                  <a:lnTo>
                    <a:pt x="152" y="80"/>
                  </a:lnTo>
                  <a:lnTo>
                    <a:pt x="152" y="80"/>
                  </a:lnTo>
                  <a:lnTo>
                    <a:pt x="152" y="96"/>
                  </a:lnTo>
                  <a:lnTo>
                    <a:pt x="144" y="112"/>
                  </a:lnTo>
                  <a:lnTo>
                    <a:pt x="136" y="112"/>
                  </a:lnTo>
                  <a:lnTo>
                    <a:pt x="128" y="112"/>
                  </a:lnTo>
                  <a:lnTo>
                    <a:pt x="120" y="112"/>
                  </a:lnTo>
                  <a:lnTo>
                    <a:pt x="104" y="136"/>
                  </a:lnTo>
                  <a:lnTo>
                    <a:pt x="88" y="136"/>
                  </a:lnTo>
                  <a:lnTo>
                    <a:pt x="88" y="136"/>
                  </a:lnTo>
                  <a:lnTo>
                    <a:pt x="88" y="176"/>
                  </a:lnTo>
                  <a:lnTo>
                    <a:pt x="48" y="208"/>
                  </a:lnTo>
                  <a:lnTo>
                    <a:pt x="16" y="208"/>
                  </a:lnTo>
                  <a:lnTo>
                    <a:pt x="0" y="224"/>
                  </a:lnTo>
                  <a:lnTo>
                    <a:pt x="0" y="232"/>
                  </a:lnTo>
                  <a:lnTo>
                    <a:pt x="0" y="232"/>
                  </a:lnTo>
                  <a:lnTo>
                    <a:pt x="16" y="240"/>
                  </a:lnTo>
                  <a:lnTo>
                    <a:pt x="16" y="248"/>
                  </a:lnTo>
                  <a:lnTo>
                    <a:pt x="16" y="256"/>
                  </a:lnTo>
                  <a:lnTo>
                    <a:pt x="16" y="256"/>
                  </a:lnTo>
                  <a:lnTo>
                    <a:pt x="32" y="264"/>
                  </a:lnTo>
                  <a:lnTo>
                    <a:pt x="32" y="272"/>
                  </a:lnTo>
                  <a:lnTo>
                    <a:pt x="40" y="272"/>
                  </a:lnTo>
                  <a:lnTo>
                    <a:pt x="56" y="280"/>
                  </a:lnTo>
                  <a:lnTo>
                    <a:pt x="56" y="280"/>
                  </a:lnTo>
                  <a:lnTo>
                    <a:pt x="64" y="272"/>
                  </a:lnTo>
                  <a:lnTo>
                    <a:pt x="72" y="272"/>
                  </a:lnTo>
                  <a:lnTo>
                    <a:pt x="88" y="280"/>
                  </a:lnTo>
                  <a:lnTo>
                    <a:pt x="88" y="288"/>
                  </a:lnTo>
                  <a:lnTo>
                    <a:pt x="72" y="296"/>
                  </a:lnTo>
                  <a:lnTo>
                    <a:pt x="72" y="304"/>
                  </a:lnTo>
                  <a:lnTo>
                    <a:pt x="72" y="304"/>
                  </a:lnTo>
                  <a:lnTo>
                    <a:pt x="72" y="312"/>
                  </a:lnTo>
                  <a:lnTo>
                    <a:pt x="72" y="320"/>
                  </a:lnTo>
                  <a:lnTo>
                    <a:pt x="64" y="320"/>
                  </a:lnTo>
                  <a:lnTo>
                    <a:pt x="64" y="320"/>
                  </a:lnTo>
                  <a:lnTo>
                    <a:pt x="64" y="328"/>
                  </a:lnTo>
                  <a:lnTo>
                    <a:pt x="64" y="336"/>
                  </a:lnTo>
                  <a:lnTo>
                    <a:pt x="64" y="344"/>
                  </a:lnTo>
                  <a:lnTo>
                    <a:pt x="80" y="344"/>
                  </a:lnTo>
                  <a:lnTo>
                    <a:pt x="112" y="352"/>
                  </a:lnTo>
                  <a:lnTo>
                    <a:pt x="120" y="360"/>
                  </a:lnTo>
                  <a:lnTo>
                    <a:pt x="128" y="368"/>
                  </a:lnTo>
                  <a:lnTo>
                    <a:pt x="136" y="376"/>
                  </a:lnTo>
                  <a:lnTo>
                    <a:pt x="136" y="376"/>
                  </a:lnTo>
                  <a:lnTo>
                    <a:pt x="136" y="376"/>
                  </a:lnTo>
                  <a:lnTo>
                    <a:pt x="144" y="376"/>
                  </a:lnTo>
                  <a:lnTo>
                    <a:pt x="144" y="376"/>
                  </a:lnTo>
                  <a:lnTo>
                    <a:pt x="152" y="384"/>
                  </a:lnTo>
                  <a:lnTo>
                    <a:pt x="160" y="384"/>
                  </a:lnTo>
                  <a:lnTo>
                    <a:pt x="176" y="384"/>
                  </a:lnTo>
                  <a:lnTo>
                    <a:pt x="184" y="384"/>
                  </a:lnTo>
                  <a:lnTo>
                    <a:pt x="192" y="384"/>
                  </a:lnTo>
                  <a:lnTo>
                    <a:pt x="192" y="392"/>
                  </a:lnTo>
                  <a:lnTo>
                    <a:pt x="192" y="392"/>
                  </a:lnTo>
                  <a:lnTo>
                    <a:pt x="200" y="384"/>
                  </a:lnTo>
                  <a:lnTo>
                    <a:pt x="208" y="376"/>
                  </a:lnTo>
                  <a:lnTo>
                    <a:pt x="224" y="384"/>
                  </a:lnTo>
                  <a:lnTo>
                    <a:pt x="240" y="384"/>
                  </a:lnTo>
                  <a:lnTo>
                    <a:pt x="248" y="376"/>
                  </a:lnTo>
                  <a:lnTo>
                    <a:pt x="256" y="368"/>
                  </a:lnTo>
                  <a:lnTo>
                    <a:pt x="264" y="368"/>
                  </a:lnTo>
                  <a:lnTo>
                    <a:pt x="264" y="368"/>
                  </a:lnTo>
                  <a:lnTo>
                    <a:pt x="272" y="368"/>
                  </a:lnTo>
                  <a:lnTo>
                    <a:pt x="272" y="368"/>
                  </a:lnTo>
                  <a:lnTo>
                    <a:pt x="272" y="368"/>
                  </a:lnTo>
                  <a:lnTo>
                    <a:pt x="280" y="360"/>
                  </a:lnTo>
                  <a:lnTo>
                    <a:pt x="280" y="360"/>
                  </a:lnTo>
                  <a:lnTo>
                    <a:pt x="280" y="360"/>
                  </a:lnTo>
                  <a:lnTo>
                    <a:pt x="288" y="368"/>
                  </a:lnTo>
                  <a:lnTo>
                    <a:pt x="304" y="376"/>
                  </a:lnTo>
                  <a:lnTo>
                    <a:pt x="312" y="384"/>
                  </a:lnTo>
                  <a:lnTo>
                    <a:pt x="320" y="392"/>
                  </a:lnTo>
                  <a:lnTo>
                    <a:pt x="320" y="408"/>
                  </a:lnTo>
                  <a:lnTo>
                    <a:pt x="304" y="424"/>
                  </a:lnTo>
                  <a:lnTo>
                    <a:pt x="304" y="432"/>
                  </a:lnTo>
                  <a:lnTo>
                    <a:pt x="304" y="440"/>
                  </a:lnTo>
                  <a:lnTo>
                    <a:pt x="312" y="432"/>
                  </a:lnTo>
                  <a:lnTo>
                    <a:pt x="320" y="432"/>
                  </a:lnTo>
                  <a:lnTo>
                    <a:pt x="320" y="448"/>
                  </a:lnTo>
                  <a:lnTo>
                    <a:pt x="328" y="456"/>
                  </a:lnTo>
                  <a:lnTo>
                    <a:pt x="336" y="464"/>
                  </a:lnTo>
                  <a:lnTo>
                    <a:pt x="344" y="464"/>
                  </a:lnTo>
                  <a:lnTo>
                    <a:pt x="344" y="464"/>
                  </a:lnTo>
                  <a:lnTo>
                    <a:pt x="352" y="464"/>
                  </a:lnTo>
                  <a:lnTo>
                    <a:pt x="352" y="464"/>
                  </a:lnTo>
                  <a:lnTo>
                    <a:pt x="352" y="472"/>
                  </a:lnTo>
                  <a:lnTo>
                    <a:pt x="352" y="472"/>
                  </a:lnTo>
                  <a:lnTo>
                    <a:pt x="352" y="464"/>
                  </a:lnTo>
                  <a:lnTo>
                    <a:pt x="352" y="456"/>
                  </a:lnTo>
                  <a:lnTo>
                    <a:pt x="352" y="456"/>
                  </a:lnTo>
                  <a:lnTo>
                    <a:pt x="368" y="456"/>
                  </a:lnTo>
                  <a:lnTo>
                    <a:pt x="376" y="456"/>
                  </a:lnTo>
                  <a:lnTo>
                    <a:pt x="384" y="456"/>
                  </a:lnTo>
                  <a:lnTo>
                    <a:pt x="392" y="448"/>
                  </a:lnTo>
                  <a:lnTo>
                    <a:pt x="400" y="448"/>
                  </a:lnTo>
                  <a:lnTo>
                    <a:pt x="416" y="448"/>
                  </a:lnTo>
                  <a:lnTo>
                    <a:pt x="416" y="464"/>
                  </a:lnTo>
                  <a:lnTo>
                    <a:pt x="432" y="472"/>
                  </a:lnTo>
                  <a:lnTo>
                    <a:pt x="432" y="472"/>
                  </a:lnTo>
                  <a:lnTo>
                    <a:pt x="448" y="472"/>
                  </a:lnTo>
                  <a:lnTo>
                    <a:pt x="448" y="472"/>
                  </a:lnTo>
                  <a:lnTo>
                    <a:pt x="448" y="472"/>
                  </a:lnTo>
                  <a:lnTo>
                    <a:pt x="448" y="480"/>
                  </a:lnTo>
                  <a:lnTo>
                    <a:pt x="448" y="488"/>
                  </a:lnTo>
                  <a:lnTo>
                    <a:pt x="456" y="480"/>
                  </a:lnTo>
                  <a:lnTo>
                    <a:pt x="472" y="472"/>
                  </a:lnTo>
                  <a:lnTo>
                    <a:pt x="488" y="464"/>
                  </a:lnTo>
                  <a:lnTo>
                    <a:pt x="496" y="464"/>
                  </a:lnTo>
                  <a:lnTo>
                    <a:pt x="496" y="464"/>
                  </a:lnTo>
                  <a:lnTo>
                    <a:pt x="504" y="456"/>
                  </a:lnTo>
                  <a:lnTo>
                    <a:pt x="504" y="456"/>
                  </a:lnTo>
                  <a:lnTo>
                    <a:pt x="512" y="456"/>
                  </a:lnTo>
                  <a:lnTo>
                    <a:pt x="528" y="456"/>
                  </a:lnTo>
                  <a:lnTo>
                    <a:pt x="544" y="440"/>
                  </a:lnTo>
                  <a:lnTo>
                    <a:pt x="560" y="432"/>
                  </a:lnTo>
                  <a:lnTo>
                    <a:pt x="560" y="432"/>
                  </a:lnTo>
                  <a:lnTo>
                    <a:pt x="560" y="432"/>
                  </a:lnTo>
                  <a:lnTo>
                    <a:pt x="560" y="432"/>
                  </a:lnTo>
                  <a:lnTo>
                    <a:pt x="568" y="408"/>
                  </a:lnTo>
                  <a:lnTo>
                    <a:pt x="584" y="392"/>
                  </a:lnTo>
                  <a:lnTo>
                    <a:pt x="592" y="384"/>
                  </a:lnTo>
                  <a:lnTo>
                    <a:pt x="592" y="376"/>
                  </a:lnTo>
                  <a:lnTo>
                    <a:pt x="600" y="360"/>
                  </a:lnTo>
                  <a:lnTo>
                    <a:pt x="600" y="336"/>
                  </a:lnTo>
                  <a:lnTo>
                    <a:pt x="592" y="320"/>
                  </a:lnTo>
                  <a:lnTo>
                    <a:pt x="592" y="312"/>
                  </a:lnTo>
                  <a:lnTo>
                    <a:pt x="584" y="312"/>
                  </a:lnTo>
                  <a:lnTo>
                    <a:pt x="584" y="304"/>
                  </a:lnTo>
                  <a:lnTo>
                    <a:pt x="584" y="304"/>
                  </a:lnTo>
                  <a:lnTo>
                    <a:pt x="584" y="30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92" name="Freeform 10"/>
            <p:cNvSpPr>
              <a:spLocks/>
            </p:cNvSpPr>
            <p:nvPr/>
          </p:nvSpPr>
          <p:spPr bwMode="auto">
            <a:xfrm>
              <a:off x="2728909" y="3682946"/>
              <a:ext cx="927098" cy="1498577"/>
            </a:xfrm>
            <a:custGeom>
              <a:avLst/>
              <a:gdLst/>
              <a:ahLst/>
              <a:cxnLst>
                <a:cxn ang="0">
                  <a:pos x="40" y="64"/>
                </a:cxn>
                <a:cxn ang="0">
                  <a:pos x="64" y="48"/>
                </a:cxn>
                <a:cxn ang="0">
                  <a:pos x="120" y="8"/>
                </a:cxn>
                <a:cxn ang="0">
                  <a:pos x="128" y="16"/>
                </a:cxn>
                <a:cxn ang="0">
                  <a:pos x="128" y="32"/>
                </a:cxn>
                <a:cxn ang="0">
                  <a:pos x="144" y="16"/>
                </a:cxn>
                <a:cxn ang="0">
                  <a:pos x="168" y="16"/>
                </a:cxn>
                <a:cxn ang="0">
                  <a:pos x="192" y="32"/>
                </a:cxn>
                <a:cxn ang="0">
                  <a:pos x="240" y="24"/>
                </a:cxn>
                <a:cxn ang="0">
                  <a:pos x="256" y="48"/>
                </a:cxn>
                <a:cxn ang="0">
                  <a:pos x="288" y="72"/>
                </a:cxn>
                <a:cxn ang="0">
                  <a:pos x="344" y="88"/>
                </a:cxn>
                <a:cxn ang="0">
                  <a:pos x="376" y="104"/>
                </a:cxn>
                <a:cxn ang="0">
                  <a:pos x="400" y="144"/>
                </a:cxn>
                <a:cxn ang="0">
                  <a:pos x="392" y="184"/>
                </a:cxn>
                <a:cxn ang="0">
                  <a:pos x="416" y="168"/>
                </a:cxn>
                <a:cxn ang="0">
                  <a:pos x="464" y="192"/>
                </a:cxn>
                <a:cxn ang="0">
                  <a:pos x="496" y="192"/>
                </a:cxn>
                <a:cxn ang="0">
                  <a:pos x="552" y="224"/>
                </a:cxn>
                <a:cxn ang="0">
                  <a:pos x="584" y="264"/>
                </a:cxn>
                <a:cxn ang="0">
                  <a:pos x="528" y="368"/>
                </a:cxn>
                <a:cxn ang="0">
                  <a:pos x="504" y="432"/>
                </a:cxn>
                <a:cxn ang="0">
                  <a:pos x="464" y="456"/>
                </a:cxn>
                <a:cxn ang="0">
                  <a:pos x="416" y="504"/>
                </a:cxn>
                <a:cxn ang="0">
                  <a:pos x="376" y="568"/>
                </a:cxn>
                <a:cxn ang="0">
                  <a:pos x="320" y="616"/>
                </a:cxn>
                <a:cxn ang="0">
                  <a:pos x="304" y="624"/>
                </a:cxn>
                <a:cxn ang="0">
                  <a:pos x="296" y="672"/>
                </a:cxn>
                <a:cxn ang="0">
                  <a:pos x="240" y="680"/>
                </a:cxn>
                <a:cxn ang="0">
                  <a:pos x="240" y="712"/>
                </a:cxn>
                <a:cxn ang="0">
                  <a:pos x="216" y="728"/>
                </a:cxn>
                <a:cxn ang="0">
                  <a:pos x="208" y="728"/>
                </a:cxn>
                <a:cxn ang="0">
                  <a:pos x="208" y="768"/>
                </a:cxn>
                <a:cxn ang="0">
                  <a:pos x="184" y="824"/>
                </a:cxn>
                <a:cxn ang="0">
                  <a:pos x="160" y="880"/>
                </a:cxn>
                <a:cxn ang="0">
                  <a:pos x="208" y="928"/>
                </a:cxn>
                <a:cxn ang="0">
                  <a:pos x="168" y="944"/>
                </a:cxn>
                <a:cxn ang="0">
                  <a:pos x="128" y="920"/>
                </a:cxn>
                <a:cxn ang="0">
                  <a:pos x="112" y="912"/>
                </a:cxn>
                <a:cxn ang="0">
                  <a:pos x="96" y="888"/>
                </a:cxn>
                <a:cxn ang="0">
                  <a:pos x="88" y="864"/>
                </a:cxn>
                <a:cxn ang="0">
                  <a:pos x="88" y="792"/>
                </a:cxn>
                <a:cxn ang="0">
                  <a:pos x="104" y="784"/>
                </a:cxn>
                <a:cxn ang="0">
                  <a:pos x="112" y="720"/>
                </a:cxn>
                <a:cxn ang="0">
                  <a:pos x="104" y="688"/>
                </a:cxn>
                <a:cxn ang="0">
                  <a:pos x="112" y="632"/>
                </a:cxn>
                <a:cxn ang="0">
                  <a:pos x="128" y="560"/>
                </a:cxn>
                <a:cxn ang="0">
                  <a:pos x="136" y="496"/>
                </a:cxn>
                <a:cxn ang="0">
                  <a:pos x="144" y="408"/>
                </a:cxn>
                <a:cxn ang="0">
                  <a:pos x="64" y="344"/>
                </a:cxn>
                <a:cxn ang="0">
                  <a:pos x="40" y="280"/>
                </a:cxn>
                <a:cxn ang="0">
                  <a:pos x="0" y="216"/>
                </a:cxn>
                <a:cxn ang="0">
                  <a:pos x="16" y="192"/>
                </a:cxn>
                <a:cxn ang="0">
                  <a:pos x="16" y="152"/>
                </a:cxn>
                <a:cxn ang="0">
                  <a:pos x="56" y="112"/>
                </a:cxn>
              </a:cxnLst>
              <a:rect l="0" t="0" r="r" b="b"/>
              <a:pathLst>
                <a:path w="584" h="944">
                  <a:moveTo>
                    <a:pt x="48" y="104"/>
                  </a:moveTo>
                  <a:lnTo>
                    <a:pt x="48" y="96"/>
                  </a:lnTo>
                  <a:lnTo>
                    <a:pt x="48" y="88"/>
                  </a:lnTo>
                  <a:lnTo>
                    <a:pt x="48" y="80"/>
                  </a:lnTo>
                  <a:lnTo>
                    <a:pt x="40" y="72"/>
                  </a:lnTo>
                  <a:lnTo>
                    <a:pt x="40" y="64"/>
                  </a:lnTo>
                  <a:lnTo>
                    <a:pt x="48" y="56"/>
                  </a:lnTo>
                  <a:lnTo>
                    <a:pt x="56" y="56"/>
                  </a:lnTo>
                  <a:lnTo>
                    <a:pt x="56" y="56"/>
                  </a:lnTo>
                  <a:lnTo>
                    <a:pt x="56" y="56"/>
                  </a:lnTo>
                  <a:lnTo>
                    <a:pt x="56" y="48"/>
                  </a:lnTo>
                  <a:lnTo>
                    <a:pt x="64" y="48"/>
                  </a:lnTo>
                  <a:lnTo>
                    <a:pt x="64" y="48"/>
                  </a:lnTo>
                  <a:lnTo>
                    <a:pt x="72" y="40"/>
                  </a:lnTo>
                  <a:lnTo>
                    <a:pt x="72" y="24"/>
                  </a:lnTo>
                  <a:lnTo>
                    <a:pt x="88" y="24"/>
                  </a:lnTo>
                  <a:lnTo>
                    <a:pt x="112" y="16"/>
                  </a:lnTo>
                  <a:lnTo>
                    <a:pt x="120" y="8"/>
                  </a:lnTo>
                  <a:lnTo>
                    <a:pt x="128" y="0"/>
                  </a:lnTo>
                  <a:lnTo>
                    <a:pt x="128" y="0"/>
                  </a:lnTo>
                  <a:lnTo>
                    <a:pt x="128" y="8"/>
                  </a:lnTo>
                  <a:lnTo>
                    <a:pt x="128" y="16"/>
                  </a:lnTo>
                  <a:lnTo>
                    <a:pt x="128" y="16"/>
                  </a:lnTo>
                  <a:lnTo>
                    <a:pt x="128" y="16"/>
                  </a:lnTo>
                  <a:lnTo>
                    <a:pt x="120" y="24"/>
                  </a:lnTo>
                  <a:lnTo>
                    <a:pt x="120" y="48"/>
                  </a:lnTo>
                  <a:lnTo>
                    <a:pt x="136" y="48"/>
                  </a:lnTo>
                  <a:lnTo>
                    <a:pt x="136" y="40"/>
                  </a:lnTo>
                  <a:lnTo>
                    <a:pt x="136" y="40"/>
                  </a:lnTo>
                  <a:lnTo>
                    <a:pt x="128" y="32"/>
                  </a:lnTo>
                  <a:lnTo>
                    <a:pt x="128" y="24"/>
                  </a:lnTo>
                  <a:lnTo>
                    <a:pt x="136" y="16"/>
                  </a:lnTo>
                  <a:lnTo>
                    <a:pt x="136" y="16"/>
                  </a:lnTo>
                  <a:lnTo>
                    <a:pt x="152" y="16"/>
                  </a:lnTo>
                  <a:lnTo>
                    <a:pt x="152" y="16"/>
                  </a:lnTo>
                  <a:lnTo>
                    <a:pt x="144" y="16"/>
                  </a:lnTo>
                  <a:lnTo>
                    <a:pt x="144" y="8"/>
                  </a:lnTo>
                  <a:lnTo>
                    <a:pt x="144" y="8"/>
                  </a:lnTo>
                  <a:lnTo>
                    <a:pt x="152" y="8"/>
                  </a:lnTo>
                  <a:lnTo>
                    <a:pt x="152" y="8"/>
                  </a:lnTo>
                  <a:lnTo>
                    <a:pt x="152" y="16"/>
                  </a:lnTo>
                  <a:lnTo>
                    <a:pt x="168" y="16"/>
                  </a:lnTo>
                  <a:lnTo>
                    <a:pt x="168" y="16"/>
                  </a:lnTo>
                  <a:lnTo>
                    <a:pt x="168" y="24"/>
                  </a:lnTo>
                  <a:lnTo>
                    <a:pt x="176" y="24"/>
                  </a:lnTo>
                  <a:lnTo>
                    <a:pt x="192" y="24"/>
                  </a:lnTo>
                  <a:lnTo>
                    <a:pt x="192" y="24"/>
                  </a:lnTo>
                  <a:lnTo>
                    <a:pt x="192" y="32"/>
                  </a:lnTo>
                  <a:lnTo>
                    <a:pt x="216" y="32"/>
                  </a:lnTo>
                  <a:lnTo>
                    <a:pt x="232" y="24"/>
                  </a:lnTo>
                  <a:lnTo>
                    <a:pt x="232" y="24"/>
                  </a:lnTo>
                  <a:lnTo>
                    <a:pt x="240" y="24"/>
                  </a:lnTo>
                  <a:lnTo>
                    <a:pt x="240" y="24"/>
                  </a:lnTo>
                  <a:lnTo>
                    <a:pt x="240" y="24"/>
                  </a:lnTo>
                  <a:lnTo>
                    <a:pt x="240" y="24"/>
                  </a:lnTo>
                  <a:lnTo>
                    <a:pt x="232" y="24"/>
                  </a:lnTo>
                  <a:lnTo>
                    <a:pt x="232" y="32"/>
                  </a:lnTo>
                  <a:lnTo>
                    <a:pt x="240" y="32"/>
                  </a:lnTo>
                  <a:lnTo>
                    <a:pt x="256" y="40"/>
                  </a:lnTo>
                  <a:lnTo>
                    <a:pt x="256" y="48"/>
                  </a:lnTo>
                  <a:lnTo>
                    <a:pt x="256" y="56"/>
                  </a:lnTo>
                  <a:lnTo>
                    <a:pt x="256" y="56"/>
                  </a:lnTo>
                  <a:lnTo>
                    <a:pt x="272" y="56"/>
                  </a:lnTo>
                  <a:lnTo>
                    <a:pt x="272" y="56"/>
                  </a:lnTo>
                  <a:lnTo>
                    <a:pt x="280" y="64"/>
                  </a:lnTo>
                  <a:lnTo>
                    <a:pt x="288" y="72"/>
                  </a:lnTo>
                  <a:lnTo>
                    <a:pt x="296" y="72"/>
                  </a:lnTo>
                  <a:lnTo>
                    <a:pt x="296" y="72"/>
                  </a:lnTo>
                  <a:lnTo>
                    <a:pt x="296" y="80"/>
                  </a:lnTo>
                  <a:lnTo>
                    <a:pt x="320" y="88"/>
                  </a:lnTo>
                  <a:lnTo>
                    <a:pt x="328" y="88"/>
                  </a:lnTo>
                  <a:lnTo>
                    <a:pt x="344" y="88"/>
                  </a:lnTo>
                  <a:lnTo>
                    <a:pt x="344" y="88"/>
                  </a:lnTo>
                  <a:lnTo>
                    <a:pt x="352" y="88"/>
                  </a:lnTo>
                  <a:lnTo>
                    <a:pt x="352" y="96"/>
                  </a:lnTo>
                  <a:lnTo>
                    <a:pt x="360" y="96"/>
                  </a:lnTo>
                  <a:lnTo>
                    <a:pt x="360" y="96"/>
                  </a:lnTo>
                  <a:lnTo>
                    <a:pt x="376" y="104"/>
                  </a:lnTo>
                  <a:lnTo>
                    <a:pt x="384" y="112"/>
                  </a:lnTo>
                  <a:lnTo>
                    <a:pt x="384" y="112"/>
                  </a:lnTo>
                  <a:lnTo>
                    <a:pt x="384" y="112"/>
                  </a:lnTo>
                  <a:lnTo>
                    <a:pt x="392" y="128"/>
                  </a:lnTo>
                  <a:lnTo>
                    <a:pt x="392" y="136"/>
                  </a:lnTo>
                  <a:lnTo>
                    <a:pt x="400" y="144"/>
                  </a:lnTo>
                  <a:lnTo>
                    <a:pt x="400" y="144"/>
                  </a:lnTo>
                  <a:lnTo>
                    <a:pt x="392" y="152"/>
                  </a:lnTo>
                  <a:lnTo>
                    <a:pt x="376" y="160"/>
                  </a:lnTo>
                  <a:lnTo>
                    <a:pt x="376" y="168"/>
                  </a:lnTo>
                  <a:lnTo>
                    <a:pt x="392" y="176"/>
                  </a:lnTo>
                  <a:lnTo>
                    <a:pt x="392" y="184"/>
                  </a:lnTo>
                  <a:lnTo>
                    <a:pt x="392" y="184"/>
                  </a:lnTo>
                  <a:lnTo>
                    <a:pt x="400" y="184"/>
                  </a:lnTo>
                  <a:lnTo>
                    <a:pt x="400" y="184"/>
                  </a:lnTo>
                  <a:lnTo>
                    <a:pt x="400" y="184"/>
                  </a:lnTo>
                  <a:lnTo>
                    <a:pt x="408" y="184"/>
                  </a:lnTo>
                  <a:lnTo>
                    <a:pt x="416" y="168"/>
                  </a:lnTo>
                  <a:lnTo>
                    <a:pt x="424" y="168"/>
                  </a:lnTo>
                  <a:lnTo>
                    <a:pt x="432" y="168"/>
                  </a:lnTo>
                  <a:lnTo>
                    <a:pt x="440" y="168"/>
                  </a:lnTo>
                  <a:lnTo>
                    <a:pt x="464" y="184"/>
                  </a:lnTo>
                  <a:lnTo>
                    <a:pt x="464" y="184"/>
                  </a:lnTo>
                  <a:lnTo>
                    <a:pt x="464" y="192"/>
                  </a:lnTo>
                  <a:lnTo>
                    <a:pt x="464" y="192"/>
                  </a:lnTo>
                  <a:lnTo>
                    <a:pt x="464" y="192"/>
                  </a:lnTo>
                  <a:lnTo>
                    <a:pt x="464" y="192"/>
                  </a:lnTo>
                  <a:lnTo>
                    <a:pt x="472" y="192"/>
                  </a:lnTo>
                  <a:lnTo>
                    <a:pt x="480" y="192"/>
                  </a:lnTo>
                  <a:lnTo>
                    <a:pt x="496" y="192"/>
                  </a:lnTo>
                  <a:lnTo>
                    <a:pt x="496" y="192"/>
                  </a:lnTo>
                  <a:lnTo>
                    <a:pt x="512" y="192"/>
                  </a:lnTo>
                  <a:lnTo>
                    <a:pt x="520" y="192"/>
                  </a:lnTo>
                  <a:lnTo>
                    <a:pt x="528" y="200"/>
                  </a:lnTo>
                  <a:lnTo>
                    <a:pt x="536" y="208"/>
                  </a:lnTo>
                  <a:lnTo>
                    <a:pt x="552" y="224"/>
                  </a:lnTo>
                  <a:lnTo>
                    <a:pt x="560" y="224"/>
                  </a:lnTo>
                  <a:lnTo>
                    <a:pt x="568" y="224"/>
                  </a:lnTo>
                  <a:lnTo>
                    <a:pt x="568" y="224"/>
                  </a:lnTo>
                  <a:lnTo>
                    <a:pt x="576" y="224"/>
                  </a:lnTo>
                  <a:lnTo>
                    <a:pt x="584" y="224"/>
                  </a:lnTo>
                  <a:lnTo>
                    <a:pt x="584" y="264"/>
                  </a:lnTo>
                  <a:lnTo>
                    <a:pt x="568" y="288"/>
                  </a:lnTo>
                  <a:lnTo>
                    <a:pt x="552" y="304"/>
                  </a:lnTo>
                  <a:lnTo>
                    <a:pt x="536" y="320"/>
                  </a:lnTo>
                  <a:lnTo>
                    <a:pt x="528" y="328"/>
                  </a:lnTo>
                  <a:lnTo>
                    <a:pt x="536" y="344"/>
                  </a:lnTo>
                  <a:lnTo>
                    <a:pt x="528" y="368"/>
                  </a:lnTo>
                  <a:lnTo>
                    <a:pt x="528" y="376"/>
                  </a:lnTo>
                  <a:lnTo>
                    <a:pt x="528" y="376"/>
                  </a:lnTo>
                  <a:lnTo>
                    <a:pt x="520" y="384"/>
                  </a:lnTo>
                  <a:lnTo>
                    <a:pt x="520" y="400"/>
                  </a:lnTo>
                  <a:lnTo>
                    <a:pt x="520" y="408"/>
                  </a:lnTo>
                  <a:lnTo>
                    <a:pt x="504" y="432"/>
                  </a:lnTo>
                  <a:lnTo>
                    <a:pt x="504" y="432"/>
                  </a:lnTo>
                  <a:lnTo>
                    <a:pt x="504" y="440"/>
                  </a:lnTo>
                  <a:lnTo>
                    <a:pt x="504" y="440"/>
                  </a:lnTo>
                  <a:lnTo>
                    <a:pt x="496" y="448"/>
                  </a:lnTo>
                  <a:lnTo>
                    <a:pt x="472" y="448"/>
                  </a:lnTo>
                  <a:lnTo>
                    <a:pt x="464" y="456"/>
                  </a:lnTo>
                  <a:lnTo>
                    <a:pt x="456" y="464"/>
                  </a:lnTo>
                  <a:lnTo>
                    <a:pt x="432" y="464"/>
                  </a:lnTo>
                  <a:lnTo>
                    <a:pt x="424" y="480"/>
                  </a:lnTo>
                  <a:lnTo>
                    <a:pt x="416" y="488"/>
                  </a:lnTo>
                  <a:lnTo>
                    <a:pt x="416" y="496"/>
                  </a:lnTo>
                  <a:lnTo>
                    <a:pt x="416" y="504"/>
                  </a:lnTo>
                  <a:lnTo>
                    <a:pt x="416" y="520"/>
                  </a:lnTo>
                  <a:lnTo>
                    <a:pt x="416" y="520"/>
                  </a:lnTo>
                  <a:lnTo>
                    <a:pt x="400" y="528"/>
                  </a:lnTo>
                  <a:lnTo>
                    <a:pt x="392" y="544"/>
                  </a:lnTo>
                  <a:lnTo>
                    <a:pt x="392" y="552"/>
                  </a:lnTo>
                  <a:lnTo>
                    <a:pt x="376" y="568"/>
                  </a:lnTo>
                  <a:lnTo>
                    <a:pt x="368" y="584"/>
                  </a:lnTo>
                  <a:lnTo>
                    <a:pt x="368" y="584"/>
                  </a:lnTo>
                  <a:lnTo>
                    <a:pt x="360" y="600"/>
                  </a:lnTo>
                  <a:lnTo>
                    <a:pt x="344" y="616"/>
                  </a:lnTo>
                  <a:lnTo>
                    <a:pt x="328" y="616"/>
                  </a:lnTo>
                  <a:lnTo>
                    <a:pt x="320" y="616"/>
                  </a:lnTo>
                  <a:lnTo>
                    <a:pt x="304" y="608"/>
                  </a:lnTo>
                  <a:lnTo>
                    <a:pt x="288" y="608"/>
                  </a:lnTo>
                  <a:lnTo>
                    <a:pt x="288" y="616"/>
                  </a:lnTo>
                  <a:lnTo>
                    <a:pt x="296" y="616"/>
                  </a:lnTo>
                  <a:lnTo>
                    <a:pt x="296" y="616"/>
                  </a:lnTo>
                  <a:lnTo>
                    <a:pt x="304" y="624"/>
                  </a:lnTo>
                  <a:lnTo>
                    <a:pt x="304" y="640"/>
                  </a:lnTo>
                  <a:lnTo>
                    <a:pt x="312" y="640"/>
                  </a:lnTo>
                  <a:lnTo>
                    <a:pt x="312" y="640"/>
                  </a:lnTo>
                  <a:lnTo>
                    <a:pt x="312" y="648"/>
                  </a:lnTo>
                  <a:lnTo>
                    <a:pt x="304" y="656"/>
                  </a:lnTo>
                  <a:lnTo>
                    <a:pt x="296" y="672"/>
                  </a:lnTo>
                  <a:lnTo>
                    <a:pt x="272" y="672"/>
                  </a:lnTo>
                  <a:lnTo>
                    <a:pt x="272" y="672"/>
                  </a:lnTo>
                  <a:lnTo>
                    <a:pt x="264" y="672"/>
                  </a:lnTo>
                  <a:lnTo>
                    <a:pt x="256" y="672"/>
                  </a:lnTo>
                  <a:lnTo>
                    <a:pt x="248" y="672"/>
                  </a:lnTo>
                  <a:lnTo>
                    <a:pt x="240" y="680"/>
                  </a:lnTo>
                  <a:lnTo>
                    <a:pt x="240" y="688"/>
                  </a:lnTo>
                  <a:lnTo>
                    <a:pt x="240" y="696"/>
                  </a:lnTo>
                  <a:lnTo>
                    <a:pt x="240" y="696"/>
                  </a:lnTo>
                  <a:lnTo>
                    <a:pt x="240" y="704"/>
                  </a:lnTo>
                  <a:lnTo>
                    <a:pt x="240" y="704"/>
                  </a:lnTo>
                  <a:lnTo>
                    <a:pt x="240" y="712"/>
                  </a:lnTo>
                  <a:lnTo>
                    <a:pt x="224" y="712"/>
                  </a:lnTo>
                  <a:lnTo>
                    <a:pt x="216" y="704"/>
                  </a:lnTo>
                  <a:lnTo>
                    <a:pt x="208" y="704"/>
                  </a:lnTo>
                  <a:lnTo>
                    <a:pt x="208" y="712"/>
                  </a:lnTo>
                  <a:lnTo>
                    <a:pt x="216" y="728"/>
                  </a:lnTo>
                  <a:lnTo>
                    <a:pt x="216" y="728"/>
                  </a:lnTo>
                  <a:lnTo>
                    <a:pt x="224" y="728"/>
                  </a:lnTo>
                  <a:lnTo>
                    <a:pt x="224" y="728"/>
                  </a:lnTo>
                  <a:lnTo>
                    <a:pt x="224" y="736"/>
                  </a:lnTo>
                  <a:lnTo>
                    <a:pt x="216" y="728"/>
                  </a:lnTo>
                  <a:lnTo>
                    <a:pt x="208" y="728"/>
                  </a:lnTo>
                  <a:lnTo>
                    <a:pt x="208" y="728"/>
                  </a:lnTo>
                  <a:lnTo>
                    <a:pt x="208" y="736"/>
                  </a:lnTo>
                  <a:lnTo>
                    <a:pt x="216" y="736"/>
                  </a:lnTo>
                  <a:lnTo>
                    <a:pt x="216" y="736"/>
                  </a:lnTo>
                  <a:lnTo>
                    <a:pt x="208" y="744"/>
                  </a:lnTo>
                  <a:lnTo>
                    <a:pt x="208" y="760"/>
                  </a:lnTo>
                  <a:lnTo>
                    <a:pt x="208" y="768"/>
                  </a:lnTo>
                  <a:lnTo>
                    <a:pt x="192" y="768"/>
                  </a:lnTo>
                  <a:lnTo>
                    <a:pt x="176" y="776"/>
                  </a:lnTo>
                  <a:lnTo>
                    <a:pt x="176" y="792"/>
                  </a:lnTo>
                  <a:lnTo>
                    <a:pt x="200" y="800"/>
                  </a:lnTo>
                  <a:lnTo>
                    <a:pt x="200" y="816"/>
                  </a:lnTo>
                  <a:lnTo>
                    <a:pt x="184" y="824"/>
                  </a:lnTo>
                  <a:lnTo>
                    <a:pt x="184" y="832"/>
                  </a:lnTo>
                  <a:lnTo>
                    <a:pt x="184" y="832"/>
                  </a:lnTo>
                  <a:lnTo>
                    <a:pt x="184" y="840"/>
                  </a:lnTo>
                  <a:lnTo>
                    <a:pt x="168" y="848"/>
                  </a:lnTo>
                  <a:lnTo>
                    <a:pt x="160" y="856"/>
                  </a:lnTo>
                  <a:lnTo>
                    <a:pt x="160" y="880"/>
                  </a:lnTo>
                  <a:lnTo>
                    <a:pt x="168" y="880"/>
                  </a:lnTo>
                  <a:lnTo>
                    <a:pt x="176" y="912"/>
                  </a:lnTo>
                  <a:lnTo>
                    <a:pt x="184" y="920"/>
                  </a:lnTo>
                  <a:lnTo>
                    <a:pt x="200" y="928"/>
                  </a:lnTo>
                  <a:lnTo>
                    <a:pt x="208" y="928"/>
                  </a:lnTo>
                  <a:lnTo>
                    <a:pt x="208" y="928"/>
                  </a:lnTo>
                  <a:lnTo>
                    <a:pt x="200" y="928"/>
                  </a:lnTo>
                  <a:lnTo>
                    <a:pt x="184" y="936"/>
                  </a:lnTo>
                  <a:lnTo>
                    <a:pt x="184" y="944"/>
                  </a:lnTo>
                  <a:lnTo>
                    <a:pt x="176" y="944"/>
                  </a:lnTo>
                  <a:lnTo>
                    <a:pt x="176" y="944"/>
                  </a:lnTo>
                  <a:lnTo>
                    <a:pt x="168" y="944"/>
                  </a:lnTo>
                  <a:lnTo>
                    <a:pt x="160" y="944"/>
                  </a:lnTo>
                  <a:lnTo>
                    <a:pt x="152" y="944"/>
                  </a:lnTo>
                  <a:lnTo>
                    <a:pt x="152" y="928"/>
                  </a:lnTo>
                  <a:lnTo>
                    <a:pt x="144" y="928"/>
                  </a:lnTo>
                  <a:lnTo>
                    <a:pt x="128" y="920"/>
                  </a:lnTo>
                  <a:lnTo>
                    <a:pt x="128" y="920"/>
                  </a:lnTo>
                  <a:lnTo>
                    <a:pt x="128" y="920"/>
                  </a:lnTo>
                  <a:lnTo>
                    <a:pt x="120" y="920"/>
                  </a:lnTo>
                  <a:lnTo>
                    <a:pt x="120" y="920"/>
                  </a:lnTo>
                  <a:lnTo>
                    <a:pt x="120" y="912"/>
                  </a:lnTo>
                  <a:lnTo>
                    <a:pt x="120" y="912"/>
                  </a:lnTo>
                  <a:lnTo>
                    <a:pt x="112" y="912"/>
                  </a:lnTo>
                  <a:lnTo>
                    <a:pt x="96" y="904"/>
                  </a:lnTo>
                  <a:lnTo>
                    <a:pt x="96" y="896"/>
                  </a:lnTo>
                  <a:lnTo>
                    <a:pt x="88" y="896"/>
                  </a:lnTo>
                  <a:lnTo>
                    <a:pt x="88" y="896"/>
                  </a:lnTo>
                  <a:lnTo>
                    <a:pt x="96" y="888"/>
                  </a:lnTo>
                  <a:lnTo>
                    <a:pt x="96" y="888"/>
                  </a:lnTo>
                  <a:lnTo>
                    <a:pt x="96" y="888"/>
                  </a:lnTo>
                  <a:lnTo>
                    <a:pt x="96" y="888"/>
                  </a:lnTo>
                  <a:lnTo>
                    <a:pt x="96" y="880"/>
                  </a:lnTo>
                  <a:lnTo>
                    <a:pt x="96" y="872"/>
                  </a:lnTo>
                  <a:lnTo>
                    <a:pt x="88" y="864"/>
                  </a:lnTo>
                  <a:lnTo>
                    <a:pt x="88" y="864"/>
                  </a:lnTo>
                  <a:lnTo>
                    <a:pt x="88" y="856"/>
                  </a:lnTo>
                  <a:lnTo>
                    <a:pt x="88" y="848"/>
                  </a:lnTo>
                  <a:lnTo>
                    <a:pt x="80" y="824"/>
                  </a:lnTo>
                  <a:lnTo>
                    <a:pt x="80" y="816"/>
                  </a:lnTo>
                  <a:lnTo>
                    <a:pt x="88" y="808"/>
                  </a:lnTo>
                  <a:lnTo>
                    <a:pt x="88" y="792"/>
                  </a:lnTo>
                  <a:lnTo>
                    <a:pt x="88" y="792"/>
                  </a:lnTo>
                  <a:lnTo>
                    <a:pt x="88" y="784"/>
                  </a:lnTo>
                  <a:lnTo>
                    <a:pt x="88" y="776"/>
                  </a:lnTo>
                  <a:lnTo>
                    <a:pt x="96" y="776"/>
                  </a:lnTo>
                  <a:lnTo>
                    <a:pt x="96" y="784"/>
                  </a:lnTo>
                  <a:lnTo>
                    <a:pt x="104" y="784"/>
                  </a:lnTo>
                  <a:lnTo>
                    <a:pt x="104" y="784"/>
                  </a:lnTo>
                  <a:lnTo>
                    <a:pt x="112" y="720"/>
                  </a:lnTo>
                  <a:lnTo>
                    <a:pt x="112" y="720"/>
                  </a:lnTo>
                  <a:lnTo>
                    <a:pt x="112" y="720"/>
                  </a:lnTo>
                  <a:lnTo>
                    <a:pt x="112" y="720"/>
                  </a:lnTo>
                  <a:lnTo>
                    <a:pt x="112" y="720"/>
                  </a:lnTo>
                  <a:lnTo>
                    <a:pt x="104" y="720"/>
                  </a:lnTo>
                  <a:lnTo>
                    <a:pt x="96" y="720"/>
                  </a:lnTo>
                  <a:lnTo>
                    <a:pt x="104" y="696"/>
                  </a:lnTo>
                  <a:lnTo>
                    <a:pt x="104" y="688"/>
                  </a:lnTo>
                  <a:lnTo>
                    <a:pt x="104" y="688"/>
                  </a:lnTo>
                  <a:lnTo>
                    <a:pt x="104" y="688"/>
                  </a:lnTo>
                  <a:lnTo>
                    <a:pt x="104" y="680"/>
                  </a:lnTo>
                  <a:lnTo>
                    <a:pt x="104" y="680"/>
                  </a:lnTo>
                  <a:lnTo>
                    <a:pt x="104" y="680"/>
                  </a:lnTo>
                  <a:lnTo>
                    <a:pt x="104" y="656"/>
                  </a:lnTo>
                  <a:lnTo>
                    <a:pt x="112" y="648"/>
                  </a:lnTo>
                  <a:lnTo>
                    <a:pt x="112" y="632"/>
                  </a:lnTo>
                  <a:lnTo>
                    <a:pt x="120" y="624"/>
                  </a:lnTo>
                  <a:lnTo>
                    <a:pt x="120" y="624"/>
                  </a:lnTo>
                  <a:lnTo>
                    <a:pt x="120" y="624"/>
                  </a:lnTo>
                  <a:lnTo>
                    <a:pt x="120" y="608"/>
                  </a:lnTo>
                  <a:lnTo>
                    <a:pt x="128" y="592"/>
                  </a:lnTo>
                  <a:lnTo>
                    <a:pt x="128" y="560"/>
                  </a:lnTo>
                  <a:lnTo>
                    <a:pt x="128" y="560"/>
                  </a:lnTo>
                  <a:lnTo>
                    <a:pt x="128" y="544"/>
                  </a:lnTo>
                  <a:lnTo>
                    <a:pt x="128" y="528"/>
                  </a:lnTo>
                  <a:lnTo>
                    <a:pt x="136" y="504"/>
                  </a:lnTo>
                  <a:lnTo>
                    <a:pt x="136" y="496"/>
                  </a:lnTo>
                  <a:lnTo>
                    <a:pt x="136" y="496"/>
                  </a:lnTo>
                  <a:lnTo>
                    <a:pt x="144" y="480"/>
                  </a:lnTo>
                  <a:lnTo>
                    <a:pt x="144" y="456"/>
                  </a:lnTo>
                  <a:lnTo>
                    <a:pt x="144" y="456"/>
                  </a:lnTo>
                  <a:lnTo>
                    <a:pt x="144" y="440"/>
                  </a:lnTo>
                  <a:lnTo>
                    <a:pt x="144" y="424"/>
                  </a:lnTo>
                  <a:lnTo>
                    <a:pt x="144" y="408"/>
                  </a:lnTo>
                  <a:lnTo>
                    <a:pt x="136" y="384"/>
                  </a:lnTo>
                  <a:lnTo>
                    <a:pt x="112" y="376"/>
                  </a:lnTo>
                  <a:lnTo>
                    <a:pt x="104" y="368"/>
                  </a:lnTo>
                  <a:lnTo>
                    <a:pt x="88" y="360"/>
                  </a:lnTo>
                  <a:lnTo>
                    <a:pt x="72" y="352"/>
                  </a:lnTo>
                  <a:lnTo>
                    <a:pt x="64" y="344"/>
                  </a:lnTo>
                  <a:lnTo>
                    <a:pt x="64" y="336"/>
                  </a:lnTo>
                  <a:lnTo>
                    <a:pt x="64" y="328"/>
                  </a:lnTo>
                  <a:lnTo>
                    <a:pt x="64" y="328"/>
                  </a:lnTo>
                  <a:lnTo>
                    <a:pt x="56" y="320"/>
                  </a:lnTo>
                  <a:lnTo>
                    <a:pt x="48" y="304"/>
                  </a:lnTo>
                  <a:lnTo>
                    <a:pt x="40" y="280"/>
                  </a:lnTo>
                  <a:lnTo>
                    <a:pt x="24" y="264"/>
                  </a:lnTo>
                  <a:lnTo>
                    <a:pt x="24" y="256"/>
                  </a:lnTo>
                  <a:lnTo>
                    <a:pt x="24" y="248"/>
                  </a:lnTo>
                  <a:lnTo>
                    <a:pt x="16" y="248"/>
                  </a:lnTo>
                  <a:lnTo>
                    <a:pt x="0" y="232"/>
                  </a:lnTo>
                  <a:lnTo>
                    <a:pt x="0" y="216"/>
                  </a:lnTo>
                  <a:lnTo>
                    <a:pt x="8" y="208"/>
                  </a:lnTo>
                  <a:lnTo>
                    <a:pt x="16" y="200"/>
                  </a:lnTo>
                  <a:lnTo>
                    <a:pt x="24" y="192"/>
                  </a:lnTo>
                  <a:lnTo>
                    <a:pt x="16" y="192"/>
                  </a:lnTo>
                  <a:lnTo>
                    <a:pt x="16" y="192"/>
                  </a:lnTo>
                  <a:lnTo>
                    <a:pt x="16" y="192"/>
                  </a:lnTo>
                  <a:lnTo>
                    <a:pt x="8" y="192"/>
                  </a:lnTo>
                  <a:lnTo>
                    <a:pt x="8" y="176"/>
                  </a:lnTo>
                  <a:lnTo>
                    <a:pt x="16" y="160"/>
                  </a:lnTo>
                  <a:lnTo>
                    <a:pt x="16" y="152"/>
                  </a:lnTo>
                  <a:lnTo>
                    <a:pt x="16" y="152"/>
                  </a:lnTo>
                  <a:lnTo>
                    <a:pt x="16" y="152"/>
                  </a:lnTo>
                  <a:lnTo>
                    <a:pt x="24" y="152"/>
                  </a:lnTo>
                  <a:lnTo>
                    <a:pt x="32" y="144"/>
                  </a:lnTo>
                  <a:lnTo>
                    <a:pt x="40" y="128"/>
                  </a:lnTo>
                  <a:lnTo>
                    <a:pt x="56" y="120"/>
                  </a:lnTo>
                  <a:lnTo>
                    <a:pt x="56" y="112"/>
                  </a:lnTo>
                  <a:lnTo>
                    <a:pt x="56" y="112"/>
                  </a:lnTo>
                  <a:lnTo>
                    <a:pt x="48" y="112"/>
                  </a:lnTo>
                  <a:lnTo>
                    <a:pt x="48" y="112"/>
                  </a:lnTo>
                  <a:lnTo>
                    <a:pt x="48" y="10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93" name="Freeform 11"/>
            <p:cNvSpPr>
              <a:spLocks/>
            </p:cNvSpPr>
            <p:nvPr/>
          </p:nvSpPr>
          <p:spPr bwMode="auto">
            <a:xfrm>
              <a:off x="1878010" y="2857458"/>
              <a:ext cx="1142998" cy="571491"/>
            </a:xfrm>
            <a:custGeom>
              <a:avLst/>
              <a:gdLst/>
              <a:ahLst/>
              <a:cxnLst>
                <a:cxn ang="0">
                  <a:pos x="544" y="320"/>
                </a:cxn>
                <a:cxn ang="0">
                  <a:pos x="552" y="360"/>
                </a:cxn>
                <a:cxn ang="0">
                  <a:pos x="520" y="312"/>
                </a:cxn>
                <a:cxn ang="0">
                  <a:pos x="488" y="296"/>
                </a:cxn>
                <a:cxn ang="0">
                  <a:pos x="456" y="288"/>
                </a:cxn>
                <a:cxn ang="0">
                  <a:pos x="432" y="296"/>
                </a:cxn>
                <a:cxn ang="0">
                  <a:pos x="400" y="296"/>
                </a:cxn>
                <a:cxn ang="0">
                  <a:pos x="360" y="312"/>
                </a:cxn>
                <a:cxn ang="0">
                  <a:pos x="336" y="336"/>
                </a:cxn>
                <a:cxn ang="0">
                  <a:pos x="272" y="288"/>
                </a:cxn>
                <a:cxn ang="0">
                  <a:pos x="232" y="272"/>
                </a:cxn>
                <a:cxn ang="0">
                  <a:pos x="200" y="272"/>
                </a:cxn>
                <a:cxn ang="0">
                  <a:pos x="88" y="256"/>
                </a:cxn>
                <a:cxn ang="0">
                  <a:pos x="48" y="224"/>
                </a:cxn>
                <a:cxn ang="0">
                  <a:pos x="24" y="176"/>
                </a:cxn>
                <a:cxn ang="0">
                  <a:pos x="0" y="144"/>
                </a:cxn>
                <a:cxn ang="0">
                  <a:pos x="0" y="96"/>
                </a:cxn>
                <a:cxn ang="0">
                  <a:pos x="0" y="24"/>
                </a:cxn>
                <a:cxn ang="0">
                  <a:pos x="24" y="24"/>
                </a:cxn>
                <a:cxn ang="0">
                  <a:pos x="368" y="0"/>
                </a:cxn>
                <a:cxn ang="0">
                  <a:pos x="400" y="16"/>
                </a:cxn>
                <a:cxn ang="0">
                  <a:pos x="424" y="32"/>
                </a:cxn>
                <a:cxn ang="0">
                  <a:pos x="408" y="48"/>
                </a:cxn>
                <a:cxn ang="0">
                  <a:pos x="432" y="48"/>
                </a:cxn>
                <a:cxn ang="0">
                  <a:pos x="448" y="48"/>
                </a:cxn>
                <a:cxn ang="0">
                  <a:pos x="472" y="48"/>
                </a:cxn>
                <a:cxn ang="0">
                  <a:pos x="504" y="56"/>
                </a:cxn>
                <a:cxn ang="0">
                  <a:pos x="456" y="80"/>
                </a:cxn>
                <a:cxn ang="0">
                  <a:pos x="472" y="128"/>
                </a:cxn>
                <a:cxn ang="0">
                  <a:pos x="496" y="64"/>
                </a:cxn>
                <a:cxn ang="0">
                  <a:pos x="512" y="88"/>
                </a:cxn>
                <a:cxn ang="0">
                  <a:pos x="520" y="104"/>
                </a:cxn>
                <a:cxn ang="0">
                  <a:pos x="560" y="112"/>
                </a:cxn>
                <a:cxn ang="0">
                  <a:pos x="560" y="104"/>
                </a:cxn>
                <a:cxn ang="0">
                  <a:pos x="608" y="88"/>
                </a:cxn>
                <a:cxn ang="0">
                  <a:pos x="656" y="72"/>
                </a:cxn>
                <a:cxn ang="0">
                  <a:pos x="688" y="32"/>
                </a:cxn>
                <a:cxn ang="0">
                  <a:pos x="720" y="80"/>
                </a:cxn>
                <a:cxn ang="0">
                  <a:pos x="696" y="80"/>
                </a:cxn>
                <a:cxn ang="0">
                  <a:pos x="672" y="120"/>
                </a:cxn>
                <a:cxn ang="0">
                  <a:pos x="672" y="128"/>
                </a:cxn>
                <a:cxn ang="0">
                  <a:pos x="632" y="136"/>
                </a:cxn>
                <a:cxn ang="0">
                  <a:pos x="648" y="136"/>
                </a:cxn>
                <a:cxn ang="0">
                  <a:pos x="632" y="144"/>
                </a:cxn>
                <a:cxn ang="0">
                  <a:pos x="616" y="168"/>
                </a:cxn>
                <a:cxn ang="0">
                  <a:pos x="608" y="184"/>
                </a:cxn>
                <a:cxn ang="0">
                  <a:pos x="600" y="176"/>
                </a:cxn>
                <a:cxn ang="0">
                  <a:pos x="608" y="192"/>
                </a:cxn>
                <a:cxn ang="0">
                  <a:pos x="600" y="208"/>
                </a:cxn>
                <a:cxn ang="0">
                  <a:pos x="600" y="216"/>
                </a:cxn>
                <a:cxn ang="0">
                  <a:pos x="592" y="224"/>
                </a:cxn>
              </a:cxnLst>
              <a:rect l="0" t="0" r="r" b="b"/>
              <a:pathLst>
                <a:path w="720" h="360">
                  <a:moveTo>
                    <a:pt x="568" y="248"/>
                  </a:moveTo>
                  <a:lnTo>
                    <a:pt x="536" y="264"/>
                  </a:lnTo>
                  <a:lnTo>
                    <a:pt x="536" y="296"/>
                  </a:lnTo>
                  <a:lnTo>
                    <a:pt x="544" y="312"/>
                  </a:lnTo>
                  <a:lnTo>
                    <a:pt x="544" y="320"/>
                  </a:lnTo>
                  <a:lnTo>
                    <a:pt x="544" y="320"/>
                  </a:lnTo>
                  <a:lnTo>
                    <a:pt x="544" y="320"/>
                  </a:lnTo>
                  <a:lnTo>
                    <a:pt x="544" y="320"/>
                  </a:lnTo>
                  <a:lnTo>
                    <a:pt x="552" y="336"/>
                  </a:lnTo>
                  <a:lnTo>
                    <a:pt x="552" y="360"/>
                  </a:lnTo>
                  <a:lnTo>
                    <a:pt x="536" y="360"/>
                  </a:lnTo>
                  <a:lnTo>
                    <a:pt x="536" y="352"/>
                  </a:lnTo>
                  <a:lnTo>
                    <a:pt x="528" y="344"/>
                  </a:lnTo>
                  <a:lnTo>
                    <a:pt x="520" y="336"/>
                  </a:lnTo>
                  <a:lnTo>
                    <a:pt x="520" y="312"/>
                  </a:lnTo>
                  <a:lnTo>
                    <a:pt x="512" y="288"/>
                  </a:lnTo>
                  <a:lnTo>
                    <a:pt x="504" y="288"/>
                  </a:lnTo>
                  <a:lnTo>
                    <a:pt x="504" y="288"/>
                  </a:lnTo>
                  <a:lnTo>
                    <a:pt x="496" y="296"/>
                  </a:lnTo>
                  <a:lnTo>
                    <a:pt x="488" y="296"/>
                  </a:lnTo>
                  <a:lnTo>
                    <a:pt x="472" y="288"/>
                  </a:lnTo>
                  <a:lnTo>
                    <a:pt x="456" y="288"/>
                  </a:lnTo>
                  <a:lnTo>
                    <a:pt x="456" y="288"/>
                  </a:lnTo>
                  <a:lnTo>
                    <a:pt x="456" y="288"/>
                  </a:lnTo>
                  <a:lnTo>
                    <a:pt x="456" y="288"/>
                  </a:lnTo>
                  <a:lnTo>
                    <a:pt x="440" y="288"/>
                  </a:lnTo>
                  <a:lnTo>
                    <a:pt x="432" y="288"/>
                  </a:lnTo>
                  <a:lnTo>
                    <a:pt x="432" y="288"/>
                  </a:lnTo>
                  <a:lnTo>
                    <a:pt x="432" y="288"/>
                  </a:lnTo>
                  <a:lnTo>
                    <a:pt x="432" y="296"/>
                  </a:lnTo>
                  <a:lnTo>
                    <a:pt x="432" y="304"/>
                  </a:lnTo>
                  <a:lnTo>
                    <a:pt x="432" y="304"/>
                  </a:lnTo>
                  <a:lnTo>
                    <a:pt x="424" y="304"/>
                  </a:lnTo>
                  <a:lnTo>
                    <a:pt x="408" y="296"/>
                  </a:lnTo>
                  <a:lnTo>
                    <a:pt x="400" y="296"/>
                  </a:lnTo>
                  <a:lnTo>
                    <a:pt x="392" y="296"/>
                  </a:lnTo>
                  <a:lnTo>
                    <a:pt x="376" y="296"/>
                  </a:lnTo>
                  <a:lnTo>
                    <a:pt x="368" y="304"/>
                  </a:lnTo>
                  <a:lnTo>
                    <a:pt x="360" y="312"/>
                  </a:lnTo>
                  <a:lnTo>
                    <a:pt x="360" y="312"/>
                  </a:lnTo>
                  <a:lnTo>
                    <a:pt x="352" y="312"/>
                  </a:lnTo>
                  <a:lnTo>
                    <a:pt x="352" y="312"/>
                  </a:lnTo>
                  <a:lnTo>
                    <a:pt x="336" y="320"/>
                  </a:lnTo>
                  <a:lnTo>
                    <a:pt x="336" y="336"/>
                  </a:lnTo>
                  <a:lnTo>
                    <a:pt x="336" y="336"/>
                  </a:lnTo>
                  <a:lnTo>
                    <a:pt x="336" y="344"/>
                  </a:lnTo>
                  <a:lnTo>
                    <a:pt x="320" y="344"/>
                  </a:lnTo>
                  <a:lnTo>
                    <a:pt x="312" y="336"/>
                  </a:lnTo>
                  <a:lnTo>
                    <a:pt x="288" y="288"/>
                  </a:lnTo>
                  <a:lnTo>
                    <a:pt x="272" y="288"/>
                  </a:lnTo>
                  <a:lnTo>
                    <a:pt x="264" y="304"/>
                  </a:lnTo>
                  <a:lnTo>
                    <a:pt x="256" y="304"/>
                  </a:lnTo>
                  <a:lnTo>
                    <a:pt x="240" y="288"/>
                  </a:lnTo>
                  <a:lnTo>
                    <a:pt x="240" y="272"/>
                  </a:lnTo>
                  <a:lnTo>
                    <a:pt x="232" y="272"/>
                  </a:lnTo>
                  <a:lnTo>
                    <a:pt x="208" y="264"/>
                  </a:lnTo>
                  <a:lnTo>
                    <a:pt x="200" y="264"/>
                  </a:lnTo>
                  <a:lnTo>
                    <a:pt x="200" y="264"/>
                  </a:lnTo>
                  <a:lnTo>
                    <a:pt x="200" y="272"/>
                  </a:lnTo>
                  <a:lnTo>
                    <a:pt x="200" y="272"/>
                  </a:lnTo>
                  <a:lnTo>
                    <a:pt x="168" y="272"/>
                  </a:lnTo>
                  <a:lnTo>
                    <a:pt x="168" y="272"/>
                  </a:lnTo>
                  <a:lnTo>
                    <a:pt x="120" y="256"/>
                  </a:lnTo>
                  <a:lnTo>
                    <a:pt x="120" y="256"/>
                  </a:lnTo>
                  <a:lnTo>
                    <a:pt x="88" y="256"/>
                  </a:lnTo>
                  <a:lnTo>
                    <a:pt x="88" y="256"/>
                  </a:lnTo>
                  <a:lnTo>
                    <a:pt x="88" y="248"/>
                  </a:lnTo>
                  <a:lnTo>
                    <a:pt x="64" y="232"/>
                  </a:lnTo>
                  <a:lnTo>
                    <a:pt x="48" y="224"/>
                  </a:lnTo>
                  <a:lnTo>
                    <a:pt x="48" y="224"/>
                  </a:lnTo>
                  <a:lnTo>
                    <a:pt x="40" y="216"/>
                  </a:lnTo>
                  <a:lnTo>
                    <a:pt x="32" y="200"/>
                  </a:lnTo>
                  <a:lnTo>
                    <a:pt x="24" y="184"/>
                  </a:lnTo>
                  <a:lnTo>
                    <a:pt x="24" y="176"/>
                  </a:lnTo>
                  <a:lnTo>
                    <a:pt x="24" y="176"/>
                  </a:lnTo>
                  <a:lnTo>
                    <a:pt x="24" y="176"/>
                  </a:lnTo>
                  <a:lnTo>
                    <a:pt x="0" y="152"/>
                  </a:lnTo>
                  <a:lnTo>
                    <a:pt x="0" y="144"/>
                  </a:lnTo>
                  <a:lnTo>
                    <a:pt x="0" y="144"/>
                  </a:lnTo>
                  <a:lnTo>
                    <a:pt x="0" y="144"/>
                  </a:lnTo>
                  <a:lnTo>
                    <a:pt x="0" y="136"/>
                  </a:lnTo>
                  <a:lnTo>
                    <a:pt x="0" y="120"/>
                  </a:lnTo>
                  <a:lnTo>
                    <a:pt x="0" y="120"/>
                  </a:lnTo>
                  <a:lnTo>
                    <a:pt x="0" y="104"/>
                  </a:lnTo>
                  <a:lnTo>
                    <a:pt x="0" y="96"/>
                  </a:lnTo>
                  <a:lnTo>
                    <a:pt x="0" y="88"/>
                  </a:lnTo>
                  <a:lnTo>
                    <a:pt x="8" y="56"/>
                  </a:lnTo>
                  <a:lnTo>
                    <a:pt x="8" y="48"/>
                  </a:lnTo>
                  <a:lnTo>
                    <a:pt x="0" y="32"/>
                  </a:lnTo>
                  <a:lnTo>
                    <a:pt x="0" y="24"/>
                  </a:lnTo>
                  <a:lnTo>
                    <a:pt x="0" y="24"/>
                  </a:lnTo>
                  <a:lnTo>
                    <a:pt x="8" y="24"/>
                  </a:lnTo>
                  <a:lnTo>
                    <a:pt x="16" y="32"/>
                  </a:lnTo>
                  <a:lnTo>
                    <a:pt x="16" y="32"/>
                  </a:lnTo>
                  <a:lnTo>
                    <a:pt x="24" y="24"/>
                  </a:lnTo>
                  <a:lnTo>
                    <a:pt x="16" y="16"/>
                  </a:lnTo>
                  <a:lnTo>
                    <a:pt x="16" y="8"/>
                  </a:lnTo>
                  <a:lnTo>
                    <a:pt x="368" y="8"/>
                  </a:lnTo>
                  <a:lnTo>
                    <a:pt x="368" y="0"/>
                  </a:lnTo>
                  <a:lnTo>
                    <a:pt x="368" y="0"/>
                  </a:lnTo>
                  <a:lnTo>
                    <a:pt x="368" y="8"/>
                  </a:lnTo>
                  <a:lnTo>
                    <a:pt x="376" y="16"/>
                  </a:lnTo>
                  <a:lnTo>
                    <a:pt x="376" y="16"/>
                  </a:lnTo>
                  <a:lnTo>
                    <a:pt x="400" y="16"/>
                  </a:lnTo>
                  <a:lnTo>
                    <a:pt x="400" y="16"/>
                  </a:lnTo>
                  <a:lnTo>
                    <a:pt x="408" y="24"/>
                  </a:lnTo>
                  <a:lnTo>
                    <a:pt x="416" y="24"/>
                  </a:lnTo>
                  <a:lnTo>
                    <a:pt x="432" y="24"/>
                  </a:lnTo>
                  <a:lnTo>
                    <a:pt x="432" y="24"/>
                  </a:lnTo>
                  <a:lnTo>
                    <a:pt x="424" y="32"/>
                  </a:lnTo>
                  <a:lnTo>
                    <a:pt x="408" y="40"/>
                  </a:lnTo>
                  <a:lnTo>
                    <a:pt x="400" y="48"/>
                  </a:lnTo>
                  <a:lnTo>
                    <a:pt x="400" y="48"/>
                  </a:lnTo>
                  <a:lnTo>
                    <a:pt x="408" y="48"/>
                  </a:lnTo>
                  <a:lnTo>
                    <a:pt x="408" y="48"/>
                  </a:lnTo>
                  <a:lnTo>
                    <a:pt x="416" y="48"/>
                  </a:lnTo>
                  <a:lnTo>
                    <a:pt x="416" y="48"/>
                  </a:lnTo>
                  <a:lnTo>
                    <a:pt x="416" y="48"/>
                  </a:lnTo>
                  <a:lnTo>
                    <a:pt x="424" y="48"/>
                  </a:lnTo>
                  <a:lnTo>
                    <a:pt x="432" y="48"/>
                  </a:lnTo>
                  <a:lnTo>
                    <a:pt x="440" y="48"/>
                  </a:lnTo>
                  <a:lnTo>
                    <a:pt x="448" y="32"/>
                  </a:lnTo>
                  <a:lnTo>
                    <a:pt x="456" y="40"/>
                  </a:lnTo>
                  <a:lnTo>
                    <a:pt x="448" y="40"/>
                  </a:lnTo>
                  <a:lnTo>
                    <a:pt x="448" y="48"/>
                  </a:lnTo>
                  <a:lnTo>
                    <a:pt x="448" y="48"/>
                  </a:lnTo>
                  <a:lnTo>
                    <a:pt x="456" y="48"/>
                  </a:lnTo>
                  <a:lnTo>
                    <a:pt x="456" y="48"/>
                  </a:lnTo>
                  <a:lnTo>
                    <a:pt x="456" y="48"/>
                  </a:lnTo>
                  <a:lnTo>
                    <a:pt x="472" y="48"/>
                  </a:lnTo>
                  <a:lnTo>
                    <a:pt x="480" y="48"/>
                  </a:lnTo>
                  <a:lnTo>
                    <a:pt x="504" y="48"/>
                  </a:lnTo>
                  <a:lnTo>
                    <a:pt x="504" y="48"/>
                  </a:lnTo>
                  <a:lnTo>
                    <a:pt x="504" y="56"/>
                  </a:lnTo>
                  <a:lnTo>
                    <a:pt x="504" y="56"/>
                  </a:lnTo>
                  <a:lnTo>
                    <a:pt x="488" y="56"/>
                  </a:lnTo>
                  <a:lnTo>
                    <a:pt x="472" y="56"/>
                  </a:lnTo>
                  <a:lnTo>
                    <a:pt x="456" y="72"/>
                  </a:lnTo>
                  <a:lnTo>
                    <a:pt x="456" y="80"/>
                  </a:lnTo>
                  <a:lnTo>
                    <a:pt x="456" y="80"/>
                  </a:lnTo>
                  <a:lnTo>
                    <a:pt x="464" y="72"/>
                  </a:lnTo>
                  <a:lnTo>
                    <a:pt x="464" y="80"/>
                  </a:lnTo>
                  <a:lnTo>
                    <a:pt x="456" y="104"/>
                  </a:lnTo>
                  <a:lnTo>
                    <a:pt x="456" y="128"/>
                  </a:lnTo>
                  <a:lnTo>
                    <a:pt x="472" y="128"/>
                  </a:lnTo>
                  <a:lnTo>
                    <a:pt x="472" y="104"/>
                  </a:lnTo>
                  <a:lnTo>
                    <a:pt x="472" y="72"/>
                  </a:lnTo>
                  <a:lnTo>
                    <a:pt x="488" y="72"/>
                  </a:lnTo>
                  <a:lnTo>
                    <a:pt x="488" y="64"/>
                  </a:lnTo>
                  <a:lnTo>
                    <a:pt x="496" y="64"/>
                  </a:lnTo>
                  <a:lnTo>
                    <a:pt x="512" y="72"/>
                  </a:lnTo>
                  <a:lnTo>
                    <a:pt x="512" y="80"/>
                  </a:lnTo>
                  <a:lnTo>
                    <a:pt x="512" y="88"/>
                  </a:lnTo>
                  <a:lnTo>
                    <a:pt x="512" y="88"/>
                  </a:lnTo>
                  <a:lnTo>
                    <a:pt x="512" y="88"/>
                  </a:lnTo>
                  <a:lnTo>
                    <a:pt x="512" y="88"/>
                  </a:lnTo>
                  <a:lnTo>
                    <a:pt x="520" y="88"/>
                  </a:lnTo>
                  <a:lnTo>
                    <a:pt x="520" y="88"/>
                  </a:lnTo>
                  <a:lnTo>
                    <a:pt x="520" y="96"/>
                  </a:lnTo>
                  <a:lnTo>
                    <a:pt x="520" y="104"/>
                  </a:lnTo>
                  <a:lnTo>
                    <a:pt x="520" y="104"/>
                  </a:lnTo>
                  <a:lnTo>
                    <a:pt x="512" y="112"/>
                  </a:lnTo>
                  <a:lnTo>
                    <a:pt x="512" y="128"/>
                  </a:lnTo>
                  <a:lnTo>
                    <a:pt x="528" y="128"/>
                  </a:lnTo>
                  <a:lnTo>
                    <a:pt x="560" y="112"/>
                  </a:lnTo>
                  <a:lnTo>
                    <a:pt x="560" y="112"/>
                  </a:lnTo>
                  <a:lnTo>
                    <a:pt x="560" y="112"/>
                  </a:lnTo>
                  <a:lnTo>
                    <a:pt x="560" y="104"/>
                  </a:lnTo>
                  <a:lnTo>
                    <a:pt x="560" y="104"/>
                  </a:lnTo>
                  <a:lnTo>
                    <a:pt x="560" y="104"/>
                  </a:lnTo>
                  <a:lnTo>
                    <a:pt x="560" y="104"/>
                  </a:lnTo>
                  <a:lnTo>
                    <a:pt x="576" y="104"/>
                  </a:lnTo>
                  <a:lnTo>
                    <a:pt x="592" y="104"/>
                  </a:lnTo>
                  <a:lnTo>
                    <a:pt x="600" y="96"/>
                  </a:lnTo>
                  <a:lnTo>
                    <a:pt x="608" y="88"/>
                  </a:lnTo>
                  <a:lnTo>
                    <a:pt x="616" y="80"/>
                  </a:lnTo>
                  <a:lnTo>
                    <a:pt x="624" y="72"/>
                  </a:lnTo>
                  <a:lnTo>
                    <a:pt x="632" y="72"/>
                  </a:lnTo>
                  <a:lnTo>
                    <a:pt x="648" y="72"/>
                  </a:lnTo>
                  <a:lnTo>
                    <a:pt x="656" y="72"/>
                  </a:lnTo>
                  <a:lnTo>
                    <a:pt x="664" y="64"/>
                  </a:lnTo>
                  <a:lnTo>
                    <a:pt x="664" y="64"/>
                  </a:lnTo>
                  <a:lnTo>
                    <a:pt x="680" y="48"/>
                  </a:lnTo>
                  <a:lnTo>
                    <a:pt x="688" y="32"/>
                  </a:lnTo>
                  <a:lnTo>
                    <a:pt x="688" y="32"/>
                  </a:lnTo>
                  <a:lnTo>
                    <a:pt x="696" y="32"/>
                  </a:lnTo>
                  <a:lnTo>
                    <a:pt x="696" y="32"/>
                  </a:lnTo>
                  <a:lnTo>
                    <a:pt x="704" y="32"/>
                  </a:lnTo>
                  <a:lnTo>
                    <a:pt x="712" y="56"/>
                  </a:lnTo>
                  <a:lnTo>
                    <a:pt x="720" y="80"/>
                  </a:lnTo>
                  <a:lnTo>
                    <a:pt x="720" y="80"/>
                  </a:lnTo>
                  <a:lnTo>
                    <a:pt x="712" y="80"/>
                  </a:lnTo>
                  <a:lnTo>
                    <a:pt x="696" y="80"/>
                  </a:lnTo>
                  <a:lnTo>
                    <a:pt x="696" y="80"/>
                  </a:lnTo>
                  <a:lnTo>
                    <a:pt x="696" y="80"/>
                  </a:lnTo>
                  <a:lnTo>
                    <a:pt x="688" y="88"/>
                  </a:lnTo>
                  <a:lnTo>
                    <a:pt x="672" y="104"/>
                  </a:lnTo>
                  <a:lnTo>
                    <a:pt x="672" y="112"/>
                  </a:lnTo>
                  <a:lnTo>
                    <a:pt x="672" y="112"/>
                  </a:lnTo>
                  <a:lnTo>
                    <a:pt x="672" y="120"/>
                  </a:lnTo>
                  <a:lnTo>
                    <a:pt x="680" y="120"/>
                  </a:lnTo>
                  <a:lnTo>
                    <a:pt x="680" y="120"/>
                  </a:lnTo>
                  <a:lnTo>
                    <a:pt x="680" y="120"/>
                  </a:lnTo>
                  <a:lnTo>
                    <a:pt x="680" y="120"/>
                  </a:lnTo>
                  <a:lnTo>
                    <a:pt x="672" y="128"/>
                  </a:lnTo>
                  <a:lnTo>
                    <a:pt x="672" y="128"/>
                  </a:lnTo>
                  <a:lnTo>
                    <a:pt x="664" y="128"/>
                  </a:lnTo>
                  <a:lnTo>
                    <a:pt x="664" y="128"/>
                  </a:lnTo>
                  <a:lnTo>
                    <a:pt x="640" y="136"/>
                  </a:lnTo>
                  <a:lnTo>
                    <a:pt x="632" y="136"/>
                  </a:lnTo>
                  <a:lnTo>
                    <a:pt x="632" y="136"/>
                  </a:lnTo>
                  <a:lnTo>
                    <a:pt x="640" y="136"/>
                  </a:lnTo>
                  <a:lnTo>
                    <a:pt x="648" y="136"/>
                  </a:lnTo>
                  <a:lnTo>
                    <a:pt x="648" y="136"/>
                  </a:lnTo>
                  <a:lnTo>
                    <a:pt x="648" y="136"/>
                  </a:lnTo>
                  <a:lnTo>
                    <a:pt x="632" y="136"/>
                  </a:lnTo>
                  <a:lnTo>
                    <a:pt x="632" y="136"/>
                  </a:lnTo>
                  <a:lnTo>
                    <a:pt x="624" y="136"/>
                  </a:lnTo>
                  <a:lnTo>
                    <a:pt x="632" y="144"/>
                  </a:lnTo>
                  <a:lnTo>
                    <a:pt x="632" y="144"/>
                  </a:lnTo>
                  <a:lnTo>
                    <a:pt x="624" y="160"/>
                  </a:lnTo>
                  <a:lnTo>
                    <a:pt x="616" y="160"/>
                  </a:lnTo>
                  <a:lnTo>
                    <a:pt x="616" y="160"/>
                  </a:lnTo>
                  <a:lnTo>
                    <a:pt x="616" y="160"/>
                  </a:lnTo>
                  <a:lnTo>
                    <a:pt x="616" y="168"/>
                  </a:lnTo>
                  <a:lnTo>
                    <a:pt x="616" y="176"/>
                  </a:lnTo>
                  <a:lnTo>
                    <a:pt x="616" y="184"/>
                  </a:lnTo>
                  <a:lnTo>
                    <a:pt x="608" y="192"/>
                  </a:lnTo>
                  <a:lnTo>
                    <a:pt x="608" y="192"/>
                  </a:lnTo>
                  <a:lnTo>
                    <a:pt x="608" y="184"/>
                  </a:lnTo>
                  <a:lnTo>
                    <a:pt x="608" y="184"/>
                  </a:lnTo>
                  <a:lnTo>
                    <a:pt x="600" y="168"/>
                  </a:lnTo>
                  <a:lnTo>
                    <a:pt x="600" y="168"/>
                  </a:lnTo>
                  <a:lnTo>
                    <a:pt x="600" y="168"/>
                  </a:lnTo>
                  <a:lnTo>
                    <a:pt x="600" y="176"/>
                  </a:lnTo>
                  <a:lnTo>
                    <a:pt x="600" y="184"/>
                  </a:lnTo>
                  <a:lnTo>
                    <a:pt x="600" y="192"/>
                  </a:lnTo>
                  <a:lnTo>
                    <a:pt x="600" y="192"/>
                  </a:lnTo>
                  <a:lnTo>
                    <a:pt x="600" y="192"/>
                  </a:lnTo>
                  <a:lnTo>
                    <a:pt x="608" y="192"/>
                  </a:lnTo>
                  <a:lnTo>
                    <a:pt x="608" y="200"/>
                  </a:lnTo>
                  <a:lnTo>
                    <a:pt x="608" y="208"/>
                  </a:lnTo>
                  <a:lnTo>
                    <a:pt x="600" y="208"/>
                  </a:lnTo>
                  <a:lnTo>
                    <a:pt x="600" y="208"/>
                  </a:lnTo>
                  <a:lnTo>
                    <a:pt x="600" y="208"/>
                  </a:lnTo>
                  <a:lnTo>
                    <a:pt x="608" y="208"/>
                  </a:lnTo>
                  <a:lnTo>
                    <a:pt x="608" y="208"/>
                  </a:lnTo>
                  <a:lnTo>
                    <a:pt x="608" y="216"/>
                  </a:lnTo>
                  <a:lnTo>
                    <a:pt x="600" y="216"/>
                  </a:lnTo>
                  <a:lnTo>
                    <a:pt x="600" y="216"/>
                  </a:lnTo>
                  <a:lnTo>
                    <a:pt x="600" y="216"/>
                  </a:lnTo>
                  <a:lnTo>
                    <a:pt x="608" y="216"/>
                  </a:lnTo>
                  <a:lnTo>
                    <a:pt x="608" y="216"/>
                  </a:lnTo>
                  <a:lnTo>
                    <a:pt x="600" y="224"/>
                  </a:lnTo>
                  <a:lnTo>
                    <a:pt x="592" y="224"/>
                  </a:lnTo>
                  <a:lnTo>
                    <a:pt x="584" y="232"/>
                  </a:lnTo>
                  <a:lnTo>
                    <a:pt x="584" y="232"/>
                  </a:lnTo>
                  <a:lnTo>
                    <a:pt x="584" y="232"/>
                  </a:lnTo>
                  <a:lnTo>
                    <a:pt x="568" y="248"/>
                  </a:lnTo>
                  <a:close/>
                </a:path>
              </a:pathLst>
            </a:custGeom>
            <a:solidFill>
              <a:schemeClr val="accent1"/>
            </a:solid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94" name="Freeform 12"/>
            <p:cNvSpPr>
              <a:spLocks/>
            </p:cNvSpPr>
            <p:nvPr/>
          </p:nvSpPr>
          <p:spPr bwMode="auto">
            <a:xfrm>
              <a:off x="1547810" y="2184368"/>
              <a:ext cx="1689098" cy="863587"/>
            </a:xfrm>
            <a:custGeom>
              <a:avLst/>
              <a:gdLst/>
              <a:ahLst/>
              <a:cxnLst>
                <a:cxn ang="0">
                  <a:pos x="952" y="488"/>
                </a:cxn>
                <a:cxn ang="0">
                  <a:pos x="968" y="504"/>
                </a:cxn>
                <a:cxn ang="0">
                  <a:pos x="952" y="448"/>
                </a:cxn>
                <a:cxn ang="0">
                  <a:pos x="936" y="432"/>
                </a:cxn>
                <a:cxn ang="0">
                  <a:pos x="936" y="416"/>
                </a:cxn>
                <a:cxn ang="0">
                  <a:pos x="1064" y="368"/>
                </a:cxn>
                <a:cxn ang="0">
                  <a:pos x="1056" y="344"/>
                </a:cxn>
                <a:cxn ang="0">
                  <a:pos x="1040" y="336"/>
                </a:cxn>
                <a:cxn ang="0">
                  <a:pos x="1000" y="312"/>
                </a:cxn>
                <a:cxn ang="0">
                  <a:pos x="976" y="272"/>
                </a:cxn>
                <a:cxn ang="0">
                  <a:pos x="952" y="232"/>
                </a:cxn>
                <a:cxn ang="0">
                  <a:pos x="888" y="224"/>
                </a:cxn>
                <a:cxn ang="0">
                  <a:pos x="800" y="192"/>
                </a:cxn>
                <a:cxn ang="0">
                  <a:pos x="792" y="240"/>
                </a:cxn>
                <a:cxn ang="0">
                  <a:pos x="800" y="296"/>
                </a:cxn>
                <a:cxn ang="0">
                  <a:pos x="768" y="384"/>
                </a:cxn>
                <a:cxn ang="0">
                  <a:pos x="720" y="328"/>
                </a:cxn>
                <a:cxn ang="0">
                  <a:pos x="608" y="296"/>
                </a:cxn>
                <a:cxn ang="0">
                  <a:pos x="600" y="192"/>
                </a:cxn>
                <a:cxn ang="0">
                  <a:pos x="616" y="168"/>
                </a:cxn>
                <a:cxn ang="0">
                  <a:pos x="664" y="152"/>
                </a:cxn>
                <a:cxn ang="0">
                  <a:pos x="632" y="128"/>
                </a:cxn>
                <a:cxn ang="0">
                  <a:pos x="680" y="112"/>
                </a:cxn>
                <a:cxn ang="0">
                  <a:pos x="720" y="112"/>
                </a:cxn>
                <a:cxn ang="0">
                  <a:pos x="728" y="72"/>
                </a:cxn>
                <a:cxn ang="0">
                  <a:pos x="720" y="48"/>
                </a:cxn>
                <a:cxn ang="0">
                  <a:pos x="680" y="80"/>
                </a:cxn>
                <a:cxn ang="0">
                  <a:pos x="640" y="56"/>
                </a:cxn>
                <a:cxn ang="0">
                  <a:pos x="624" y="48"/>
                </a:cxn>
                <a:cxn ang="0">
                  <a:pos x="568" y="0"/>
                </a:cxn>
                <a:cxn ang="0">
                  <a:pos x="552" y="24"/>
                </a:cxn>
                <a:cxn ang="0">
                  <a:pos x="592" y="64"/>
                </a:cxn>
                <a:cxn ang="0">
                  <a:pos x="560" y="80"/>
                </a:cxn>
                <a:cxn ang="0">
                  <a:pos x="472" y="88"/>
                </a:cxn>
                <a:cxn ang="0">
                  <a:pos x="432" y="72"/>
                </a:cxn>
                <a:cxn ang="0">
                  <a:pos x="408" y="104"/>
                </a:cxn>
                <a:cxn ang="0">
                  <a:pos x="336" y="88"/>
                </a:cxn>
                <a:cxn ang="0">
                  <a:pos x="296" y="64"/>
                </a:cxn>
                <a:cxn ang="0">
                  <a:pos x="200" y="40"/>
                </a:cxn>
                <a:cxn ang="0">
                  <a:pos x="136" y="40"/>
                </a:cxn>
                <a:cxn ang="0">
                  <a:pos x="56" y="56"/>
                </a:cxn>
                <a:cxn ang="0">
                  <a:pos x="8" y="48"/>
                </a:cxn>
                <a:cxn ang="0">
                  <a:pos x="32" y="248"/>
                </a:cxn>
                <a:cxn ang="0">
                  <a:pos x="96" y="272"/>
                </a:cxn>
                <a:cxn ang="0">
                  <a:pos x="136" y="344"/>
                </a:cxn>
                <a:cxn ang="0">
                  <a:pos x="152" y="376"/>
                </a:cxn>
                <a:cxn ang="0">
                  <a:pos x="200" y="416"/>
                </a:cxn>
                <a:cxn ang="0">
                  <a:pos x="576" y="432"/>
                </a:cxn>
                <a:cxn ang="0">
                  <a:pos x="648" y="448"/>
                </a:cxn>
                <a:cxn ang="0">
                  <a:pos x="672" y="440"/>
                </a:cxn>
                <a:cxn ang="0">
                  <a:pos x="736" y="480"/>
                </a:cxn>
                <a:cxn ang="0">
                  <a:pos x="744" y="496"/>
                </a:cxn>
                <a:cxn ang="0">
                  <a:pos x="760" y="536"/>
                </a:cxn>
                <a:cxn ang="0">
                  <a:pos x="776" y="520"/>
                </a:cxn>
                <a:cxn ang="0">
                  <a:pos x="872" y="488"/>
                </a:cxn>
                <a:cxn ang="0">
                  <a:pos x="920" y="464"/>
                </a:cxn>
              </a:cxnLst>
              <a:rect l="0" t="0" r="r" b="b"/>
              <a:pathLst>
                <a:path w="1064" h="544">
                  <a:moveTo>
                    <a:pt x="920" y="496"/>
                  </a:moveTo>
                  <a:lnTo>
                    <a:pt x="928" y="496"/>
                  </a:lnTo>
                  <a:lnTo>
                    <a:pt x="936" y="496"/>
                  </a:lnTo>
                  <a:lnTo>
                    <a:pt x="944" y="496"/>
                  </a:lnTo>
                  <a:lnTo>
                    <a:pt x="952" y="488"/>
                  </a:lnTo>
                  <a:lnTo>
                    <a:pt x="952" y="488"/>
                  </a:lnTo>
                  <a:lnTo>
                    <a:pt x="952" y="488"/>
                  </a:lnTo>
                  <a:lnTo>
                    <a:pt x="952" y="488"/>
                  </a:lnTo>
                  <a:lnTo>
                    <a:pt x="952" y="488"/>
                  </a:lnTo>
                  <a:lnTo>
                    <a:pt x="952" y="496"/>
                  </a:lnTo>
                  <a:lnTo>
                    <a:pt x="936" y="504"/>
                  </a:lnTo>
                  <a:lnTo>
                    <a:pt x="936" y="512"/>
                  </a:lnTo>
                  <a:lnTo>
                    <a:pt x="944" y="520"/>
                  </a:lnTo>
                  <a:lnTo>
                    <a:pt x="944" y="520"/>
                  </a:lnTo>
                  <a:lnTo>
                    <a:pt x="960" y="504"/>
                  </a:lnTo>
                  <a:lnTo>
                    <a:pt x="968" y="504"/>
                  </a:lnTo>
                  <a:lnTo>
                    <a:pt x="1000" y="488"/>
                  </a:lnTo>
                  <a:lnTo>
                    <a:pt x="1000" y="488"/>
                  </a:lnTo>
                  <a:lnTo>
                    <a:pt x="984" y="488"/>
                  </a:lnTo>
                  <a:lnTo>
                    <a:pt x="976" y="488"/>
                  </a:lnTo>
                  <a:lnTo>
                    <a:pt x="952" y="472"/>
                  </a:lnTo>
                  <a:lnTo>
                    <a:pt x="952" y="456"/>
                  </a:lnTo>
                  <a:lnTo>
                    <a:pt x="952" y="448"/>
                  </a:lnTo>
                  <a:lnTo>
                    <a:pt x="952" y="448"/>
                  </a:lnTo>
                  <a:lnTo>
                    <a:pt x="944" y="448"/>
                  </a:lnTo>
                  <a:lnTo>
                    <a:pt x="944" y="448"/>
                  </a:lnTo>
                  <a:lnTo>
                    <a:pt x="944" y="448"/>
                  </a:lnTo>
                  <a:lnTo>
                    <a:pt x="952" y="448"/>
                  </a:lnTo>
                  <a:lnTo>
                    <a:pt x="960" y="440"/>
                  </a:lnTo>
                  <a:lnTo>
                    <a:pt x="960" y="432"/>
                  </a:lnTo>
                  <a:lnTo>
                    <a:pt x="952" y="432"/>
                  </a:lnTo>
                  <a:lnTo>
                    <a:pt x="936" y="432"/>
                  </a:lnTo>
                  <a:lnTo>
                    <a:pt x="928" y="432"/>
                  </a:lnTo>
                  <a:lnTo>
                    <a:pt x="904" y="440"/>
                  </a:lnTo>
                  <a:lnTo>
                    <a:pt x="896" y="448"/>
                  </a:lnTo>
                  <a:lnTo>
                    <a:pt x="896" y="448"/>
                  </a:lnTo>
                  <a:lnTo>
                    <a:pt x="904" y="440"/>
                  </a:lnTo>
                  <a:lnTo>
                    <a:pt x="920" y="432"/>
                  </a:lnTo>
                  <a:lnTo>
                    <a:pt x="928" y="424"/>
                  </a:lnTo>
                  <a:lnTo>
                    <a:pt x="936" y="416"/>
                  </a:lnTo>
                  <a:lnTo>
                    <a:pt x="936" y="416"/>
                  </a:lnTo>
                  <a:lnTo>
                    <a:pt x="944" y="408"/>
                  </a:lnTo>
                  <a:lnTo>
                    <a:pt x="968" y="408"/>
                  </a:lnTo>
                  <a:lnTo>
                    <a:pt x="992" y="416"/>
                  </a:lnTo>
                  <a:lnTo>
                    <a:pt x="1016" y="416"/>
                  </a:lnTo>
                  <a:lnTo>
                    <a:pt x="1024" y="400"/>
                  </a:lnTo>
                  <a:lnTo>
                    <a:pt x="1064" y="384"/>
                  </a:lnTo>
                  <a:lnTo>
                    <a:pt x="1064" y="368"/>
                  </a:lnTo>
                  <a:lnTo>
                    <a:pt x="1064" y="360"/>
                  </a:lnTo>
                  <a:lnTo>
                    <a:pt x="1056" y="360"/>
                  </a:lnTo>
                  <a:lnTo>
                    <a:pt x="1056" y="352"/>
                  </a:lnTo>
                  <a:lnTo>
                    <a:pt x="1056" y="352"/>
                  </a:lnTo>
                  <a:lnTo>
                    <a:pt x="1056" y="352"/>
                  </a:lnTo>
                  <a:lnTo>
                    <a:pt x="1056" y="352"/>
                  </a:lnTo>
                  <a:lnTo>
                    <a:pt x="1056" y="344"/>
                  </a:lnTo>
                  <a:lnTo>
                    <a:pt x="1056" y="344"/>
                  </a:lnTo>
                  <a:lnTo>
                    <a:pt x="1048" y="352"/>
                  </a:lnTo>
                  <a:lnTo>
                    <a:pt x="1024" y="360"/>
                  </a:lnTo>
                  <a:lnTo>
                    <a:pt x="1016" y="360"/>
                  </a:lnTo>
                  <a:lnTo>
                    <a:pt x="1008" y="352"/>
                  </a:lnTo>
                  <a:lnTo>
                    <a:pt x="1008" y="352"/>
                  </a:lnTo>
                  <a:lnTo>
                    <a:pt x="1024" y="352"/>
                  </a:lnTo>
                  <a:lnTo>
                    <a:pt x="1040" y="344"/>
                  </a:lnTo>
                  <a:lnTo>
                    <a:pt x="1040" y="336"/>
                  </a:lnTo>
                  <a:lnTo>
                    <a:pt x="1040" y="336"/>
                  </a:lnTo>
                  <a:lnTo>
                    <a:pt x="1040" y="336"/>
                  </a:lnTo>
                  <a:lnTo>
                    <a:pt x="1040" y="336"/>
                  </a:lnTo>
                  <a:lnTo>
                    <a:pt x="1024" y="336"/>
                  </a:lnTo>
                  <a:lnTo>
                    <a:pt x="1008" y="328"/>
                  </a:lnTo>
                  <a:lnTo>
                    <a:pt x="1008" y="320"/>
                  </a:lnTo>
                  <a:lnTo>
                    <a:pt x="1008" y="312"/>
                  </a:lnTo>
                  <a:lnTo>
                    <a:pt x="1000" y="312"/>
                  </a:lnTo>
                  <a:lnTo>
                    <a:pt x="984" y="304"/>
                  </a:lnTo>
                  <a:lnTo>
                    <a:pt x="984" y="304"/>
                  </a:lnTo>
                  <a:lnTo>
                    <a:pt x="992" y="296"/>
                  </a:lnTo>
                  <a:lnTo>
                    <a:pt x="992" y="288"/>
                  </a:lnTo>
                  <a:lnTo>
                    <a:pt x="992" y="288"/>
                  </a:lnTo>
                  <a:lnTo>
                    <a:pt x="992" y="288"/>
                  </a:lnTo>
                  <a:lnTo>
                    <a:pt x="984" y="280"/>
                  </a:lnTo>
                  <a:lnTo>
                    <a:pt x="976" y="272"/>
                  </a:lnTo>
                  <a:lnTo>
                    <a:pt x="976" y="272"/>
                  </a:lnTo>
                  <a:lnTo>
                    <a:pt x="976" y="264"/>
                  </a:lnTo>
                  <a:lnTo>
                    <a:pt x="976" y="264"/>
                  </a:lnTo>
                  <a:lnTo>
                    <a:pt x="976" y="256"/>
                  </a:lnTo>
                  <a:lnTo>
                    <a:pt x="960" y="248"/>
                  </a:lnTo>
                  <a:lnTo>
                    <a:pt x="960" y="240"/>
                  </a:lnTo>
                  <a:lnTo>
                    <a:pt x="952" y="232"/>
                  </a:lnTo>
                  <a:lnTo>
                    <a:pt x="952" y="232"/>
                  </a:lnTo>
                  <a:lnTo>
                    <a:pt x="944" y="248"/>
                  </a:lnTo>
                  <a:lnTo>
                    <a:pt x="944" y="256"/>
                  </a:lnTo>
                  <a:lnTo>
                    <a:pt x="928" y="272"/>
                  </a:lnTo>
                  <a:lnTo>
                    <a:pt x="912" y="272"/>
                  </a:lnTo>
                  <a:lnTo>
                    <a:pt x="904" y="264"/>
                  </a:lnTo>
                  <a:lnTo>
                    <a:pt x="896" y="264"/>
                  </a:lnTo>
                  <a:lnTo>
                    <a:pt x="896" y="240"/>
                  </a:lnTo>
                  <a:lnTo>
                    <a:pt x="888" y="224"/>
                  </a:lnTo>
                  <a:lnTo>
                    <a:pt x="864" y="216"/>
                  </a:lnTo>
                  <a:lnTo>
                    <a:pt x="864" y="208"/>
                  </a:lnTo>
                  <a:lnTo>
                    <a:pt x="864" y="208"/>
                  </a:lnTo>
                  <a:lnTo>
                    <a:pt x="864" y="208"/>
                  </a:lnTo>
                  <a:lnTo>
                    <a:pt x="848" y="192"/>
                  </a:lnTo>
                  <a:lnTo>
                    <a:pt x="832" y="200"/>
                  </a:lnTo>
                  <a:lnTo>
                    <a:pt x="816" y="200"/>
                  </a:lnTo>
                  <a:lnTo>
                    <a:pt x="800" y="192"/>
                  </a:lnTo>
                  <a:lnTo>
                    <a:pt x="784" y="192"/>
                  </a:lnTo>
                  <a:lnTo>
                    <a:pt x="784" y="200"/>
                  </a:lnTo>
                  <a:lnTo>
                    <a:pt x="784" y="200"/>
                  </a:lnTo>
                  <a:lnTo>
                    <a:pt x="784" y="208"/>
                  </a:lnTo>
                  <a:lnTo>
                    <a:pt x="784" y="216"/>
                  </a:lnTo>
                  <a:lnTo>
                    <a:pt x="784" y="224"/>
                  </a:lnTo>
                  <a:lnTo>
                    <a:pt x="784" y="224"/>
                  </a:lnTo>
                  <a:lnTo>
                    <a:pt x="792" y="240"/>
                  </a:lnTo>
                  <a:lnTo>
                    <a:pt x="792" y="240"/>
                  </a:lnTo>
                  <a:lnTo>
                    <a:pt x="792" y="240"/>
                  </a:lnTo>
                  <a:lnTo>
                    <a:pt x="792" y="248"/>
                  </a:lnTo>
                  <a:lnTo>
                    <a:pt x="784" y="256"/>
                  </a:lnTo>
                  <a:lnTo>
                    <a:pt x="776" y="264"/>
                  </a:lnTo>
                  <a:lnTo>
                    <a:pt x="776" y="264"/>
                  </a:lnTo>
                  <a:lnTo>
                    <a:pt x="784" y="272"/>
                  </a:lnTo>
                  <a:lnTo>
                    <a:pt x="800" y="296"/>
                  </a:lnTo>
                  <a:lnTo>
                    <a:pt x="800" y="320"/>
                  </a:lnTo>
                  <a:lnTo>
                    <a:pt x="768" y="336"/>
                  </a:lnTo>
                  <a:lnTo>
                    <a:pt x="768" y="344"/>
                  </a:lnTo>
                  <a:lnTo>
                    <a:pt x="768" y="344"/>
                  </a:lnTo>
                  <a:lnTo>
                    <a:pt x="776" y="344"/>
                  </a:lnTo>
                  <a:lnTo>
                    <a:pt x="776" y="376"/>
                  </a:lnTo>
                  <a:lnTo>
                    <a:pt x="776" y="384"/>
                  </a:lnTo>
                  <a:lnTo>
                    <a:pt x="768" y="384"/>
                  </a:lnTo>
                  <a:lnTo>
                    <a:pt x="768" y="400"/>
                  </a:lnTo>
                  <a:lnTo>
                    <a:pt x="760" y="400"/>
                  </a:lnTo>
                  <a:lnTo>
                    <a:pt x="744" y="384"/>
                  </a:lnTo>
                  <a:lnTo>
                    <a:pt x="736" y="368"/>
                  </a:lnTo>
                  <a:lnTo>
                    <a:pt x="736" y="360"/>
                  </a:lnTo>
                  <a:lnTo>
                    <a:pt x="736" y="352"/>
                  </a:lnTo>
                  <a:lnTo>
                    <a:pt x="736" y="336"/>
                  </a:lnTo>
                  <a:lnTo>
                    <a:pt x="720" y="328"/>
                  </a:lnTo>
                  <a:lnTo>
                    <a:pt x="720" y="328"/>
                  </a:lnTo>
                  <a:lnTo>
                    <a:pt x="696" y="328"/>
                  </a:lnTo>
                  <a:lnTo>
                    <a:pt x="696" y="328"/>
                  </a:lnTo>
                  <a:lnTo>
                    <a:pt x="680" y="320"/>
                  </a:lnTo>
                  <a:lnTo>
                    <a:pt x="664" y="312"/>
                  </a:lnTo>
                  <a:lnTo>
                    <a:pt x="632" y="296"/>
                  </a:lnTo>
                  <a:lnTo>
                    <a:pt x="616" y="296"/>
                  </a:lnTo>
                  <a:lnTo>
                    <a:pt x="608" y="296"/>
                  </a:lnTo>
                  <a:lnTo>
                    <a:pt x="608" y="288"/>
                  </a:lnTo>
                  <a:lnTo>
                    <a:pt x="592" y="264"/>
                  </a:lnTo>
                  <a:lnTo>
                    <a:pt x="584" y="264"/>
                  </a:lnTo>
                  <a:lnTo>
                    <a:pt x="576" y="264"/>
                  </a:lnTo>
                  <a:lnTo>
                    <a:pt x="576" y="256"/>
                  </a:lnTo>
                  <a:lnTo>
                    <a:pt x="576" y="224"/>
                  </a:lnTo>
                  <a:lnTo>
                    <a:pt x="592" y="208"/>
                  </a:lnTo>
                  <a:lnTo>
                    <a:pt x="600" y="192"/>
                  </a:lnTo>
                  <a:lnTo>
                    <a:pt x="616" y="184"/>
                  </a:lnTo>
                  <a:lnTo>
                    <a:pt x="624" y="184"/>
                  </a:lnTo>
                  <a:lnTo>
                    <a:pt x="624" y="176"/>
                  </a:lnTo>
                  <a:lnTo>
                    <a:pt x="608" y="168"/>
                  </a:lnTo>
                  <a:lnTo>
                    <a:pt x="608" y="168"/>
                  </a:lnTo>
                  <a:lnTo>
                    <a:pt x="608" y="168"/>
                  </a:lnTo>
                  <a:lnTo>
                    <a:pt x="608" y="168"/>
                  </a:lnTo>
                  <a:lnTo>
                    <a:pt x="616" y="168"/>
                  </a:lnTo>
                  <a:lnTo>
                    <a:pt x="632" y="176"/>
                  </a:lnTo>
                  <a:lnTo>
                    <a:pt x="632" y="176"/>
                  </a:lnTo>
                  <a:lnTo>
                    <a:pt x="640" y="176"/>
                  </a:lnTo>
                  <a:lnTo>
                    <a:pt x="640" y="160"/>
                  </a:lnTo>
                  <a:lnTo>
                    <a:pt x="640" y="160"/>
                  </a:lnTo>
                  <a:lnTo>
                    <a:pt x="648" y="160"/>
                  </a:lnTo>
                  <a:lnTo>
                    <a:pt x="656" y="160"/>
                  </a:lnTo>
                  <a:lnTo>
                    <a:pt x="664" y="152"/>
                  </a:lnTo>
                  <a:lnTo>
                    <a:pt x="672" y="144"/>
                  </a:lnTo>
                  <a:lnTo>
                    <a:pt x="672" y="144"/>
                  </a:lnTo>
                  <a:lnTo>
                    <a:pt x="672" y="144"/>
                  </a:lnTo>
                  <a:lnTo>
                    <a:pt x="672" y="144"/>
                  </a:lnTo>
                  <a:lnTo>
                    <a:pt x="664" y="136"/>
                  </a:lnTo>
                  <a:lnTo>
                    <a:pt x="640" y="136"/>
                  </a:lnTo>
                  <a:lnTo>
                    <a:pt x="632" y="128"/>
                  </a:lnTo>
                  <a:lnTo>
                    <a:pt x="632" y="128"/>
                  </a:lnTo>
                  <a:lnTo>
                    <a:pt x="640" y="128"/>
                  </a:lnTo>
                  <a:lnTo>
                    <a:pt x="648" y="128"/>
                  </a:lnTo>
                  <a:lnTo>
                    <a:pt x="656" y="136"/>
                  </a:lnTo>
                  <a:lnTo>
                    <a:pt x="672" y="136"/>
                  </a:lnTo>
                  <a:lnTo>
                    <a:pt x="680" y="128"/>
                  </a:lnTo>
                  <a:lnTo>
                    <a:pt x="680" y="120"/>
                  </a:lnTo>
                  <a:lnTo>
                    <a:pt x="680" y="112"/>
                  </a:lnTo>
                  <a:lnTo>
                    <a:pt x="680" y="112"/>
                  </a:lnTo>
                  <a:lnTo>
                    <a:pt x="680" y="112"/>
                  </a:lnTo>
                  <a:lnTo>
                    <a:pt x="688" y="112"/>
                  </a:lnTo>
                  <a:lnTo>
                    <a:pt x="696" y="120"/>
                  </a:lnTo>
                  <a:lnTo>
                    <a:pt x="704" y="120"/>
                  </a:lnTo>
                  <a:lnTo>
                    <a:pt x="712" y="120"/>
                  </a:lnTo>
                  <a:lnTo>
                    <a:pt x="712" y="112"/>
                  </a:lnTo>
                  <a:lnTo>
                    <a:pt x="712" y="112"/>
                  </a:lnTo>
                  <a:lnTo>
                    <a:pt x="720" y="112"/>
                  </a:lnTo>
                  <a:lnTo>
                    <a:pt x="720" y="112"/>
                  </a:lnTo>
                  <a:lnTo>
                    <a:pt x="720" y="112"/>
                  </a:lnTo>
                  <a:lnTo>
                    <a:pt x="728" y="112"/>
                  </a:lnTo>
                  <a:lnTo>
                    <a:pt x="744" y="96"/>
                  </a:lnTo>
                  <a:lnTo>
                    <a:pt x="744" y="96"/>
                  </a:lnTo>
                  <a:lnTo>
                    <a:pt x="736" y="88"/>
                  </a:lnTo>
                  <a:lnTo>
                    <a:pt x="736" y="80"/>
                  </a:lnTo>
                  <a:lnTo>
                    <a:pt x="728" y="72"/>
                  </a:lnTo>
                  <a:lnTo>
                    <a:pt x="744" y="64"/>
                  </a:lnTo>
                  <a:lnTo>
                    <a:pt x="744" y="64"/>
                  </a:lnTo>
                  <a:lnTo>
                    <a:pt x="744" y="64"/>
                  </a:lnTo>
                  <a:lnTo>
                    <a:pt x="744" y="64"/>
                  </a:lnTo>
                  <a:lnTo>
                    <a:pt x="744" y="56"/>
                  </a:lnTo>
                  <a:lnTo>
                    <a:pt x="744" y="56"/>
                  </a:lnTo>
                  <a:lnTo>
                    <a:pt x="736" y="56"/>
                  </a:lnTo>
                  <a:lnTo>
                    <a:pt x="720" y="48"/>
                  </a:lnTo>
                  <a:lnTo>
                    <a:pt x="704" y="40"/>
                  </a:lnTo>
                  <a:lnTo>
                    <a:pt x="688" y="40"/>
                  </a:lnTo>
                  <a:lnTo>
                    <a:pt x="688" y="48"/>
                  </a:lnTo>
                  <a:lnTo>
                    <a:pt x="688" y="48"/>
                  </a:lnTo>
                  <a:lnTo>
                    <a:pt x="696" y="56"/>
                  </a:lnTo>
                  <a:lnTo>
                    <a:pt x="696" y="64"/>
                  </a:lnTo>
                  <a:lnTo>
                    <a:pt x="688" y="72"/>
                  </a:lnTo>
                  <a:lnTo>
                    <a:pt x="680" y="80"/>
                  </a:lnTo>
                  <a:lnTo>
                    <a:pt x="672" y="96"/>
                  </a:lnTo>
                  <a:lnTo>
                    <a:pt x="664" y="96"/>
                  </a:lnTo>
                  <a:lnTo>
                    <a:pt x="656" y="88"/>
                  </a:lnTo>
                  <a:lnTo>
                    <a:pt x="656" y="80"/>
                  </a:lnTo>
                  <a:lnTo>
                    <a:pt x="664" y="72"/>
                  </a:lnTo>
                  <a:lnTo>
                    <a:pt x="664" y="64"/>
                  </a:lnTo>
                  <a:lnTo>
                    <a:pt x="648" y="56"/>
                  </a:lnTo>
                  <a:lnTo>
                    <a:pt x="640" y="56"/>
                  </a:lnTo>
                  <a:lnTo>
                    <a:pt x="632" y="72"/>
                  </a:lnTo>
                  <a:lnTo>
                    <a:pt x="632" y="72"/>
                  </a:lnTo>
                  <a:lnTo>
                    <a:pt x="632" y="72"/>
                  </a:lnTo>
                  <a:lnTo>
                    <a:pt x="632" y="64"/>
                  </a:lnTo>
                  <a:lnTo>
                    <a:pt x="616" y="56"/>
                  </a:lnTo>
                  <a:lnTo>
                    <a:pt x="616" y="56"/>
                  </a:lnTo>
                  <a:lnTo>
                    <a:pt x="624" y="48"/>
                  </a:lnTo>
                  <a:lnTo>
                    <a:pt x="624" y="48"/>
                  </a:lnTo>
                  <a:lnTo>
                    <a:pt x="608" y="48"/>
                  </a:lnTo>
                  <a:lnTo>
                    <a:pt x="600" y="48"/>
                  </a:lnTo>
                  <a:lnTo>
                    <a:pt x="600" y="48"/>
                  </a:lnTo>
                  <a:lnTo>
                    <a:pt x="608" y="40"/>
                  </a:lnTo>
                  <a:lnTo>
                    <a:pt x="608" y="32"/>
                  </a:lnTo>
                  <a:lnTo>
                    <a:pt x="600" y="24"/>
                  </a:lnTo>
                  <a:lnTo>
                    <a:pt x="600" y="0"/>
                  </a:lnTo>
                  <a:lnTo>
                    <a:pt x="568" y="0"/>
                  </a:lnTo>
                  <a:lnTo>
                    <a:pt x="568" y="0"/>
                  </a:lnTo>
                  <a:lnTo>
                    <a:pt x="568" y="0"/>
                  </a:lnTo>
                  <a:lnTo>
                    <a:pt x="568" y="8"/>
                  </a:lnTo>
                  <a:lnTo>
                    <a:pt x="568" y="8"/>
                  </a:lnTo>
                  <a:lnTo>
                    <a:pt x="560" y="8"/>
                  </a:lnTo>
                  <a:lnTo>
                    <a:pt x="552" y="8"/>
                  </a:lnTo>
                  <a:lnTo>
                    <a:pt x="560" y="16"/>
                  </a:lnTo>
                  <a:lnTo>
                    <a:pt x="552" y="24"/>
                  </a:lnTo>
                  <a:lnTo>
                    <a:pt x="552" y="40"/>
                  </a:lnTo>
                  <a:lnTo>
                    <a:pt x="584" y="48"/>
                  </a:lnTo>
                  <a:lnTo>
                    <a:pt x="584" y="56"/>
                  </a:lnTo>
                  <a:lnTo>
                    <a:pt x="576" y="64"/>
                  </a:lnTo>
                  <a:lnTo>
                    <a:pt x="576" y="64"/>
                  </a:lnTo>
                  <a:lnTo>
                    <a:pt x="592" y="64"/>
                  </a:lnTo>
                  <a:lnTo>
                    <a:pt x="592" y="64"/>
                  </a:lnTo>
                  <a:lnTo>
                    <a:pt x="592" y="64"/>
                  </a:lnTo>
                  <a:lnTo>
                    <a:pt x="592" y="72"/>
                  </a:lnTo>
                  <a:lnTo>
                    <a:pt x="568" y="80"/>
                  </a:lnTo>
                  <a:lnTo>
                    <a:pt x="568" y="96"/>
                  </a:lnTo>
                  <a:lnTo>
                    <a:pt x="568" y="96"/>
                  </a:lnTo>
                  <a:lnTo>
                    <a:pt x="560" y="96"/>
                  </a:lnTo>
                  <a:lnTo>
                    <a:pt x="560" y="96"/>
                  </a:lnTo>
                  <a:lnTo>
                    <a:pt x="560" y="80"/>
                  </a:lnTo>
                  <a:lnTo>
                    <a:pt x="560" y="80"/>
                  </a:lnTo>
                  <a:lnTo>
                    <a:pt x="560" y="80"/>
                  </a:lnTo>
                  <a:lnTo>
                    <a:pt x="552" y="72"/>
                  </a:lnTo>
                  <a:lnTo>
                    <a:pt x="528" y="72"/>
                  </a:lnTo>
                  <a:lnTo>
                    <a:pt x="528" y="88"/>
                  </a:lnTo>
                  <a:lnTo>
                    <a:pt x="528" y="88"/>
                  </a:lnTo>
                  <a:lnTo>
                    <a:pt x="520" y="88"/>
                  </a:lnTo>
                  <a:lnTo>
                    <a:pt x="504" y="88"/>
                  </a:lnTo>
                  <a:lnTo>
                    <a:pt x="472" y="88"/>
                  </a:lnTo>
                  <a:lnTo>
                    <a:pt x="440" y="72"/>
                  </a:lnTo>
                  <a:lnTo>
                    <a:pt x="432" y="64"/>
                  </a:lnTo>
                  <a:lnTo>
                    <a:pt x="432" y="64"/>
                  </a:lnTo>
                  <a:lnTo>
                    <a:pt x="424" y="64"/>
                  </a:lnTo>
                  <a:lnTo>
                    <a:pt x="400" y="64"/>
                  </a:lnTo>
                  <a:lnTo>
                    <a:pt x="400" y="80"/>
                  </a:lnTo>
                  <a:lnTo>
                    <a:pt x="416" y="80"/>
                  </a:lnTo>
                  <a:lnTo>
                    <a:pt x="432" y="72"/>
                  </a:lnTo>
                  <a:lnTo>
                    <a:pt x="432" y="72"/>
                  </a:lnTo>
                  <a:lnTo>
                    <a:pt x="432" y="72"/>
                  </a:lnTo>
                  <a:lnTo>
                    <a:pt x="432" y="80"/>
                  </a:lnTo>
                  <a:lnTo>
                    <a:pt x="408" y="80"/>
                  </a:lnTo>
                  <a:lnTo>
                    <a:pt x="408" y="96"/>
                  </a:lnTo>
                  <a:lnTo>
                    <a:pt x="408" y="104"/>
                  </a:lnTo>
                  <a:lnTo>
                    <a:pt x="408" y="104"/>
                  </a:lnTo>
                  <a:lnTo>
                    <a:pt x="408" y="104"/>
                  </a:lnTo>
                  <a:lnTo>
                    <a:pt x="400" y="88"/>
                  </a:lnTo>
                  <a:lnTo>
                    <a:pt x="392" y="88"/>
                  </a:lnTo>
                  <a:lnTo>
                    <a:pt x="384" y="80"/>
                  </a:lnTo>
                  <a:lnTo>
                    <a:pt x="384" y="80"/>
                  </a:lnTo>
                  <a:lnTo>
                    <a:pt x="360" y="80"/>
                  </a:lnTo>
                  <a:lnTo>
                    <a:pt x="360" y="80"/>
                  </a:lnTo>
                  <a:lnTo>
                    <a:pt x="344" y="88"/>
                  </a:lnTo>
                  <a:lnTo>
                    <a:pt x="336" y="88"/>
                  </a:lnTo>
                  <a:lnTo>
                    <a:pt x="328" y="88"/>
                  </a:lnTo>
                  <a:lnTo>
                    <a:pt x="320" y="88"/>
                  </a:lnTo>
                  <a:lnTo>
                    <a:pt x="320" y="80"/>
                  </a:lnTo>
                  <a:lnTo>
                    <a:pt x="328" y="80"/>
                  </a:lnTo>
                  <a:lnTo>
                    <a:pt x="320" y="64"/>
                  </a:lnTo>
                  <a:lnTo>
                    <a:pt x="312" y="64"/>
                  </a:lnTo>
                  <a:lnTo>
                    <a:pt x="296" y="64"/>
                  </a:lnTo>
                  <a:lnTo>
                    <a:pt x="296" y="64"/>
                  </a:lnTo>
                  <a:lnTo>
                    <a:pt x="280" y="64"/>
                  </a:lnTo>
                  <a:lnTo>
                    <a:pt x="240" y="48"/>
                  </a:lnTo>
                  <a:lnTo>
                    <a:pt x="224" y="48"/>
                  </a:lnTo>
                  <a:lnTo>
                    <a:pt x="216" y="48"/>
                  </a:lnTo>
                  <a:lnTo>
                    <a:pt x="208" y="48"/>
                  </a:lnTo>
                  <a:lnTo>
                    <a:pt x="200" y="40"/>
                  </a:lnTo>
                  <a:lnTo>
                    <a:pt x="200" y="40"/>
                  </a:lnTo>
                  <a:lnTo>
                    <a:pt x="200" y="40"/>
                  </a:lnTo>
                  <a:lnTo>
                    <a:pt x="200" y="40"/>
                  </a:lnTo>
                  <a:lnTo>
                    <a:pt x="192" y="48"/>
                  </a:lnTo>
                  <a:lnTo>
                    <a:pt x="184" y="48"/>
                  </a:lnTo>
                  <a:lnTo>
                    <a:pt x="168" y="40"/>
                  </a:lnTo>
                  <a:lnTo>
                    <a:pt x="160" y="32"/>
                  </a:lnTo>
                  <a:lnTo>
                    <a:pt x="152" y="40"/>
                  </a:lnTo>
                  <a:lnTo>
                    <a:pt x="144" y="40"/>
                  </a:lnTo>
                  <a:lnTo>
                    <a:pt x="136" y="40"/>
                  </a:lnTo>
                  <a:lnTo>
                    <a:pt x="136" y="40"/>
                  </a:lnTo>
                  <a:lnTo>
                    <a:pt x="120" y="40"/>
                  </a:lnTo>
                  <a:lnTo>
                    <a:pt x="104" y="48"/>
                  </a:lnTo>
                  <a:lnTo>
                    <a:pt x="96" y="48"/>
                  </a:lnTo>
                  <a:lnTo>
                    <a:pt x="88" y="48"/>
                  </a:lnTo>
                  <a:lnTo>
                    <a:pt x="88" y="48"/>
                  </a:lnTo>
                  <a:lnTo>
                    <a:pt x="80" y="56"/>
                  </a:lnTo>
                  <a:lnTo>
                    <a:pt x="56" y="56"/>
                  </a:lnTo>
                  <a:lnTo>
                    <a:pt x="56" y="64"/>
                  </a:lnTo>
                  <a:lnTo>
                    <a:pt x="64" y="64"/>
                  </a:lnTo>
                  <a:lnTo>
                    <a:pt x="64" y="64"/>
                  </a:lnTo>
                  <a:lnTo>
                    <a:pt x="48" y="64"/>
                  </a:lnTo>
                  <a:lnTo>
                    <a:pt x="32" y="64"/>
                  </a:lnTo>
                  <a:lnTo>
                    <a:pt x="8" y="48"/>
                  </a:lnTo>
                  <a:lnTo>
                    <a:pt x="8" y="48"/>
                  </a:lnTo>
                  <a:lnTo>
                    <a:pt x="8" y="48"/>
                  </a:lnTo>
                  <a:lnTo>
                    <a:pt x="8" y="48"/>
                  </a:lnTo>
                  <a:lnTo>
                    <a:pt x="0" y="48"/>
                  </a:lnTo>
                  <a:lnTo>
                    <a:pt x="0" y="232"/>
                  </a:lnTo>
                  <a:lnTo>
                    <a:pt x="8" y="240"/>
                  </a:lnTo>
                  <a:lnTo>
                    <a:pt x="16" y="240"/>
                  </a:lnTo>
                  <a:lnTo>
                    <a:pt x="16" y="240"/>
                  </a:lnTo>
                  <a:lnTo>
                    <a:pt x="24" y="240"/>
                  </a:lnTo>
                  <a:lnTo>
                    <a:pt x="32" y="248"/>
                  </a:lnTo>
                  <a:lnTo>
                    <a:pt x="40" y="264"/>
                  </a:lnTo>
                  <a:lnTo>
                    <a:pt x="48" y="264"/>
                  </a:lnTo>
                  <a:lnTo>
                    <a:pt x="56" y="248"/>
                  </a:lnTo>
                  <a:lnTo>
                    <a:pt x="64" y="248"/>
                  </a:lnTo>
                  <a:lnTo>
                    <a:pt x="72" y="248"/>
                  </a:lnTo>
                  <a:lnTo>
                    <a:pt x="72" y="248"/>
                  </a:lnTo>
                  <a:lnTo>
                    <a:pt x="80" y="256"/>
                  </a:lnTo>
                  <a:lnTo>
                    <a:pt x="96" y="272"/>
                  </a:lnTo>
                  <a:lnTo>
                    <a:pt x="104" y="288"/>
                  </a:lnTo>
                  <a:lnTo>
                    <a:pt x="104" y="296"/>
                  </a:lnTo>
                  <a:lnTo>
                    <a:pt x="112" y="304"/>
                  </a:lnTo>
                  <a:lnTo>
                    <a:pt x="120" y="304"/>
                  </a:lnTo>
                  <a:lnTo>
                    <a:pt x="136" y="320"/>
                  </a:lnTo>
                  <a:lnTo>
                    <a:pt x="128" y="328"/>
                  </a:lnTo>
                  <a:lnTo>
                    <a:pt x="136" y="336"/>
                  </a:lnTo>
                  <a:lnTo>
                    <a:pt x="136" y="344"/>
                  </a:lnTo>
                  <a:lnTo>
                    <a:pt x="136" y="352"/>
                  </a:lnTo>
                  <a:lnTo>
                    <a:pt x="128" y="360"/>
                  </a:lnTo>
                  <a:lnTo>
                    <a:pt x="144" y="360"/>
                  </a:lnTo>
                  <a:lnTo>
                    <a:pt x="144" y="360"/>
                  </a:lnTo>
                  <a:lnTo>
                    <a:pt x="144" y="368"/>
                  </a:lnTo>
                  <a:lnTo>
                    <a:pt x="144" y="368"/>
                  </a:lnTo>
                  <a:lnTo>
                    <a:pt x="152" y="376"/>
                  </a:lnTo>
                  <a:lnTo>
                    <a:pt x="152" y="376"/>
                  </a:lnTo>
                  <a:lnTo>
                    <a:pt x="160" y="384"/>
                  </a:lnTo>
                  <a:lnTo>
                    <a:pt x="160" y="384"/>
                  </a:lnTo>
                  <a:lnTo>
                    <a:pt x="168" y="400"/>
                  </a:lnTo>
                  <a:lnTo>
                    <a:pt x="168" y="408"/>
                  </a:lnTo>
                  <a:lnTo>
                    <a:pt x="184" y="408"/>
                  </a:lnTo>
                  <a:lnTo>
                    <a:pt x="184" y="408"/>
                  </a:lnTo>
                  <a:lnTo>
                    <a:pt x="184" y="408"/>
                  </a:lnTo>
                  <a:lnTo>
                    <a:pt x="200" y="416"/>
                  </a:lnTo>
                  <a:lnTo>
                    <a:pt x="200" y="424"/>
                  </a:lnTo>
                  <a:lnTo>
                    <a:pt x="216" y="432"/>
                  </a:lnTo>
                  <a:lnTo>
                    <a:pt x="216" y="432"/>
                  </a:lnTo>
                  <a:lnTo>
                    <a:pt x="224" y="432"/>
                  </a:lnTo>
                  <a:lnTo>
                    <a:pt x="576" y="432"/>
                  </a:lnTo>
                  <a:lnTo>
                    <a:pt x="576" y="424"/>
                  </a:lnTo>
                  <a:lnTo>
                    <a:pt x="576" y="424"/>
                  </a:lnTo>
                  <a:lnTo>
                    <a:pt x="576" y="432"/>
                  </a:lnTo>
                  <a:lnTo>
                    <a:pt x="584" y="440"/>
                  </a:lnTo>
                  <a:lnTo>
                    <a:pt x="584" y="440"/>
                  </a:lnTo>
                  <a:lnTo>
                    <a:pt x="608" y="440"/>
                  </a:lnTo>
                  <a:lnTo>
                    <a:pt x="608" y="440"/>
                  </a:lnTo>
                  <a:lnTo>
                    <a:pt x="616" y="448"/>
                  </a:lnTo>
                  <a:lnTo>
                    <a:pt x="624" y="448"/>
                  </a:lnTo>
                  <a:lnTo>
                    <a:pt x="648" y="448"/>
                  </a:lnTo>
                  <a:lnTo>
                    <a:pt x="648" y="448"/>
                  </a:lnTo>
                  <a:lnTo>
                    <a:pt x="656" y="448"/>
                  </a:lnTo>
                  <a:lnTo>
                    <a:pt x="656" y="440"/>
                  </a:lnTo>
                  <a:lnTo>
                    <a:pt x="664" y="440"/>
                  </a:lnTo>
                  <a:lnTo>
                    <a:pt x="672" y="440"/>
                  </a:lnTo>
                  <a:lnTo>
                    <a:pt x="672" y="448"/>
                  </a:lnTo>
                  <a:lnTo>
                    <a:pt x="672" y="440"/>
                  </a:lnTo>
                  <a:lnTo>
                    <a:pt x="672" y="440"/>
                  </a:lnTo>
                  <a:lnTo>
                    <a:pt x="672" y="440"/>
                  </a:lnTo>
                  <a:lnTo>
                    <a:pt x="680" y="440"/>
                  </a:lnTo>
                  <a:lnTo>
                    <a:pt x="680" y="440"/>
                  </a:lnTo>
                  <a:lnTo>
                    <a:pt x="696" y="456"/>
                  </a:lnTo>
                  <a:lnTo>
                    <a:pt x="696" y="464"/>
                  </a:lnTo>
                  <a:lnTo>
                    <a:pt x="704" y="464"/>
                  </a:lnTo>
                  <a:lnTo>
                    <a:pt x="704" y="464"/>
                  </a:lnTo>
                  <a:lnTo>
                    <a:pt x="704" y="472"/>
                  </a:lnTo>
                  <a:lnTo>
                    <a:pt x="736" y="480"/>
                  </a:lnTo>
                  <a:lnTo>
                    <a:pt x="736" y="488"/>
                  </a:lnTo>
                  <a:lnTo>
                    <a:pt x="744" y="488"/>
                  </a:lnTo>
                  <a:lnTo>
                    <a:pt x="744" y="488"/>
                  </a:lnTo>
                  <a:lnTo>
                    <a:pt x="760" y="488"/>
                  </a:lnTo>
                  <a:lnTo>
                    <a:pt x="760" y="504"/>
                  </a:lnTo>
                  <a:lnTo>
                    <a:pt x="744" y="504"/>
                  </a:lnTo>
                  <a:lnTo>
                    <a:pt x="744" y="496"/>
                  </a:lnTo>
                  <a:lnTo>
                    <a:pt x="744" y="496"/>
                  </a:lnTo>
                  <a:lnTo>
                    <a:pt x="744" y="504"/>
                  </a:lnTo>
                  <a:lnTo>
                    <a:pt x="736" y="528"/>
                  </a:lnTo>
                  <a:lnTo>
                    <a:pt x="720" y="536"/>
                  </a:lnTo>
                  <a:lnTo>
                    <a:pt x="728" y="544"/>
                  </a:lnTo>
                  <a:lnTo>
                    <a:pt x="728" y="544"/>
                  </a:lnTo>
                  <a:lnTo>
                    <a:pt x="736" y="536"/>
                  </a:lnTo>
                  <a:lnTo>
                    <a:pt x="752" y="536"/>
                  </a:lnTo>
                  <a:lnTo>
                    <a:pt x="760" y="536"/>
                  </a:lnTo>
                  <a:lnTo>
                    <a:pt x="768" y="536"/>
                  </a:lnTo>
                  <a:lnTo>
                    <a:pt x="768" y="536"/>
                  </a:lnTo>
                  <a:lnTo>
                    <a:pt x="768" y="528"/>
                  </a:lnTo>
                  <a:lnTo>
                    <a:pt x="760" y="528"/>
                  </a:lnTo>
                  <a:lnTo>
                    <a:pt x="760" y="520"/>
                  </a:lnTo>
                  <a:lnTo>
                    <a:pt x="768" y="520"/>
                  </a:lnTo>
                  <a:lnTo>
                    <a:pt x="768" y="520"/>
                  </a:lnTo>
                  <a:lnTo>
                    <a:pt x="776" y="520"/>
                  </a:lnTo>
                  <a:lnTo>
                    <a:pt x="808" y="512"/>
                  </a:lnTo>
                  <a:lnTo>
                    <a:pt x="816" y="512"/>
                  </a:lnTo>
                  <a:lnTo>
                    <a:pt x="824" y="504"/>
                  </a:lnTo>
                  <a:lnTo>
                    <a:pt x="832" y="496"/>
                  </a:lnTo>
                  <a:lnTo>
                    <a:pt x="840" y="496"/>
                  </a:lnTo>
                  <a:lnTo>
                    <a:pt x="856" y="496"/>
                  </a:lnTo>
                  <a:lnTo>
                    <a:pt x="864" y="496"/>
                  </a:lnTo>
                  <a:lnTo>
                    <a:pt x="872" y="488"/>
                  </a:lnTo>
                  <a:lnTo>
                    <a:pt x="872" y="488"/>
                  </a:lnTo>
                  <a:lnTo>
                    <a:pt x="888" y="472"/>
                  </a:lnTo>
                  <a:lnTo>
                    <a:pt x="896" y="456"/>
                  </a:lnTo>
                  <a:lnTo>
                    <a:pt x="896" y="456"/>
                  </a:lnTo>
                  <a:lnTo>
                    <a:pt x="904" y="456"/>
                  </a:lnTo>
                  <a:lnTo>
                    <a:pt x="904" y="456"/>
                  </a:lnTo>
                  <a:lnTo>
                    <a:pt x="912" y="456"/>
                  </a:lnTo>
                  <a:lnTo>
                    <a:pt x="920" y="464"/>
                  </a:lnTo>
                  <a:lnTo>
                    <a:pt x="920" y="496"/>
                  </a:lnTo>
                  <a:lnTo>
                    <a:pt x="920" y="496"/>
                  </a:lnTo>
                  <a:lnTo>
                    <a:pt x="920" y="49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95" name="Freeform 13"/>
            <p:cNvSpPr>
              <a:spLocks/>
            </p:cNvSpPr>
            <p:nvPr/>
          </p:nvSpPr>
          <p:spPr bwMode="auto">
            <a:xfrm>
              <a:off x="1027111" y="2197068"/>
              <a:ext cx="736599" cy="533392"/>
            </a:xfrm>
            <a:custGeom>
              <a:avLst/>
              <a:gdLst/>
              <a:ahLst/>
              <a:cxnLst>
                <a:cxn ang="0">
                  <a:pos x="344" y="232"/>
                </a:cxn>
                <a:cxn ang="0">
                  <a:pos x="376" y="256"/>
                </a:cxn>
                <a:cxn ang="0">
                  <a:pos x="400" y="240"/>
                </a:cxn>
                <a:cxn ang="0">
                  <a:pos x="432" y="288"/>
                </a:cxn>
                <a:cxn ang="0">
                  <a:pos x="456" y="320"/>
                </a:cxn>
                <a:cxn ang="0">
                  <a:pos x="432" y="320"/>
                </a:cxn>
                <a:cxn ang="0">
                  <a:pos x="416" y="304"/>
                </a:cxn>
                <a:cxn ang="0">
                  <a:pos x="424" y="288"/>
                </a:cxn>
                <a:cxn ang="0">
                  <a:pos x="408" y="288"/>
                </a:cxn>
                <a:cxn ang="0">
                  <a:pos x="408" y="272"/>
                </a:cxn>
                <a:cxn ang="0">
                  <a:pos x="384" y="264"/>
                </a:cxn>
                <a:cxn ang="0">
                  <a:pos x="360" y="256"/>
                </a:cxn>
                <a:cxn ang="0">
                  <a:pos x="320" y="240"/>
                </a:cxn>
                <a:cxn ang="0">
                  <a:pos x="256" y="216"/>
                </a:cxn>
                <a:cxn ang="0">
                  <a:pos x="232" y="224"/>
                </a:cxn>
                <a:cxn ang="0">
                  <a:pos x="208" y="256"/>
                </a:cxn>
                <a:cxn ang="0">
                  <a:pos x="192" y="248"/>
                </a:cxn>
                <a:cxn ang="0">
                  <a:pos x="216" y="216"/>
                </a:cxn>
                <a:cxn ang="0">
                  <a:pos x="208" y="216"/>
                </a:cxn>
                <a:cxn ang="0">
                  <a:pos x="168" y="256"/>
                </a:cxn>
                <a:cxn ang="0">
                  <a:pos x="144" y="288"/>
                </a:cxn>
                <a:cxn ang="0">
                  <a:pos x="88" y="320"/>
                </a:cxn>
                <a:cxn ang="0">
                  <a:pos x="48" y="328"/>
                </a:cxn>
                <a:cxn ang="0">
                  <a:pos x="112" y="288"/>
                </a:cxn>
                <a:cxn ang="0">
                  <a:pos x="144" y="256"/>
                </a:cxn>
                <a:cxn ang="0">
                  <a:pos x="112" y="256"/>
                </a:cxn>
                <a:cxn ang="0">
                  <a:pos x="88" y="256"/>
                </a:cxn>
                <a:cxn ang="0">
                  <a:pos x="72" y="264"/>
                </a:cxn>
                <a:cxn ang="0">
                  <a:pos x="72" y="248"/>
                </a:cxn>
                <a:cxn ang="0">
                  <a:pos x="56" y="248"/>
                </a:cxn>
                <a:cxn ang="0">
                  <a:pos x="24" y="224"/>
                </a:cxn>
                <a:cxn ang="0">
                  <a:pos x="16" y="200"/>
                </a:cxn>
                <a:cxn ang="0">
                  <a:pos x="80" y="160"/>
                </a:cxn>
                <a:cxn ang="0">
                  <a:pos x="80" y="152"/>
                </a:cxn>
                <a:cxn ang="0">
                  <a:pos x="80" y="144"/>
                </a:cxn>
                <a:cxn ang="0">
                  <a:pos x="56" y="152"/>
                </a:cxn>
                <a:cxn ang="0">
                  <a:pos x="16" y="152"/>
                </a:cxn>
                <a:cxn ang="0">
                  <a:pos x="8" y="136"/>
                </a:cxn>
                <a:cxn ang="0">
                  <a:pos x="0" y="128"/>
                </a:cxn>
                <a:cxn ang="0">
                  <a:pos x="40" y="104"/>
                </a:cxn>
                <a:cxn ang="0">
                  <a:pos x="56" y="120"/>
                </a:cxn>
                <a:cxn ang="0">
                  <a:pos x="72" y="120"/>
                </a:cxn>
                <a:cxn ang="0">
                  <a:pos x="48" y="96"/>
                </a:cxn>
                <a:cxn ang="0">
                  <a:pos x="8" y="72"/>
                </a:cxn>
                <a:cxn ang="0">
                  <a:pos x="40" y="56"/>
                </a:cxn>
                <a:cxn ang="0">
                  <a:pos x="104" y="16"/>
                </a:cxn>
                <a:cxn ang="0">
                  <a:pos x="136" y="0"/>
                </a:cxn>
                <a:cxn ang="0">
                  <a:pos x="144" y="8"/>
                </a:cxn>
                <a:cxn ang="0">
                  <a:pos x="152" y="16"/>
                </a:cxn>
                <a:cxn ang="0">
                  <a:pos x="160" y="16"/>
                </a:cxn>
                <a:cxn ang="0">
                  <a:pos x="200" y="24"/>
                </a:cxn>
                <a:cxn ang="0">
                  <a:pos x="240" y="24"/>
                </a:cxn>
                <a:cxn ang="0">
                  <a:pos x="320" y="32"/>
                </a:cxn>
                <a:cxn ang="0">
                  <a:pos x="328" y="40"/>
                </a:cxn>
              </a:cxnLst>
              <a:rect l="0" t="0" r="r" b="b"/>
              <a:pathLst>
                <a:path w="464" h="336">
                  <a:moveTo>
                    <a:pt x="328" y="224"/>
                  </a:moveTo>
                  <a:lnTo>
                    <a:pt x="336" y="232"/>
                  </a:lnTo>
                  <a:lnTo>
                    <a:pt x="344" y="232"/>
                  </a:lnTo>
                  <a:lnTo>
                    <a:pt x="344" y="232"/>
                  </a:lnTo>
                  <a:lnTo>
                    <a:pt x="352" y="232"/>
                  </a:lnTo>
                  <a:lnTo>
                    <a:pt x="360" y="240"/>
                  </a:lnTo>
                  <a:lnTo>
                    <a:pt x="368" y="256"/>
                  </a:lnTo>
                  <a:lnTo>
                    <a:pt x="376" y="256"/>
                  </a:lnTo>
                  <a:lnTo>
                    <a:pt x="384" y="240"/>
                  </a:lnTo>
                  <a:lnTo>
                    <a:pt x="392" y="240"/>
                  </a:lnTo>
                  <a:lnTo>
                    <a:pt x="400" y="240"/>
                  </a:lnTo>
                  <a:lnTo>
                    <a:pt x="400" y="240"/>
                  </a:lnTo>
                  <a:lnTo>
                    <a:pt x="408" y="248"/>
                  </a:lnTo>
                  <a:lnTo>
                    <a:pt x="424" y="264"/>
                  </a:lnTo>
                  <a:lnTo>
                    <a:pt x="432" y="280"/>
                  </a:lnTo>
                  <a:lnTo>
                    <a:pt x="432" y="288"/>
                  </a:lnTo>
                  <a:lnTo>
                    <a:pt x="440" y="296"/>
                  </a:lnTo>
                  <a:lnTo>
                    <a:pt x="448" y="296"/>
                  </a:lnTo>
                  <a:lnTo>
                    <a:pt x="464" y="312"/>
                  </a:lnTo>
                  <a:lnTo>
                    <a:pt x="456" y="320"/>
                  </a:lnTo>
                  <a:lnTo>
                    <a:pt x="456" y="328"/>
                  </a:lnTo>
                  <a:lnTo>
                    <a:pt x="456" y="328"/>
                  </a:lnTo>
                  <a:lnTo>
                    <a:pt x="448" y="328"/>
                  </a:lnTo>
                  <a:lnTo>
                    <a:pt x="432" y="320"/>
                  </a:lnTo>
                  <a:lnTo>
                    <a:pt x="432" y="312"/>
                  </a:lnTo>
                  <a:lnTo>
                    <a:pt x="432" y="304"/>
                  </a:lnTo>
                  <a:lnTo>
                    <a:pt x="432" y="304"/>
                  </a:lnTo>
                  <a:lnTo>
                    <a:pt x="416" y="304"/>
                  </a:lnTo>
                  <a:lnTo>
                    <a:pt x="416" y="296"/>
                  </a:lnTo>
                  <a:lnTo>
                    <a:pt x="416" y="296"/>
                  </a:lnTo>
                  <a:lnTo>
                    <a:pt x="424" y="288"/>
                  </a:lnTo>
                  <a:lnTo>
                    <a:pt x="424" y="288"/>
                  </a:lnTo>
                  <a:lnTo>
                    <a:pt x="424" y="280"/>
                  </a:lnTo>
                  <a:lnTo>
                    <a:pt x="424" y="280"/>
                  </a:lnTo>
                  <a:lnTo>
                    <a:pt x="416" y="280"/>
                  </a:lnTo>
                  <a:lnTo>
                    <a:pt x="408" y="288"/>
                  </a:lnTo>
                  <a:lnTo>
                    <a:pt x="400" y="280"/>
                  </a:lnTo>
                  <a:lnTo>
                    <a:pt x="400" y="280"/>
                  </a:lnTo>
                  <a:lnTo>
                    <a:pt x="408" y="272"/>
                  </a:lnTo>
                  <a:lnTo>
                    <a:pt x="408" y="272"/>
                  </a:lnTo>
                  <a:lnTo>
                    <a:pt x="400" y="272"/>
                  </a:lnTo>
                  <a:lnTo>
                    <a:pt x="400" y="264"/>
                  </a:lnTo>
                  <a:lnTo>
                    <a:pt x="392" y="264"/>
                  </a:lnTo>
                  <a:lnTo>
                    <a:pt x="384" y="264"/>
                  </a:lnTo>
                  <a:lnTo>
                    <a:pt x="384" y="264"/>
                  </a:lnTo>
                  <a:lnTo>
                    <a:pt x="384" y="272"/>
                  </a:lnTo>
                  <a:lnTo>
                    <a:pt x="376" y="272"/>
                  </a:lnTo>
                  <a:lnTo>
                    <a:pt x="360" y="256"/>
                  </a:lnTo>
                  <a:lnTo>
                    <a:pt x="352" y="248"/>
                  </a:lnTo>
                  <a:lnTo>
                    <a:pt x="328" y="240"/>
                  </a:lnTo>
                  <a:lnTo>
                    <a:pt x="320" y="240"/>
                  </a:lnTo>
                  <a:lnTo>
                    <a:pt x="320" y="240"/>
                  </a:lnTo>
                  <a:lnTo>
                    <a:pt x="296" y="240"/>
                  </a:lnTo>
                  <a:lnTo>
                    <a:pt x="280" y="232"/>
                  </a:lnTo>
                  <a:lnTo>
                    <a:pt x="256" y="224"/>
                  </a:lnTo>
                  <a:lnTo>
                    <a:pt x="256" y="216"/>
                  </a:lnTo>
                  <a:lnTo>
                    <a:pt x="256" y="216"/>
                  </a:lnTo>
                  <a:lnTo>
                    <a:pt x="240" y="216"/>
                  </a:lnTo>
                  <a:lnTo>
                    <a:pt x="232" y="224"/>
                  </a:lnTo>
                  <a:lnTo>
                    <a:pt x="232" y="224"/>
                  </a:lnTo>
                  <a:lnTo>
                    <a:pt x="240" y="224"/>
                  </a:lnTo>
                  <a:lnTo>
                    <a:pt x="240" y="224"/>
                  </a:lnTo>
                  <a:lnTo>
                    <a:pt x="232" y="232"/>
                  </a:lnTo>
                  <a:lnTo>
                    <a:pt x="208" y="256"/>
                  </a:lnTo>
                  <a:lnTo>
                    <a:pt x="192" y="256"/>
                  </a:lnTo>
                  <a:lnTo>
                    <a:pt x="192" y="248"/>
                  </a:lnTo>
                  <a:lnTo>
                    <a:pt x="192" y="248"/>
                  </a:lnTo>
                  <a:lnTo>
                    <a:pt x="192" y="248"/>
                  </a:lnTo>
                  <a:lnTo>
                    <a:pt x="192" y="240"/>
                  </a:lnTo>
                  <a:lnTo>
                    <a:pt x="192" y="240"/>
                  </a:lnTo>
                  <a:lnTo>
                    <a:pt x="192" y="224"/>
                  </a:lnTo>
                  <a:lnTo>
                    <a:pt x="216" y="216"/>
                  </a:lnTo>
                  <a:lnTo>
                    <a:pt x="216" y="216"/>
                  </a:lnTo>
                  <a:lnTo>
                    <a:pt x="216" y="216"/>
                  </a:lnTo>
                  <a:lnTo>
                    <a:pt x="216" y="216"/>
                  </a:lnTo>
                  <a:lnTo>
                    <a:pt x="208" y="216"/>
                  </a:lnTo>
                  <a:lnTo>
                    <a:pt x="200" y="216"/>
                  </a:lnTo>
                  <a:lnTo>
                    <a:pt x="168" y="240"/>
                  </a:lnTo>
                  <a:lnTo>
                    <a:pt x="168" y="256"/>
                  </a:lnTo>
                  <a:lnTo>
                    <a:pt x="168" y="256"/>
                  </a:lnTo>
                  <a:lnTo>
                    <a:pt x="168" y="264"/>
                  </a:lnTo>
                  <a:lnTo>
                    <a:pt x="160" y="272"/>
                  </a:lnTo>
                  <a:lnTo>
                    <a:pt x="144" y="280"/>
                  </a:lnTo>
                  <a:lnTo>
                    <a:pt x="144" y="288"/>
                  </a:lnTo>
                  <a:lnTo>
                    <a:pt x="136" y="296"/>
                  </a:lnTo>
                  <a:lnTo>
                    <a:pt x="112" y="304"/>
                  </a:lnTo>
                  <a:lnTo>
                    <a:pt x="104" y="312"/>
                  </a:lnTo>
                  <a:lnTo>
                    <a:pt x="88" y="320"/>
                  </a:lnTo>
                  <a:lnTo>
                    <a:pt x="56" y="328"/>
                  </a:lnTo>
                  <a:lnTo>
                    <a:pt x="32" y="336"/>
                  </a:lnTo>
                  <a:lnTo>
                    <a:pt x="40" y="336"/>
                  </a:lnTo>
                  <a:lnTo>
                    <a:pt x="48" y="328"/>
                  </a:lnTo>
                  <a:lnTo>
                    <a:pt x="64" y="320"/>
                  </a:lnTo>
                  <a:lnTo>
                    <a:pt x="80" y="312"/>
                  </a:lnTo>
                  <a:lnTo>
                    <a:pt x="96" y="304"/>
                  </a:lnTo>
                  <a:lnTo>
                    <a:pt x="112" y="288"/>
                  </a:lnTo>
                  <a:lnTo>
                    <a:pt x="128" y="280"/>
                  </a:lnTo>
                  <a:lnTo>
                    <a:pt x="144" y="256"/>
                  </a:lnTo>
                  <a:lnTo>
                    <a:pt x="144" y="256"/>
                  </a:lnTo>
                  <a:lnTo>
                    <a:pt x="144" y="256"/>
                  </a:lnTo>
                  <a:lnTo>
                    <a:pt x="136" y="256"/>
                  </a:lnTo>
                  <a:lnTo>
                    <a:pt x="128" y="264"/>
                  </a:lnTo>
                  <a:lnTo>
                    <a:pt x="112" y="256"/>
                  </a:lnTo>
                  <a:lnTo>
                    <a:pt x="112" y="256"/>
                  </a:lnTo>
                  <a:lnTo>
                    <a:pt x="112" y="256"/>
                  </a:lnTo>
                  <a:lnTo>
                    <a:pt x="104" y="264"/>
                  </a:lnTo>
                  <a:lnTo>
                    <a:pt x="96" y="264"/>
                  </a:lnTo>
                  <a:lnTo>
                    <a:pt x="88" y="256"/>
                  </a:lnTo>
                  <a:lnTo>
                    <a:pt x="88" y="264"/>
                  </a:lnTo>
                  <a:lnTo>
                    <a:pt x="88" y="264"/>
                  </a:lnTo>
                  <a:lnTo>
                    <a:pt x="80" y="264"/>
                  </a:lnTo>
                  <a:lnTo>
                    <a:pt x="72" y="264"/>
                  </a:lnTo>
                  <a:lnTo>
                    <a:pt x="72" y="264"/>
                  </a:lnTo>
                  <a:lnTo>
                    <a:pt x="72" y="256"/>
                  </a:lnTo>
                  <a:lnTo>
                    <a:pt x="72" y="256"/>
                  </a:lnTo>
                  <a:lnTo>
                    <a:pt x="72" y="248"/>
                  </a:lnTo>
                  <a:lnTo>
                    <a:pt x="64" y="240"/>
                  </a:lnTo>
                  <a:lnTo>
                    <a:pt x="64" y="240"/>
                  </a:lnTo>
                  <a:lnTo>
                    <a:pt x="56" y="248"/>
                  </a:lnTo>
                  <a:lnTo>
                    <a:pt x="56" y="248"/>
                  </a:lnTo>
                  <a:lnTo>
                    <a:pt x="56" y="248"/>
                  </a:lnTo>
                  <a:lnTo>
                    <a:pt x="32" y="232"/>
                  </a:lnTo>
                  <a:lnTo>
                    <a:pt x="24" y="224"/>
                  </a:lnTo>
                  <a:lnTo>
                    <a:pt x="24" y="224"/>
                  </a:lnTo>
                  <a:lnTo>
                    <a:pt x="32" y="224"/>
                  </a:lnTo>
                  <a:lnTo>
                    <a:pt x="32" y="224"/>
                  </a:lnTo>
                  <a:lnTo>
                    <a:pt x="16" y="208"/>
                  </a:lnTo>
                  <a:lnTo>
                    <a:pt x="16" y="200"/>
                  </a:lnTo>
                  <a:lnTo>
                    <a:pt x="40" y="184"/>
                  </a:lnTo>
                  <a:lnTo>
                    <a:pt x="56" y="184"/>
                  </a:lnTo>
                  <a:lnTo>
                    <a:pt x="80" y="168"/>
                  </a:lnTo>
                  <a:lnTo>
                    <a:pt x="80" y="160"/>
                  </a:lnTo>
                  <a:lnTo>
                    <a:pt x="72" y="152"/>
                  </a:lnTo>
                  <a:lnTo>
                    <a:pt x="72" y="152"/>
                  </a:lnTo>
                  <a:lnTo>
                    <a:pt x="80" y="152"/>
                  </a:lnTo>
                  <a:lnTo>
                    <a:pt x="80" y="152"/>
                  </a:lnTo>
                  <a:lnTo>
                    <a:pt x="80" y="152"/>
                  </a:lnTo>
                  <a:lnTo>
                    <a:pt x="80" y="144"/>
                  </a:lnTo>
                  <a:lnTo>
                    <a:pt x="80" y="144"/>
                  </a:lnTo>
                  <a:lnTo>
                    <a:pt x="80" y="144"/>
                  </a:lnTo>
                  <a:lnTo>
                    <a:pt x="80" y="144"/>
                  </a:lnTo>
                  <a:lnTo>
                    <a:pt x="72" y="144"/>
                  </a:lnTo>
                  <a:lnTo>
                    <a:pt x="64" y="152"/>
                  </a:lnTo>
                  <a:lnTo>
                    <a:pt x="56" y="152"/>
                  </a:lnTo>
                  <a:lnTo>
                    <a:pt x="40" y="152"/>
                  </a:lnTo>
                  <a:lnTo>
                    <a:pt x="40" y="152"/>
                  </a:lnTo>
                  <a:lnTo>
                    <a:pt x="40" y="152"/>
                  </a:lnTo>
                  <a:lnTo>
                    <a:pt x="16" y="152"/>
                  </a:lnTo>
                  <a:lnTo>
                    <a:pt x="16" y="152"/>
                  </a:lnTo>
                  <a:lnTo>
                    <a:pt x="16" y="144"/>
                  </a:lnTo>
                  <a:lnTo>
                    <a:pt x="8" y="144"/>
                  </a:lnTo>
                  <a:lnTo>
                    <a:pt x="8" y="136"/>
                  </a:lnTo>
                  <a:lnTo>
                    <a:pt x="8" y="136"/>
                  </a:lnTo>
                  <a:lnTo>
                    <a:pt x="8" y="136"/>
                  </a:lnTo>
                  <a:lnTo>
                    <a:pt x="0" y="136"/>
                  </a:lnTo>
                  <a:lnTo>
                    <a:pt x="0" y="128"/>
                  </a:lnTo>
                  <a:lnTo>
                    <a:pt x="0" y="128"/>
                  </a:lnTo>
                  <a:lnTo>
                    <a:pt x="16" y="120"/>
                  </a:lnTo>
                  <a:lnTo>
                    <a:pt x="40" y="104"/>
                  </a:lnTo>
                  <a:lnTo>
                    <a:pt x="40" y="104"/>
                  </a:lnTo>
                  <a:lnTo>
                    <a:pt x="48" y="104"/>
                  </a:lnTo>
                  <a:lnTo>
                    <a:pt x="48" y="104"/>
                  </a:lnTo>
                  <a:lnTo>
                    <a:pt x="48" y="120"/>
                  </a:lnTo>
                  <a:lnTo>
                    <a:pt x="56" y="120"/>
                  </a:lnTo>
                  <a:lnTo>
                    <a:pt x="64" y="120"/>
                  </a:lnTo>
                  <a:lnTo>
                    <a:pt x="64" y="120"/>
                  </a:lnTo>
                  <a:lnTo>
                    <a:pt x="72" y="120"/>
                  </a:lnTo>
                  <a:lnTo>
                    <a:pt x="72" y="120"/>
                  </a:lnTo>
                  <a:lnTo>
                    <a:pt x="72" y="120"/>
                  </a:lnTo>
                  <a:lnTo>
                    <a:pt x="72" y="112"/>
                  </a:lnTo>
                  <a:lnTo>
                    <a:pt x="64" y="104"/>
                  </a:lnTo>
                  <a:lnTo>
                    <a:pt x="48" y="96"/>
                  </a:lnTo>
                  <a:lnTo>
                    <a:pt x="40" y="80"/>
                  </a:lnTo>
                  <a:lnTo>
                    <a:pt x="24" y="72"/>
                  </a:lnTo>
                  <a:lnTo>
                    <a:pt x="8" y="72"/>
                  </a:lnTo>
                  <a:lnTo>
                    <a:pt x="8" y="72"/>
                  </a:lnTo>
                  <a:lnTo>
                    <a:pt x="16" y="56"/>
                  </a:lnTo>
                  <a:lnTo>
                    <a:pt x="16" y="56"/>
                  </a:lnTo>
                  <a:lnTo>
                    <a:pt x="40" y="56"/>
                  </a:lnTo>
                  <a:lnTo>
                    <a:pt x="40" y="56"/>
                  </a:lnTo>
                  <a:lnTo>
                    <a:pt x="48" y="40"/>
                  </a:lnTo>
                  <a:lnTo>
                    <a:pt x="80" y="24"/>
                  </a:lnTo>
                  <a:lnTo>
                    <a:pt x="96" y="16"/>
                  </a:lnTo>
                  <a:lnTo>
                    <a:pt x="104" y="16"/>
                  </a:lnTo>
                  <a:lnTo>
                    <a:pt x="112" y="16"/>
                  </a:lnTo>
                  <a:lnTo>
                    <a:pt x="112" y="16"/>
                  </a:lnTo>
                  <a:lnTo>
                    <a:pt x="120" y="8"/>
                  </a:lnTo>
                  <a:lnTo>
                    <a:pt x="136" y="0"/>
                  </a:lnTo>
                  <a:lnTo>
                    <a:pt x="136" y="0"/>
                  </a:lnTo>
                  <a:lnTo>
                    <a:pt x="144" y="8"/>
                  </a:lnTo>
                  <a:lnTo>
                    <a:pt x="144" y="8"/>
                  </a:lnTo>
                  <a:lnTo>
                    <a:pt x="144" y="8"/>
                  </a:lnTo>
                  <a:lnTo>
                    <a:pt x="144" y="16"/>
                  </a:lnTo>
                  <a:lnTo>
                    <a:pt x="144" y="16"/>
                  </a:lnTo>
                  <a:lnTo>
                    <a:pt x="144" y="16"/>
                  </a:lnTo>
                  <a:lnTo>
                    <a:pt x="152" y="16"/>
                  </a:lnTo>
                  <a:lnTo>
                    <a:pt x="152" y="8"/>
                  </a:lnTo>
                  <a:lnTo>
                    <a:pt x="152" y="8"/>
                  </a:lnTo>
                  <a:lnTo>
                    <a:pt x="160" y="8"/>
                  </a:lnTo>
                  <a:lnTo>
                    <a:pt x="160" y="16"/>
                  </a:lnTo>
                  <a:lnTo>
                    <a:pt x="184" y="16"/>
                  </a:lnTo>
                  <a:lnTo>
                    <a:pt x="184" y="16"/>
                  </a:lnTo>
                  <a:lnTo>
                    <a:pt x="192" y="16"/>
                  </a:lnTo>
                  <a:lnTo>
                    <a:pt x="200" y="24"/>
                  </a:lnTo>
                  <a:lnTo>
                    <a:pt x="200" y="24"/>
                  </a:lnTo>
                  <a:lnTo>
                    <a:pt x="232" y="24"/>
                  </a:lnTo>
                  <a:lnTo>
                    <a:pt x="232" y="24"/>
                  </a:lnTo>
                  <a:lnTo>
                    <a:pt x="240" y="24"/>
                  </a:lnTo>
                  <a:lnTo>
                    <a:pt x="272" y="32"/>
                  </a:lnTo>
                  <a:lnTo>
                    <a:pt x="296" y="32"/>
                  </a:lnTo>
                  <a:lnTo>
                    <a:pt x="312" y="32"/>
                  </a:lnTo>
                  <a:lnTo>
                    <a:pt x="320" y="32"/>
                  </a:lnTo>
                  <a:lnTo>
                    <a:pt x="328" y="40"/>
                  </a:lnTo>
                  <a:lnTo>
                    <a:pt x="328" y="40"/>
                  </a:lnTo>
                  <a:lnTo>
                    <a:pt x="328" y="40"/>
                  </a:lnTo>
                  <a:lnTo>
                    <a:pt x="328" y="40"/>
                  </a:lnTo>
                  <a:lnTo>
                    <a:pt x="328" y="224"/>
                  </a:lnTo>
                  <a:close/>
                </a:path>
              </a:pathLst>
            </a:custGeom>
            <a:solidFill>
              <a:schemeClr val="accent1"/>
            </a:solid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96" name="Freeform 14"/>
            <p:cNvSpPr>
              <a:spLocks/>
            </p:cNvSpPr>
            <p:nvPr/>
          </p:nvSpPr>
          <p:spPr bwMode="auto">
            <a:xfrm>
              <a:off x="2894009" y="1663676"/>
              <a:ext cx="1193798" cy="901687"/>
            </a:xfrm>
            <a:custGeom>
              <a:avLst/>
              <a:gdLst/>
              <a:ahLst/>
              <a:cxnLst>
                <a:cxn ang="0">
                  <a:pos x="280" y="376"/>
                </a:cxn>
                <a:cxn ang="0">
                  <a:pos x="240" y="344"/>
                </a:cxn>
                <a:cxn ang="0">
                  <a:pos x="248" y="320"/>
                </a:cxn>
                <a:cxn ang="0">
                  <a:pos x="224" y="312"/>
                </a:cxn>
                <a:cxn ang="0">
                  <a:pos x="160" y="216"/>
                </a:cxn>
                <a:cxn ang="0">
                  <a:pos x="80" y="216"/>
                </a:cxn>
                <a:cxn ang="0">
                  <a:pos x="72" y="224"/>
                </a:cxn>
                <a:cxn ang="0">
                  <a:pos x="56" y="208"/>
                </a:cxn>
                <a:cxn ang="0">
                  <a:pos x="24" y="200"/>
                </a:cxn>
                <a:cxn ang="0">
                  <a:pos x="48" y="192"/>
                </a:cxn>
                <a:cxn ang="0">
                  <a:pos x="88" y="176"/>
                </a:cxn>
                <a:cxn ang="0">
                  <a:pos x="48" y="176"/>
                </a:cxn>
                <a:cxn ang="0">
                  <a:pos x="56" y="136"/>
                </a:cxn>
                <a:cxn ang="0">
                  <a:pos x="88" y="112"/>
                </a:cxn>
                <a:cxn ang="0">
                  <a:pos x="120" y="72"/>
                </a:cxn>
                <a:cxn ang="0">
                  <a:pos x="224" y="40"/>
                </a:cxn>
                <a:cxn ang="0">
                  <a:pos x="240" y="40"/>
                </a:cxn>
                <a:cxn ang="0">
                  <a:pos x="272" y="48"/>
                </a:cxn>
                <a:cxn ang="0">
                  <a:pos x="312" y="48"/>
                </a:cxn>
                <a:cxn ang="0">
                  <a:pos x="328" y="24"/>
                </a:cxn>
                <a:cxn ang="0">
                  <a:pos x="368" y="8"/>
                </a:cxn>
                <a:cxn ang="0">
                  <a:pos x="392" y="8"/>
                </a:cxn>
                <a:cxn ang="0">
                  <a:pos x="536" y="0"/>
                </a:cxn>
                <a:cxn ang="0">
                  <a:pos x="640" y="24"/>
                </a:cxn>
                <a:cxn ang="0">
                  <a:pos x="504" y="56"/>
                </a:cxn>
                <a:cxn ang="0">
                  <a:pos x="576" y="64"/>
                </a:cxn>
                <a:cxn ang="0">
                  <a:pos x="632" y="64"/>
                </a:cxn>
                <a:cxn ang="0">
                  <a:pos x="656" y="64"/>
                </a:cxn>
                <a:cxn ang="0">
                  <a:pos x="696" y="56"/>
                </a:cxn>
                <a:cxn ang="0">
                  <a:pos x="752" y="56"/>
                </a:cxn>
                <a:cxn ang="0">
                  <a:pos x="704" y="88"/>
                </a:cxn>
                <a:cxn ang="0">
                  <a:pos x="688" y="104"/>
                </a:cxn>
                <a:cxn ang="0">
                  <a:pos x="672" y="136"/>
                </a:cxn>
                <a:cxn ang="0">
                  <a:pos x="664" y="168"/>
                </a:cxn>
                <a:cxn ang="0">
                  <a:pos x="688" y="200"/>
                </a:cxn>
                <a:cxn ang="0">
                  <a:pos x="664" y="208"/>
                </a:cxn>
                <a:cxn ang="0">
                  <a:pos x="656" y="248"/>
                </a:cxn>
                <a:cxn ang="0">
                  <a:pos x="648" y="264"/>
                </a:cxn>
                <a:cxn ang="0">
                  <a:pos x="632" y="288"/>
                </a:cxn>
                <a:cxn ang="0">
                  <a:pos x="616" y="288"/>
                </a:cxn>
                <a:cxn ang="0">
                  <a:pos x="608" y="288"/>
                </a:cxn>
                <a:cxn ang="0">
                  <a:pos x="648" y="328"/>
                </a:cxn>
                <a:cxn ang="0">
                  <a:pos x="592" y="328"/>
                </a:cxn>
                <a:cxn ang="0">
                  <a:pos x="584" y="352"/>
                </a:cxn>
                <a:cxn ang="0">
                  <a:pos x="592" y="392"/>
                </a:cxn>
                <a:cxn ang="0">
                  <a:pos x="512" y="408"/>
                </a:cxn>
                <a:cxn ang="0">
                  <a:pos x="456" y="448"/>
                </a:cxn>
                <a:cxn ang="0">
                  <a:pos x="440" y="448"/>
                </a:cxn>
                <a:cxn ang="0">
                  <a:pos x="408" y="488"/>
                </a:cxn>
                <a:cxn ang="0">
                  <a:pos x="384" y="536"/>
                </a:cxn>
                <a:cxn ang="0">
                  <a:pos x="360" y="568"/>
                </a:cxn>
                <a:cxn ang="0">
                  <a:pos x="312" y="552"/>
                </a:cxn>
                <a:cxn ang="0">
                  <a:pos x="288" y="528"/>
                </a:cxn>
                <a:cxn ang="0">
                  <a:pos x="264" y="480"/>
                </a:cxn>
                <a:cxn ang="0">
                  <a:pos x="248" y="432"/>
                </a:cxn>
                <a:cxn ang="0">
                  <a:pos x="248" y="408"/>
                </a:cxn>
              </a:cxnLst>
              <a:rect l="0" t="0" r="r" b="b"/>
              <a:pathLst>
                <a:path w="752" h="568">
                  <a:moveTo>
                    <a:pt x="264" y="392"/>
                  </a:moveTo>
                  <a:lnTo>
                    <a:pt x="264" y="392"/>
                  </a:lnTo>
                  <a:lnTo>
                    <a:pt x="272" y="392"/>
                  </a:lnTo>
                  <a:lnTo>
                    <a:pt x="272" y="392"/>
                  </a:lnTo>
                  <a:lnTo>
                    <a:pt x="272" y="392"/>
                  </a:lnTo>
                  <a:lnTo>
                    <a:pt x="280" y="376"/>
                  </a:lnTo>
                  <a:lnTo>
                    <a:pt x="280" y="368"/>
                  </a:lnTo>
                  <a:lnTo>
                    <a:pt x="280" y="368"/>
                  </a:lnTo>
                  <a:lnTo>
                    <a:pt x="264" y="360"/>
                  </a:lnTo>
                  <a:lnTo>
                    <a:pt x="232" y="352"/>
                  </a:lnTo>
                  <a:lnTo>
                    <a:pt x="232" y="344"/>
                  </a:lnTo>
                  <a:lnTo>
                    <a:pt x="240" y="344"/>
                  </a:lnTo>
                  <a:lnTo>
                    <a:pt x="248" y="344"/>
                  </a:lnTo>
                  <a:lnTo>
                    <a:pt x="264" y="352"/>
                  </a:lnTo>
                  <a:lnTo>
                    <a:pt x="272" y="352"/>
                  </a:lnTo>
                  <a:lnTo>
                    <a:pt x="272" y="352"/>
                  </a:lnTo>
                  <a:lnTo>
                    <a:pt x="264" y="344"/>
                  </a:lnTo>
                  <a:lnTo>
                    <a:pt x="248" y="320"/>
                  </a:lnTo>
                  <a:lnTo>
                    <a:pt x="240" y="320"/>
                  </a:lnTo>
                  <a:lnTo>
                    <a:pt x="240" y="320"/>
                  </a:lnTo>
                  <a:lnTo>
                    <a:pt x="232" y="328"/>
                  </a:lnTo>
                  <a:lnTo>
                    <a:pt x="216" y="328"/>
                  </a:lnTo>
                  <a:lnTo>
                    <a:pt x="216" y="320"/>
                  </a:lnTo>
                  <a:lnTo>
                    <a:pt x="224" y="312"/>
                  </a:lnTo>
                  <a:lnTo>
                    <a:pt x="224" y="296"/>
                  </a:lnTo>
                  <a:lnTo>
                    <a:pt x="216" y="296"/>
                  </a:lnTo>
                  <a:lnTo>
                    <a:pt x="216" y="296"/>
                  </a:lnTo>
                  <a:lnTo>
                    <a:pt x="216" y="288"/>
                  </a:lnTo>
                  <a:lnTo>
                    <a:pt x="208" y="256"/>
                  </a:lnTo>
                  <a:lnTo>
                    <a:pt x="160" y="216"/>
                  </a:lnTo>
                  <a:lnTo>
                    <a:pt x="128" y="216"/>
                  </a:lnTo>
                  <a:lnTo>
                    <a:pt x="112" y="216"/>
                  </a:lnTo>
                  <a:lnTo>
                    <a:pt x="112" y="216"/>
                  </a:lnTo>
                  <a:lnTo>
                    <a:pt x="104" y="216"/>
                  </a:lnTo>
                  <a:lnTo>
                    <a:pt x="88" y="216"/>
                  </a:lnTo>
                  <a:lnTo>
                    <a:pt x="80" y="216"/>
                  </a:lnTo>
                  <a:lnTo>
                    <a:pt x="72" y="216"/>
                  </a:lnTo>
                  <a:lnTo>
                    <a:pt x="72" y="216"/>
                  </a:lnTo>
                  <a:lnTo>
                    <a:pt x="80" y="224"/>
                  </a:lnTo>
                  <a:lnTo>
                    <a:pt x="80" y="224"/>
                  </a:lnTo>
                  <a:lnTo>
                    <a:pt x="80" y="224"/>
                  </a:lnTo>
                  <a:lnTo>
                    <a:pt x="72" y="224"/>
                  </a:lnTo>
                  <a:lnTo>
                    <a:pt x="72" y="224"/>
                  </a:lnTo>
                  <a:lnTo>
                    <a:pt x="48" y="216"/>
                  </a:lnTo>
                  <a:lnTo>
                    <a:pt x="48" y="208"/>
                  </a:lnTo>
                  <a:lnTo>
                    <a:pt x="48" y="208"/>
                  </a:lnTo>
                  <a:lnTo>
                    <a:pt x="56" y="208"/>
                  </a:lnTo>
                  <a:lnTo>
                    <a:pt x="56" y="208"/>
                  </a:lnTo>
                  <a:lnTo>
                    <a:pt x="56" y="208"/>
                  </a:lnTo>
                  <a:lnTo>
                    <a:pt x="48" y="200"/>
                  </a:lnTo>
                  <a:lnTo>
                    <a:pt x="40" y="200"/>
                  </a:lnTo>
                  <a:lnTo>
                    <a:pt x="40" y="200"/>
                  </a:lnTo>
                  <a:lnTo>
                    <a:pt x="32" y="200"/>
                  </a:lnTo>
                  <a:lnTo>
                    <a:pt x="24" y="200"/>
                  </a:lnTo>
                  <a:lnTo>
                    <a:pt x="24" y="200"/>
                  </a:lnTo>
                  <a:lnTo>
                    <a:pt x="24" y="200"/>
                  </a:lnTo>
                  <a:lnTo>
                    <a:pt x="24" y="192"/>
                  </a:lnTo>
                  <a:lnTo>
                    <a:pt x="32" y="192"/>
                  </a:lnTo>
                  <a:lnTo>
                    <a:pt x="48" y="192"/>
                  </a:lnTo>
                  <a:lnTo>
                    <a:pt x="48" y="192"/>
                  </a:lnTo>
                  <a:lnTo>
                    <a:pt x="56" y="184"/>
                  </a:lnTo>
                  <a:lnTo>
                    <a:pt x="56" y="184"/>
                  </a:lnTo>
                  <a:lnTo>
                    <a:pt x="80" y="184"/>
                  </a:lnTo>
                  <a:lnTo>
                    <a:pt x="80" y="184"/>
                  </a:lnTo>
                  <a:lnTo>
                    <a:pt x="80" y="184"/>
                  </a:lnTo>
                  <a:lnTo>
                    <a:pt x="88" y="176"/>
                  </a:lnTo>
                  <a:lnTo>
                    <a:pt x="88" y="176"/>
                  </a:lnTo>
                  <a:lnTo>
                    <a:pt x="64" y="176"/>
                  </a:lnTo>
                  <a:lnTo>
                    <a:pt x="64" y="176"/>
                  </a:lnTo>
                  <a:lnTo>
                    <a:pt x="64" y="176"/>
                  </a:lnTo>
                  <a:lnTo>
                    <a:pt x="64" y="176"/>
                  </a:lnTo>
                  <a:lnTo>
                    <a:pt x="48" y="176"/>
                  </a:lnTo>
                  <a:lnTo>
                    <a:pt x="40" y="176"/>
                  </a:lnTo>
                  <a:lnTo>
                    <a:pt x="0" y="168"/>
                  </a:lnTo>
                  <a:lnTo>
                    <a:pt x="0" y="152"/>
                  </a:lnTo>
                  <a:lnTo>
                    <a:pt x="24" y="152"/>
                  </a:lnTo>
                  <a:lnTo>
                    <a:pt x="40" y="144"/>
                  </a:lnTo>
                  <a:lnTo>
                    <a:pt x="56" y="136"/>
                  </a:lnTo>
                  <a:lnTo>
                    <a:pt x="64" y="136"/>
                  </a:lnTo>
                  <a:lnTo>
                    <a:pt x="80" y="136"/>
                  </a:lnTo>
                  <a:lnTo>
                    <a:pt x="96" y="128"/>
                  </a:lnTo>
                  <a:lnTo>
                    <a:pt x="96" y="112"/>
                  </a:lnTo>
                  <a:lnTo>
                    <a:pt x="96" y="112"/>
                  </a:lnTo>
                  <a:lnTo>
                    <a:pt x="88" y="112"/>
                  </a:lnTo>
                  <a:lnTo>
                    <a:pt x="64" y="112"/>
                  </a:lnTo>
                  <a:lnTo>
                    <a:pt x="64" y="96"/>
                  </a:lnTo>
                  <a:lnTo>
                    <a:pt x="88" y="96"/>
                  </a:lnTo>
                  <a:lnTo>
                    <a:pt x="112" y="80"/>
                  </a:lnTo>
                  <a:lnTo>
                    <a:pt x="120" y="72"/>
                  </a:lnTo>
                  <a:lnTo>
                    <a:pt x="120" y="72"/>
                  </a:lnTo>
                  <a:lnTo>
                    <a:pt x="120" y="80"/>
                  </a:lnTo>
                  <a:lnTo>
                    <a:pt x="136" y="80"/>
                  </a:lnTo>
                  <a:lnTo>
                    <a:pt x="136" y="56"/>
                  </a:lnTo>
                  <a:lnTo>
                    <a:pt x="168" y="56"/>
                  </a:lnTo>
                  <a:lnTo>
                    <a:pt x="200" y="40"/>
                  </a:lnTo>
                  <a:lnTo>
                    <a:pt x="224" y="40"/>
                  </a:lnTo>
                  <a:lnTo>
                    <a:pt x="232" y="48"/>
                  </a:lnTo>
                  <a:lnTo>
                    <a:pt x="240" y="48"/>
                  </a:lnTo>
                  <a:lnTo>
                    <a:pt x="240" y="48"/>
                  </a:lnTo>
                  <a:lnTo>
                    <a:pt x="240" y="48"/>
                  </a:lnTo>
                  <a:lnTo>
                    <a:pt x="240" y="40"/>
                  </a:lnTo>
                  <a:lnTo>
                    <a:pt x="240" y="40"/>
                  </a:lnTo>
                  <a:lnTo>
                    <a:pt x="240" y="40"/>
                  </a:lnTo>
                  <a:lnTo>
                    <a:pt x="248" y="40"/>
                  </a:lnTo>
                  <a:lnTo>
                    <a:pt x="256" y="48"/>
                  </a:lnTo>
                  <a:lnTo>
                    <a:pt x="264" y="48"/>
                  </a:lnTo>
                  <a:lnTo>
                    <a:pt x="272" y="48"/>
                  </a:lnTo>
                  <a:lnTo>
                    <a:pt x="272" y="48"/>
                  </a:lnTo>
                  <a:lnTo>
                    <a:pt x="264" y="48"/>
                  </a:lnTo>
                  <a:lnTo>
                    <a:pt x="264" y="32"/>
                  </a:lnTo>
                  <a:lnTo>
                    <a:pt x="288" y="32"/>
                  </a:lnTo>
                  <a:lnTo>
                    <a:pt x="304" y="48"/>
                  </a:lnTo>
                  <a:lnTo>
                    <a:pt x="312" y="48"/>
                  </a:lnTo>
                  <a:lnTo>
                    <a:pt x="312" y="48"/>
                  </a:lnTo>
                  <a:lnTo>
                    <a:pt x="336" y="48"/>
                  </a:lnTo>
                  <a:lnTo>
                    <a:pt x="336" y="48"/>
                  </a:lnTo>
                  <a:lnTo>
                    <a:pt x="328" y="48"/>
                  </a:lnTo>
                  <a:lnTo>
                    <a:pt x="312" y="40"/>
                  </a:lnTo>
                  <a:lnTo>
                    <a:pt x="312" y="32"/>
                  </a:lnTo>
                  <a:lnTo>
                    <a:pt x="328" y="24"/>
                  </a:lnTo>
                  <a:lnTo>
                    <a:pt x="320" y="24"/>
                  </a:lnTo>
                  <a:lnTo>
                    <a:pt x="320" y="16"/>
                  </a:lnTo>
                  <a:lnTo>
                    <a:pt x="320" y="16"/>
                  </a:lnTo>
                  <a:lnTo>
                    <a:pt x="336" y="8"/>
                  </a:lnTo>
                  <a:lnTo>
                    <a:pt x="360" y="8"/>
                  </a:lnTo>
                  <a:lnTo>
                    <a:pt x="368" y="8"/>
                  </a:lnTo>
                  <a:lnTo>
                    <a:pt x="376" y="8"/>
                  </a:lnTo>
                  <a:lnTo>
                    <a:pt x="384" y="16"/>
                  </a:lnTo>
                  <a:lnTo>
                    <a:pt x="392" y="16"/>
                  </a:lnTo>
                  <a:lnTo>
                    <a:pt x="392" y="16"/>
                  </a:lnTo>
                  <a:lnTo>
                    <a:pt x="392" y="8"/>
                  </a:lnTo>
                  <a:lnTo>
                    <a:pt x="392" y="8"/>
                  </a:lnTo>
                  <a:lnTo>
                    <a:pt x="400" y="8"/>
                  </a:lnTo>
                  <a:lnTo>
                    <a:pt x="408" y="8"/>
                  </a:lnTo>
                  <a:lnTo>
                    <a:pt x="416" y="8"/>
                  </a:lnTo>
                  <a:lnTo>
                    <a:pt x="464" y="0"/>
                  </a:lnTo>
                  <a:lnTo>
                    <a:pt x="472" y="0"/>
                  </a:lnTo>
                  <a:lnTo>
                    <a:pt x="536" y="0"/>
                  </a:lnTo>
                  <a:lnTo>
                    <a:pt x="552" y="0"/>
                  </a:lnTo>
                  <a:lnTo>
                    <a:pt x="584" y="16"/>
                  </a:lnTo>
                  <a:lnTo>
                    <a:pt x="608" y="24"/>
                  </a:lnTo>
                  <a:lnTo>
                    <a:pt x="632" y="24"/>
                  </a:lnTo>
                  <a:lnTo>
                    <a:pt x="640" y="24"/>
                  </a:lnTo>
                  <a:lnTo>
                    <a:pt x="640" y="24"/>
                  </a:lnTo>
                  <a:lnTo>
                    <a:pt x="640" y="32"/>
                  </a:lnTo>
                  <a:lnTo>
                    <a:pt x="608" y="40"/>
                  </a:lnTo>
                  <a:lnTo>
                    <a:pt x="592" y="48"/>
                  </a:lnTo>
                  <a:lnTo>
                    <a:pt x="496" y="48"/>
                  </a:lnTo>
                  <a:lnTo>
                    <a:pt x="496" y="48"/>
                  </a:lnTo>
                  <a:lnTo>
                    <a:pt x="504" y="56"/>
                  </a:lnTo>
                  <a:lnTo>
                    <a:pt x="536" y="48"/>
                  </a:lnTo>
                  <a:lnTo>
                    <a:pt x="568" y="48"/>
                  </a:lnTo>
                  <a:lnTo>
                    <a:pt x="576" y="48"/>
                  </a:lnTo>
                  <a:lnTo>
                    <a:pt x="584" y="48"/>
                  </a:lnTo>
                  <a:lnTo>
                    <a:pt x="584" y="48"/>
                  </a:lnTo>
                  <a:lnTo>
                    <a:pt x="576" y="64"/>
                  </a:lnTo>
                  <a:lnTo>
                    <a:pt x="568" y="72"/>
                  </a:lnTo>
                  <a:lnTo>
                    <a:pt x="568" y="72"/>
                  </a:lnTo>
                  <a:lnTo>
                    <a:pt x="576" y="72"/>
                  </a:lnTo>
                  <a:lnTo>
                    <a:pt x="616" y="48"/>
                  </a:lnTo>
                  <a:lnTo>
                    <a:pt x="632" y="48"/>
                  </a:lnTo>
                  <a:lnTo>
                    <a:pt x="632" y="64"/>
                  </a:lnTo>
                  <a:lnTo>
                    <a:pt x="600" y="96"/>
                  </a:lnTo>
                  <a:lnTo>
                    <a:pt x="608" y="96"/>
                  </a:lnTo>
                  <a:lnTo>
                    <a:pt x="632" y="72"/>
                  </a:lnTo>
                  <a:lnTo>
                    <a:pt x="640" y="64"/>
                  </a:lnTo>
                  <a:lnTo>
                    <a:pt x="640" y="64"/>
                  </a:lnTo>
                  <a:lnTo>
                    <a:pt x="656" y="64"/>
                  </a:lnTo>
                  <a:lnTo>
                    <a:pt x="664" y="64"/>
                  </a:lnTo>
                  <a:lnTo>
                    <a:pt x="680" y="64"/>
                  </a:lnTo>
                  <a:lnTo>
                    <a:pt x="680" y="64"/>
                  </a:lnTo>
                  <a:lnTo>
                    <a:pt x="680" y="64"/>
                  </a:lnTo>
                  <a:lnTo>
                    <a:pt x="688" y="56"/>
                  </a:lnTo>
                  <a:lnTo>
                    <a:pt x="696" y="56"/>
                  </a:lnTo>
                  <a:lnTo>
                    <a:pt x="696" y="56"/>
                  </a:lnTo>
                  <a:lnTo>
                    <a:pt x="720" y="56"/>
                  </a:lnTo>
                  <a:lnTo>
                    <a:pt x="720" y="56"/>
                  </a:lnTo>
                  <a:lnTo>
                    <a:pt x="720" y="48"/>
                  </a:lnTo>
                  <a:lnTo>
                    <a:pt x="736" y="48"/>
                  </a:lnTo>
                  <a:lnTo>
                    <a:pt x="752" y="56"/>
                  </a:lnTo>
                  <a:lnTo>
                    <a:pt x="752" y="64"/>
                  </a:lnTo>
                  <a:lnTo>
                    <a:pt x="744" y="72"/>
                  </a:lnTo>
                  <a:lnTo>
                    <a:pt x="744" y="72"/>
                  </a:lnTo>
                  <a:lnTo>
                    <a:pt x="712" y="88"/>
                  </a:lnTo>
                  <a:lnTo>
                    <a:pt x="704" y="88"/>
                  </a:lnTo>
                  <a:lnTo>
                    <a:pt x="704" y="88"/>
                  </a:lnTo>
                  <a:lnTo>
                    <a:pt x="704" y="96"/>
                  </a:lnTo>
                  <a:lnTo>
                    <a:pt x="704" y="88"/>
                  </a:lnTo>
                  <a:lnTo>
                    <a:pt x="712" y="96"/>
                  </a:lnTo>
                  <a:lnTo>
                    <a:pt x="688" y="104"/>
                  </a:lnTo>
                  <a:lnTo>
                    <a:pt x="688" y="104"/>
                  </a:lnTo>
                  <a:lnTo>
                    <a:pt x="688" y="104"/>
                  </a:lnTo>
                  <a:lnTo>
                    <a:pt x="688" y="112"/>
                  </a:lnTo>
                  <a:lnTo>
                    <a:pt x="688" y="112"/>
                  </a:lnTo>
                  <a:lnTo>
                    <a:pt x="672" y="120"/>
                  </a:lnTo>
                  <a:lnTo>
                    <a:pt x="672" y="120"/>
                  </a:lnTo>
                  <a:lnTo>
                    <a:pt x="672" y="128"/>
                  </a:lnTo>
                  <a:lnTo>
                    <a:pt x="672" y="136"/>
                  </a:lnTo>
                  <a:lnTo>
                    <a:pt x="656" y="144"/>
                  </a:lnTo>
                  <a:lnTo>
                    <a:pt x="648" y="144"/>
                  </a:lnTo>
                  <a:lnTo>
                    <a:pt x="648" y="160"/>
                  </a:lnTo>
                  <a:lnTo>
                    <a:pt x="648" y="168"/>
                  </a:lnTo>
                  <a:lnTo>
                    <a:pt x="656" y="168"/>
                  </a:lnTo>
                  <a:lnTo>
                    <a:pt x="664" y="168"/>
                  </a:lnTo>
                  <a:lnTo>
                    <a:pt x="672" y="176"/>
                  </a:lnTo>
                  <a:lnTo>
                    <a:pt x="672" y="176"/>
                  </a:lnTo>
                  <a:lnTo>
                    <a:pt x="672" y="176"/>
                  </a:lnTo>
                  <a:lnTo>
                    <a:pt x="672" y="176"/>
                  </a:lnTo>
                  <a:lnTo>
                    <a:pt x="688" y="184"/>
                  </a:lnTo>
                  <a:lnTo>
                    <a:pt x="688" y="200"/>
                  </a:lnTo>
                  <a:lnTo>
                    <a:pt x="656" y="200"/>
                  </a:lnTo>
                  <a:lnTo>
                    <a:pt x="648" y="200"/>
                  </a:lnTo>
                  <a:lnTo>
                    <a:pt x="648" y="208"/>
                  </a:lnTo>
                  <a:lnTo>
                    <a:pt x="656" y="208"/>
                  </a:lnTo>
                  <a:lnTo>
                    <a:pt x="664" y="208"/>
                  </a:lnTo>
                  <a:lnTo>
                    <a:pt x="664" y="208"/>
                  </a:lnTo>
                  <a:lnTo>
                    <a:pt x="664" y="216"/>
                  </a:lnTo>
                  <a:lnTo>
                    <a:pt x="672" y="232"/>
                  </a:lnTo>
                  <a:lnTo>
                    <a:pt x="672" y="232"/>
                  </a:lnTo>
                  <a:lnTo>
                    <a:pt x="664" y="240"/>
                  </a:lnTo>
                  <a:lnTo>
                    <a:pt x="656" y="240"/>
                  </a:lnTo>
                  <a:lnTo>
                    <a:pt x="656" y="248"/>
                  </a:lnTo>
                  <a:lnTo>
                    <a:pt x="664" y="248"/>
                  </a:lnTo>
                  <a:lnTo>
                    <a:pt x="672" y="256"/>
                  </a:lnTo>
                  <a:lnTo>
                    <a:pt x="672" y="256"/>
                  </a:lnTo>
                  <a:lnTo>
                    <a:pt x="664" y="264"/>
                  </a:lnTo>
                  <a:lnTo>
                    <a:pt x="648" y="264"/>
                  </a:lnTo>
                  <a:lnTo>
                    <a:pt x="648" y="264"/>
                  </a:lnTo>
                  <a:lnTo>
                    <a:pt x="648" y="272"/>
                  </a:lnTo>
                  <a:lnTo>
                    <a:pt x="656" y="272"/>
                  </a:lnTo>
                  <a:lnTo>
                    <a:pt x="656" y="272"/>
                  </a:lnTo>
                  <a:lnTo>
                    <a:pt x="656" y="280"/>
                  </a:lnTo>
                  <a:lnTo>
                    <a:pt x="632" y="288"/>
                  </a:lnTo>
                  <a:lnTo>
                    <a:pt x="632" y="288"/>
                  </a:lnTo>
                  <a:lnTo>
                    <a:pt x="632" y="288"/>
                  </a:lnTo>
                  <a:lnTo>
                    <a:pt x="624" y="280"/>
                  </a:lnTo>
                  <a:lnTo>
                    <a:pt x="616" y="280"/>
                  </a:lnTo>
                  <a:lnTo>
                    <a:pt x="616" y="280"/>
                  </a:lnTo>
                  <a:lnTo>
                    <a:pt x="616" y="280"/>
                  </a:lnTo>
                  <a:lnTo>
                    <a:pt x="616" y="288"/>
                  </a:lnTo>
                  <a:lnTo>
                    <a:pt x="640" y="296"/>
                  </a:lnTo>
                  <a:lnTo>
                    <a:pt x="640" y="312"/>
                  </a:lnTo>
                  <a:lnTo>
                    <a:pt x="624" y="312"/>
                  </a:lnTo>
                  <a:lnTo>
                    <a:pt x="608" y="296"/>
                  </a:lnTo>
                  <a:lnTo>
                    <a:pt x="608" y="288"/>
                  </a:lnTo>
                  <a:lnTo>
                    <a:pt x="608" y="288"/>
                  </a:lnTo>
                  <a:lnTo>
                    <a:pt x="600" y="288"/>
                  </a:lnTo>
                  <a:lnTo>
                    <a:pt x="600" y="288"/>
                  </a:lnTo>
                  <a:lnTo>
                    <a:pt x="600" y="296"/>
                  </a:lnTo>
                  <a:lnTo>
                    <a:pt x="600" y="296"/>
                  </a:lnTo>
                  <a:lnTo>
                    <a:pt x="616" y="312"/>
                  </a:lnTo>
                  <a:lnTo>
                    <a:pt x="648" y="328"/>
                  </a:lnTo>
                  <a:lnTo>
                    <a:pt x="648" y="352"/>
                  </a:lnTo>
                  <a:lnTo>
                    <a:pt x="624" y="352"/>
                  </a:lnTo>
                  <a:lnTo>
                    <a:pt x="608" y="328"/>
                  </a:lnTo>
                  <a:lnTo>
                    <a:pt x="600" y="328"/>
                  </a:lnTo>
                  <a:lnTo>
                    <a:pt x="592" y="328"/>
                  </a:lnTo>
                  <a:lnTo>
                    <a:pt x="592" y="328"/>
                  </a:lnTo>
                  <a:lnTo>
                    <a:pt x="592" y="328"/>
                  </a:lnTo>
                  <a:lnTo>
                    <a:pt x="592" y="336"/>
                  </a:lnTo>
                  <a:lnTo>
                    <a:pt x="592" y="344"/>
                  </a:lnTo>
                  <a:lnTo>
                    <a:pt x="584" y="344"/>
                  </a:lnTo>
                  <a:lnTo>
                    <a:pt x="584" y="344"/>
                  </a:lnTo>
                  <a:lnTo>
                    <a:pt x="584" y="352"/>
                  </a:lnTo>
                  <a:lnTo>
                    <a:pt x="624" y="360"/>
                  </a:lnTo>
                  <a:lnTo>
                    <a:pt x="632" y="360"/>
                  </a:lnTo>
                  <a:lnTo>
                    <a:pt x="632" y="360"/>
                  </a:lnTo>
                  <a:lnTo>
                    <a:pt x="632" y="368"/>
                  </a:lnTo>
                  <a:lnTo>
                    <a:pt x="608" y="368"/>
                  </a:lnTo>
                  <a:lnTo>
                    <a:pt x="592" y="392"/>
                  </a:lnTo>
                  <a:lnTo>
                    <a:pt x="576" y="392"/>
                  </a:lnTo>
                  <a:lnTo>
                    <a:pt x="544" y="400"/>
                  </a:lnTo>
                  <a:lnTo>
                    <a:pt x="536" y="400"/>
                  </a:lnTo>
                  <a:lnTo>
                    <a:pt x="520" y="400"/>
                  </a:lnTo>
                  <a:lnTo>
                    <a:pt x="520" y="400"/>
                  </a:lnTo>
                  <a:lnTo>
                    <a:pt x="512" y="408"/>
                  </a:lnTo>
                  <a:lnTo>
                    <a:pt x="512" y="408"/>
                  </a:lnTo>
                  <a:lnTo>
                    <a:pt x="496" y="416"/>
                  </a:lnTo>
                  <a:lnTo>
                    <a:pt x="496" y="416"/>
                  </a:lnTo>
                  <a:lnTo>
                    <a:pt x="488" y="440"/>
                  </a:lnTo>
                  <a:lnTo>
                    <a:pt x="480" y="440"/>
                  </a:lnTo>
                  <a:lnTo>
                    <a:pt x="456" y="448"/>
                  </a:lnTo>
                  <a:lnTo>
                    <a:pt x="448" y="448"/>
                  </a:lnTo>
                  <a:lnTo>
                    <a:pt x="440" y="448"/>
                  </a:lnTo>
                  <a:lnTo>
                    <a:pt x="440" y="448"/>
                  </a:lnTo>
                  <a:lnTo>
                    <a:pt x="440" y="440"/>
                  </a:lnTo>
                  <a:lnTo>
                    <a:pt x="440" y="440"/>
                  </a:lnTo>
                  <a:lnTo>
                    <a:pt x="440" y="448"/>
                  </a:lnTo>
                  <a:lnTo>
                    <a:pt x="432" y="456"/>
                  </a:lnTo>
                  <a:lnTo>
                    <a:pt x="400" y="464"/>
                  </a:lnTo>
                  <a:lnTo>
                    <a:pt x="400" y="472"/>
                  </a:lnTo>
                  <a:lnTo>
                    <a:pt x="400" y="480"/>
                  </a:lnTo>
                  <a:lnTo>
                    <a:pt x="400" y="480"/>
                  </a:lnTo>
                  <a:lnTo>
                    <a:pt x="408" y="488"/>
                  </a:lnTo>
                  <a:lnTo>
                    <a:pt x="408" y="504"/>
                  </a:lnTo>
                  <a:lnTo>
                    <a:pt x="384" y="512"/>
                  </a:lnTo>
                  <a:lnTo>
                    <a:pt x="384" y="528"/>
                  </a:lnTo>
                  <a:lnTo>
                    <a:pt x="384" y="536"/>
                  </a:lnTo>
                  <a:lnTo>
                    <a:pt x="384" y="536"/>
                  </a:lnTo>
                  <a:lnTo>
                    <a:pt x="384" y="536"/>
                  </a:lnTo>
                  <a:lnTo>
                    <a:pt x="384" y="544"/>
                  </a:lnTo>
                  <a:lnTo>
                    <a:pt x="376" y="568"/>
                  </a:lnTo>
                  <a:lnTo>
                    <a:pt x="368" y="568"/>
                  </a:lnTo>
                  <a:lnTo>
                    <a:pt x="360" y="560"/>
                  </a:lnTo>
                  <a:lnTo>
                    <a:pt x="360" y="560"/>
                  </a:lnTo>
                  <a:lnTo>
                    <a:pt x="360" y="568"/>
                  </a:lnTo>
                  <a:lnTo>
                    <a:pt x="352" y="568"/>
                  </a:lnTo>
                  <a:lnTo>
                    <a:pt x="336" y="544"/>
                  </a:lnTo>
                  <a:lnTo>
                    <a:pt x="328" y="544"/>
                  </a:lnTo>
                  <a:lnTo>
                    <a:pt x="320" y="552"/>
                  </a:lnTo>
                  <a:lnTo>
                    <a:pt x="312" y="552"/>
                  </a:lnTo>
                  <a:lnTo>
                    <a:pt x="312" y="552"/>
                  </a:lnTo>
                  <a:lnTo>
                    <a:pt x="312" y="544"/>
                  </a:lnTo>
                  <a:lnTo>
                    <a:pt x="304" y="544"/>
                  </a:lnTo>
                  <a:lnTo>
                    <a:pt x="296" y="536"/>
                  </a:lnTo>
                  <a:lnTo>
                    <a:pt x="296" y="528"/>
                  </a:lnTo>
                  <a:lnTo>
                    <a:pt x="296" y="528"/>
                  </a:lnTo>
                  <a:lnTo>
                    <a:pt x="288" y="528"/>
                  </a:lnTo>
                  <a:lnTo>
                    <a:pt x="272" y="504"/>
                  </a:lnTo>
                  <a:lnTo>
                    <a:pt x="272" y="488"/>
                  </a:lnTo>
                  <a:lnTo>
                    <a:pt x="280" y="480"/>
                  </a:lnTo>
                  <a:lnTo>
                    <a:pt x="272" y="480"/>
                  </a:lnTo>
                  <a:lnTo>
                    <a:pt x="272" y="480"/>
                  </a:lnTo>
                  <a:lnTo>
                    <a:pt x="264" y="480"/>
                  </a:lnTo>
                  <a:lnTo>
                    <a:pt x="256" y="472"/>
                  </a:lnTo>
                  <a:lnTo>
                    <a:pt x="256" y="464"/>
                  </a:lnTo>
                  <a:lnTo>
                    <a:pt x="240" y="448"/>
                  </a:lnTo>
                  <a:lnTo>
                    <a:pt x="248" y="440"/>
                  </a:lnTo>
                  <a:lnTo>
                    <a:pt x="248" y="432"/>
                  </a:lnTo>
                  <a:lnTo>
                    <a:pt x="248" y="432"/>
                  </a:lnTo>
                  <a:lnTo>
                    <a:pt x="240" y="432"/>
                  </a:lnTo>
                  <a:lnTo>
                    <a:pt x="240" y="432"/>
                  </a:lnTo>
                  <a:lnTo>
                    <a:pt x="240" y="432"/>
                  </a:lnTo>
                  <a:lnTo>
                    <a:pt x="240" y="424"/>
                  </a:lnTo>
                  <a:lnTo>
                    <a:pt x="240" y="424"/>
                  </a:lnTo>
                  <a:lnTo>
                    <a:pt x="248" y="408"/>
                  </a:lnTo>
                  <a:lnTo>
                    <a:pt x="256" y="400"/>
                  </a:lnTo>
                  <a:lnTo>
                    <a:pt x="256" y="400"/>
                  </a:lnTo>
                  <a:lnTo>
                    <a:pt x="264" y="39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97" name="Freeform 15"/>
            <p:cNvSpPr>
              <a:spLocks/>
            </p:cNvSpPr>
            <p:nvPr/>
          </p:nvSpPr>
          <p:spPr bwMode="auto">
            <a:xfrm>
              <a:off x="2017709" y="3263852"/>
              <a:ext cx="800099" cy="533392"/>
            </a:xfrm>
            <a:custGeom>
              <a:avLst/>
              <a:gdLst/>
              <a:ahLst/>
              <a:cxnLst>
                <a:cxn ang="0">
                  <a:pos x="248" y="136"/>
                </a:cxn>
                <a:cxn ang="0">
                  <a:pos x="248" y="144"/>
                </a:cxn>
                <a:cxn ang="0">
                  <a:pos x="248" y="160"/>
                </a:cxn>
                <a:cxn ang="0">
                  <a:pos x="280" y="192"/>
                </a:cxn>
                <a:cxn ang="0">
                  <a:pos x="320" y="192"/>
                </a:cxn>
                <a:cxn ang="0">
                  <a:pos x="352" y="152"/>
                </a:cxn>
                <a:cxn ang="0">
                  <a:pos x="384" y="152"/>
                </a:cxn>
                <a:cxn ang="0">
                  <a:pos x="368" y="192"/>
                </a:cxn>
                <a:cxn ang="0">
                  <a:pos x="368" y="216"/>
                </a:cxn>
                <a:cxn ang="0">
                  <a:pos x="368" y="224"/>
                </a:cxn>
                <a:cxn ang="0">
                  <a:pos x="424" y="232"/>
                </a:cxn>
                <a:cxn ang="0">
                  <a:pos x="424" y="288"/>
                </a:cxn>
                <a:cxn ang="0">
                  <a:pos x="472" y="304"/>
                </a:cxn>
                <a:cxn ang="0">
                  <a:pos x="504" y="320"/>
                </a:cxn>
                <a:cxn ang="0">
                  <a:pos x="488" y="328"/>
                </a:cxn>
                <a:cxn ang="0">
                  <a:pos x="464" y="320"/>
                </a:cxn>
                <a:cxn ang="0">
                  <a:pos x="456" y="336"/>
                </a:cxn>
                <a:cxn ang="0">
                  <a:pos x="432" y="320"/>
                </a:cxn>
                <a:cxn ang="0">
                  <a:pos x="408" y="304"/>
                </a:cxn>
                <a:cxn ang="0">
                  <a:pos x="400" y="304"/>
                </a:cxn>
                <a:cxn ang="0">
                  <a:pos x="392" y="288"/>
                </a:cxn>
                <a:cxn ang="0">
                  <a:pos x="376" y="256"/>
                </a:cxn>
                <a:cxn ang="0">
                  <a:pos x="360" y="256"/>
                </a:cxn>
                <a:cxn ang="0">
                  <a:pos x="296" y="224"/>
                </a:cxn>
                <a:cxn ang="0">
                  <a:pos x="272" y="224"/>
                </a:cxn>
                <a:cxn ang="0">
                  <a:pos x="248" y="224"/>
                </a:cxn>
                <a:cxn ang="0">
                  <a:pos x="216" y="208"/>
                </a:cxn>
                <a:cxn ang="0">
                  <a:pos x="184" y="200"/>
                </a:cxn>
                <a:cxn ang="0">
                  <a:pos x="152" y="176"/>
                </a:cxn>
                <a:cxn ang="0">
                  <a:pos x="152" y="152"/>
                </a:cxn>
                <a:cxn ang="0">
                  <a:pos x="104" y="96"/>
                </a:cxn>
                <a:cxn ang="0">
                  <a:pos x="88" y="80"/>
                </a:cxn>
                <a:cxn ang="0">
                  <a:pos x="64" y="48"/>
                </a:cxn>
                <a:cxn ang="0">
                  <a:pos x="56" y="24"/>
                </a:cxn>
                <a:cxn ang="0">
                  <a:pos x="32" y="16"/>
                </a:cxn>
                <a:cxn ang="0">
                  <a:pos x="48" y="48"/>
                </a:cxn>
                <a:cxn ang="0">
                  <a:pos x="80" y="104"/>
                </a:cxn>
                <a:cxn ang="0">
                  <a:pos x="96" y="128"/>
                </a:cxn>
                <a:cxn ang="0">
                  <a:pos x="88" y="128"/>
                </a:cxn>
                <a:cxn ang="0">
                  <a:pos x="64" y="112"/>
                </a:cxn>
                <a:cxn ang="0">
                  <a:pos x="56" y="88"/>
                </a:cxn>
                <a:cxn ang="0">
                  <a:pos x="40" y="72"/>
                </a:cxn>
                <a:cxn ang="0">
                  <a:pos x="24" y="48"/>
                </a:cxn>
                <a:cxn ang="0">
                  <a:pos x="0" y="8"/>
                </a:cxn>
                <a:cxn ang="0">
                  <a:pos x="32" y="0"/>
                </a:cxn>
                <a:cxn ang="0">
                  <a:pos x="112" y="16"/>
                </a:cxn>
                <a:cxn ang="0">
                  <a:pos x="120" y="8"/>
                </a:cxn>
                <a:cxn ang="0">
                  <a:pos x="168" y="48"/>
                </a:cxn>
                <a:cxn ang="0">
                  <a:pos x="224" y="80"/>
                </a:cxn>
                <a:cxn ang="0">
                  <a:pos x="248" y="88"/>
                </a:cxn>
              </a:cxnLst>
              <a:rect l="0" t="0" r="r" b="b"/>
              <a:pathLst>
                <a:path w="504" h="336">
                  <a:moveTo>
                    <a:pt x="248" y="88"/>
                  </a:moveTo>
                  <a:lnTo>
                    <a:pt x="248" y="104"/>
                  </a:lnTo>
                  <a:lnTo>
                    <a:pt x="248" y="112"/>
                  </a:lnTo>
                  <a:lnTo>
                    <a:pt x="248" y="136"/>
                  </a:lnTo>
                  <a:lnTo>
                    <a:pt x="248" y="136"/>
                  </a:lnTo>
                  <a:lnTo>
                    <a:pt x="248" y="144"/>
                  </a:lnTo>
                  <a:lnTo>
                    <a:pt x="248" y="144"/>
                  </a:lnTo>
                  <a:lnTo>
                    <a:pt x="248" y="144"/>
                  </a:lnTo>
                  <a:lnTo>
                    <a:pt x="248" y="152"/>
                  </a:lnTo>
                  <a:lnTo>
                    <a:pt x="248" y="152"/>
                  </a:lnTo>
                  <a:lnTo>
                    <a:pt x="248" y="152"/>
                  </a:lnTo>
                  <a:lnTo>
                    <a:pt x="248" y="160"/>
                  </a:lnTo>
                  <a:lnTo>
                    <a:pt x="264" y="168"/>
                  </a:lnTo>
                  <a:lnTo>
                    <a:pt x="264" y="168"/>
                  </a:lnTo>
                  <a:lnTo>
                    <a:pt x="272" y="184"/>
                  </a:lnTo>
                  <a:lnTo>
                    <a:pt x="280" y="192"/>
                  </a:lnTo>
                  <a:lnTo>
                    <a:pt x="288" y="192"/>
                  </a:lnTo>
                  <a:lnTo>
                    <a:pt x="312" y="184"/>
                  </a:lnTo>
                  <a:lnTo>
                    <a:pt x="320" y="192"/>
                  </a:lnTo>
                  <a:lnTo>
                    <a:pt x="320" y="192"/>
                  </a:lnTo>
                  <a:lnTo>
                    <a:pt x="328" y="184"/>
                  </a:lnTo>
                  <a:lnTo>
                    <a:pt x="328" y="176"/>
                  </a:lnTo>
                  <a:lnTo>
                    <a:pt x="336" y="160"/>
                  </a:lnTo>
                  <a:lnTo>
                    <a:pt x="352" y="152"/>
                  </a:lnTo>
                  <a:lnTo>
                    <a:pt x="368" y="152"/>
                  </a:lnTo>
                  <a:lnTo>
                    <a:pt x="376" y="152"/>
                  </a:lnTo>
                  <a:lnTo>
                    <a:pt x="384" y="152"/>
                  </a:lnTo>
                  <a:lnTo>
                    <a:pt x="384" y="152"/>
                  </a:lnTo>
                  <a:lnTo>
                    <a:pt x="376" y="168"/>
                  </a:lnTo>
                  <a:lnTo>
                    <a:pt x="376" y="184"/>
                  </a:lnTo>
                  <a:lnTo>
                    <a:pt x="368" y="192"/>
                  </a:lnTo>
                  <a:lnTo>
                    <a:pt x="368" y="192"/>
                  </a:lnTo>
                  <a:lnTo>
                    <a:pt x="368" y="192"/>
                  </a:lnTo>
                  <a:lnTo>
                    <a:pt x="368" y="192"/>
                  </a:lnTo>
                  <a:lnTo>
                    <a:pt x="368" y="208"/>
                  </a:lnTo>
                  <a:lnTo>
                    <a:pt x="368" y="216"/>
                  </a:lnTo>
                  <a:lnTo>
                    <a:pt x="360" y="216"/>
                  </a:lnTo>
                  <a:lnTo>
                    <a:pt x="360" y="224"/>
                  </a:lnTo>
                  <a:lnTo>
                    <a:pt x="360" y="224"/>
                  </a:lnTo>
                  <a:lnTo>
                    <a:pt x="368" y="224"/>
                  </a:lnTo>
                  <a:lnTo>
                    <a:pt x="392" y="224"/>
                  </a:lnTo>
                  <a:lnTo>
                    <a:pt x="408" y="224"/>
                  </a:lnTo>
                  <a:lnTo>
                    <a:pt x="424" y="232"/>
                  </a:lnTo>
                  <a:lnTo>
                    <a:pt x="424" y="232"/>
                  </a:lnTo>
                  <a:lnTo>
                    <a:pt x="424" y="240"/>
                  </a:lnTo>
                  <a:lnTo>
                    <a:pt x="424" y="248"/>
                  </a:lnTo>
                  <a:lnTo>
                    <a:pt x="424" y="256"/>
                  </a:lnTo>
                  <a:lnTo>
                    <a:pt x="424" y="288"/>
                  </a:lnTo>
                  <a:lnTo>
                    <a:pt x="424" y="296"/>
                  </a:lnTo>
                  <a:lnTo>
                    <a:pt x="440" y="304"/>
                  </a:lnTo>
                  <a:lnTo>
                    <a:pt x="456" y="312"/>
                  </a:lnTo>
                  <a:lnTo>
                    <a:pt x="472" y="304"/>
                  </a:lnTo>
                  <a:lnTo>
                    <a:pt x="488" y="304"/>
                  </a:lnTo>
                  <a:lnTo>
                    <a:pt x="496" y="312"/>
                  </a:lnTo>
                  <a:lnTo>
                    <a:pt x="504" y="320"/>
                  </a:lnTo>
                  <a:lnTo>
                    <a:pt x="504" y="320"/>
                  </a:lnTo>
                  <a:lnTo>
                    <a:pt x="496" y="320"/>
                  </a:lnTo>
                  <a:lnTo>
                    <a:pt x="496" y="328"/>
                  </a:lnTo>
                  <a:lnTo>
                    <a:pt x="488" y="328"/>
                  </a:lnTo>
                  <a:lnTo>
                    <a:pt x="488" y="328"/>
                  </a:lnTo>
                  <a:lnTo>
                    <a:pt x="488" y="320"/>
                  </a:lnTo>
                  <a:lnTo>
                    <a:pt x="480" y="320"/>
                  </a:lnTo>
                  <a:lnTo>
                    <a:pt x="472" y="312"/>
                  </a:lnTo>
                  <a:lnTo>
                    <a:pt x="464" y="320"/>
                  </a:lnTo>
                  <a:lnTo>
                    <a:pt x="464" y="320"/>
                  </a:lnTo>
                  <a:lnTo>
                    <a:pt x="464" y="328"/>
                  </a:lnTo>
                  <a:lnTo>
                    <a:pt x="464" y="336"/>
                  </a:lnTo>
                  <a:lnTo>
                    <a:pt x="456" y="336"/>
                  </a:lnTo>
                  <a:lnTo>
                    <a:pt x="448" y="328"/>
                  </a:lnTo>
                  <a:lnTo>
                    <a:pt x="440" y="320"/>
                  </a:lnTo>
                  <a:lnTo>
                    <a:pt x="432" y="320"/>
                  </a:lnTo>
                  <a:lnTo>
                    <a:pt x="432" y="320"/>
                  </a:lnTo>
                  <a:lnTo>
                    <a:pt x="432" y="320"/>
                  </a:lnTo>
                  <a:lnTo>
                    <a:pt x="424" y="320"/>
                  </a:lnTo>
                  <a:lnTo>
                    <a:pt x="424" y="312"/>
                  </a:lnTo>
                  <a:lnTo>
                    <a:pt x="408" y="304"/>
                  </a:lnTo>
                  <a:lnTo>
                    <a:pt x="400" y="296"/>
                  </a:lnTo>
                  <a:lnTo>
                    <a:pt x="408" y="304"/>
                  </a:lnTo>
                  <a:lnTo>
                    <a:pt x="408" y="304"/>
                  </a:lnTo>
                  <a:lnTo>
                    <a:pt x="400" y="304"/>
                  </a:lnTo>
                  <a:lnTo>
                    <a:pt x="400" y="296"/>
                  </a:lnTo>
                  <a:lnTo>
                    <a:pt x="400" y="296"/>
                  </a:lnTo>
                  <a:lnTo>
                    <a:pt x="400" y="288"/>
                  </a:lnTo>
                  <a:lnTo>
                    <a:pt x="392" y="288"/>
                  </a:lnTo>
                  <a:lnTo>
                    <a:pt x="392" y="280"/>
                  </a:lnTo>
                  <a:lnTo>
                    <a:pt x="384" y="272"/>
                  </a:lnTo>
                  <a:lnTo>
                    <a:pt x="376" y="264"/>
                  </a:lnTo>
                  <a:lnTo>
                    <a:pt x="376" y="256"/>
                  </a:lnTo>
                  <a:lnTo>
                    <a:pt x="376" y="256"/>
                  </a:lnTo>
                  <a:lnTo>
                    <a:pt x="368" y="256"/>
                  </a:lnTo>
                  <a:lnTo>
                    <a:pt x="368" y="256"/>
                  </a:lnTo>
                  <a:lnTo>
                    <a:pt x="360" y="256"/>
                  </a:lnTo>
                  <a:lnTo>
                    <a:pt x="344" y="256"/>
                  </a:lnTo>
                  <a:lnTo>
                    <a:pt x="328" y="248"/>
                  </a:lnTo>
                  <a:lnTo>
                    <a:pt x="312" y="240"/>
                  </a:lnTo>
                  <a:lnTo>
                    <a:pt x="296" y="224"/>
                  </a:lnTo>
                  <a:lnTo>
                    <a:pt x="296" y="224"/>
                  </a:lnTo>
                  <a:lnTo>
                    <a:pt x="288" y="224"/>
                  </a:lnTo>
                  <a:lnTo>
                    <a:pt x="288" y="216"/>
                  </a:lnTo>
                  <a:lnTo>
                    <a:pt x="272" y="224"/>
                  </a:lnTo>
                  <a:lnTo>
                    <a:pt x="264" y="224"/>
                  </a:lnTo>
                  <a:lnTo>
                    <a:pt x="256" y="224"/>
                  </a:lnTo>
                  <a:lnTo>
                    <a:pt x="256" y="224"/>
                  </a:lnTo>
                  <a:lnTo>
                    <a:pt x="248" y="224"/>
                  </a:lnTo>
                  <a:lnTo>
                    <a:pt x="240" y="224"/>
                  </a:lnTo>
                  <a:lnTo>
                    <a:pt x="224" y="216"/>
                  </a:lnTo>
                  <a:lnTo>
                    <a:pt x="216" y="208"/>
                  </a:lnTo>
                  <a:lnTo>
                    <a:pt x="216" y="208"/>
                  </a:lnTo>
                  <a:lnTo>
                    <a:pt x="208" y="208"/>
                  </a:lnTo>
                  <a:lnTo>
                    <a:pt x="208" y="208"/>
                  </a:lnTo>
                  <a:lnTo>
                    <a:pt x="200" y="200"/>
                  </a:lnTo>
                  <a:lnTo>
                    <a:pt x="184" y="200"/>
                  </a:lnTo>
                  <a:lnTo>
                    <a:pt x="176" y="192"/>
                  </a:lnTo>
                  <a:lnTo>
                    <a:pt x="176" y="192"/>
                  </a:lnTo>
                  <a:lnTo>
                    <a:pt x="160" y="184"/>
                  </a:lnTo>
                  <a:lnTo>
                    <a:pt x="152" y="176"/>
                  </a:lnTo>
                  <a:lnTo>
                    <a:pt x="152" y="176"/>
                  </a:lnTo>
                  <a:lnTo>
                    <a:pt x="152" y="176"/>
                  </a:lnTo>
                  <a:lnTo>
                    <a:pt x="152" y="160"/>
                  </a:lnTo>
                  <a:lnTo>
                    <a:pt x="152" y="152"/>
                  </a:lnTo>
                  <a:lnTo>
                    <a:pt x="144" y="136"/>
                  </a:lnTo>
                  <a:lnTo>
                    <a:pt x="120" y="112"/>
                  </a:lnTo>
                  <a:lnTo>
                    <a:pt x="112" y="104"/>
                  </a:lnTo>
                  <a:lnTo>
                    <a:pt x="104" y="96"/>
                  </a:lnTo>
                  <a:lnTo>
                    <a:pt x="104" y="88"/>
                  </a:lnTo>
                  <a:lnTo>
                    <a:pt x="104" y="88"/>
                  </a:lnTo>
                  <a:lnTo>
                    <a:pt x="104" y="88"/>
                  </a:lnTo>
                  <a:lnTo>
                    <a:pt x="88" y="80"/>
                  </a:lnTo>
                  <a:lnTo>
                    <a:pt x="80" y="64"/>
                  </a:lnTo>
                  <a:lnTo>
                    <a:pt x="80" y="64"/>
                  </a:lnTo>
                  <a:lnTo>
                    <a:pt x="80" y="64"/>
                  </a:lnTo>
                  <a:lnTo>
                    <a:pt x="64" y="48"/>
                  </a:lnTo>
                  <a:lnTo>
                    <a:pt x="64" y="48"/>
                  </a:lnTo>
                  <a:lnTo>
                    <a:pt x="56" y="40"/>
                  </a:lnTo>
                  <a:lnTo>
                    <a:pt x="56" y="32"/>
                  </a:lnTo>
                  <a:lnTo>
                    <a:pt x="56" y="24"/>
                  </a:lnTo>
                  <a:lnTo>
                    <a:pt x="48" y="16"/>
                  </a:lnTo>
                  <a:lnTo>
                    <a:pt x="32" y="16"/>
                  </a:lnTo>
                  <a:lnTo>
                    <a:pt x="32" y="16"/>
                  </a:lnTo>
                  <a:lnTo>
                    <a:pt x="32" y="16"/>
                  </a:lnTo>
                  <a:lnTo>
                    <a:pt x="32" y="16"/>
                  </a:lnTo>
                  <a:lnTo>
                    <a:pt x="32" y="24"/>
                  </a:lnTo>
                  <a:lnTo>
                    <a:pt x="40" y="40"/>
                  </a:lnTo>
                  <a:lnTo>
                    <a:pt x="48" y="48"/>
                  </a:lnTo>
                  <a:lnTo>
                    <a:pt x="56" y="56"/>
                  </a:lnTo>
                  <a:lnTo>
                    <a:pt x="64" y="72"/>
                  </a:lnTo>
                  <a:lnTo>
                    <a:pt x="72" y="88"/>
                  </a:lnTo>
                  <a:lnTo>
                    <a:pt x="80" y="104"/>
                  </a:lnTo>
                  <a:lnTo>
                    <a:pt x="80" y="112"/>
                  </a:lnTo>
                  <a:lnTo>
                    <a:pt x="88" y="120"/>
                  </a:lnTo>
                  <a:lnTo>
                    <a:pt x="96" y="120"/>
                  </a:lnTo>
                  <a:lnTo>
                    <a:pt x="96" y="128"/>
                  </a:lnTo>
                  <a:lnTo>
                    <a:pt x="96" y="128"/>
                  </a:lnTo>
                  <a:lnTo>
                    <a:pt x="96" y="136"/>
                  </a:lnTo>
                  <a:lnTo>
                    <a:pt x="96" y="136"/>
                  </a:lnTo>
                  <a:lnTo>
                    <a:pt x="88" y="128"/>
                  </a:lnTo>
                  <a:lnTo>
                    <a:pt x="88" y="128"/>
                  </a:lnTo>
                  <a:lnTo>
                    <a:pt x="80" y="128"/>
                  </a:lnTo>
                  <a:lnTo>
                    <a:pt x="72" y="112"/>
                  </a:lnTo>
                  <a:lnTo>
                    <a:pt x="64" y="112"/>
                  </a:lnTo>
                  <a:lnTo>
                    <a:pt x="64" y="104"/>
                  </a:lnTo>
                  <a:lnTo>
                    <a:pt x="64" y="96"/>
                  </a:lnTo>
                  <a:lnTo>
                    <a:pt x="64" y="96"/>
                  </a:lnTo>
                  <a:lnTo>
                    <a:pt x="56" y="88"/>
                  </a:lnTo>
                  <a:lnTo>
                    <a:pt x="40" y="80"/>
                  </a:lnTo>
                  <a:lnTo>
                    <a:pt x="32" y="72"/>
                  </a:lnTo>
                  <a:lnTo>
                    <a:pt x="32" y="72"/>
                  </a:lnTo>
                  <a:lnTo>
                    <a:pt x="40" y="72"/>
                  </a:lnTo>
                  <a:lnTo>
                    <a:pt x="40" y="72"/>
                  </a:lnTo>
                  <a:lnTo>
                    <a:pt x="40" y="64"/>
                  </a:lnTo>
                  <a:lnTo>
                    <a:pt x="32" y="56"/>
                  </a:lnTo>
                  <a:lnTo>
                    <a:pt x="24" y="48"/>
                  </a:lnTo>
                  <a:lnTo>
                    <a:pt x="16" y="40"/>
                  </a:lnTo>
                  <a:lnTo>
                    <a:pt x="16" y="24"/>
                  </a:lnTo>
                  <a:lnTo>
                    <a:pt x="8" y="16"/>
                  </a:lnTo>
                  <a:lnTo>
                    <a:pt x="0" y="8"/>
                  </a:lnTo>
                  <a:lnTo>
                    <a:pt x="0" y="0"/>
                  </a:lnTo>
                  <a:lnTo>
                    <a:pt x="0" y="0"/>
                  </a:lnTo>
                  <a:lnTo>
                    <a:pt x="0" y="0"/>
                  </a:lnTo>
                  <a:lnTo>
                    <a:pt x="32" y="0"/>
                  </a:lnTo>
                  <a:lnTo>
                    <a:pt x="32" y="0"/>
                  </a:lnTo>
                  <a:lnTo>
                    <a:pt x="80" y="16"/>
                  </a:lnTo>
                  <a:lnTo>
                    <a:pt x="80" y="16"/>
                  </a:lnTo>
                  <a:lnTo>
                    <a:pt x="112" y="16"/>
                  </a:lnTo>
                  <a:lnTo>
                    <a:pt x="112" y="16"/>
                  </a:lnTo>
                  <a:lnTo>
                    <a:pt x="112" y="8"/>
                  </a:lnTo>
                  <a:lnTo>
                    <a:pt x="112" y="8"/>
                  </a:lnTo>
                  <a:lnTo>
                    <a:pt x="120" y="8"/>
                  </a:lnTo>
                  <a:lnTo>
                    <a:pt x="136" y="8"/>
                  </a:lnTo>
                  <a:lnTo>
                    <a:pt x="144" y="16"/>
                  </a:lnTo>
                  <a:lnTo>
                    <a:pt x="160" y="32"/>
                  </a:lnTo>
                  <a:lnTo>
                    <a:pt x="168" y="48"/>
                  </a:lnTo>
                  <a:lnTo>
                    <a:pt x="176" y="48"/>
                  </a:lnTo>
                  <a:lnTo>
                    <a:pt x="184" y="32"/>
                  </a:lnTo>
                  <a:lnTo>
                    <a:pt x="208" y="32"/>
                  </a:lnTo>
                  <a:lnTo>
                    <a:pt x="224" y="80"/>
                  </a:lnTo>
                  <a:lnTo>
                    <a:pt x="232" y="80"/>
                  </a:lnTo>
                  <a:lnTo>
                    <a:pt x="248" y="88"/>
                  </a:lnTo>
                  <a:lnTo>
                    <a:pt x="248" y="88"/>
                  </a:lnTo>
                  <a:lnTo>
                    <a:pt x="248" y="88"/>
                  </a:lnTo>
                  <a:lnTo>
                    <a:pt x="248" y="88"/>
                  </a:lnTo>
                  <a:lnTo>
                    <a:pt x="248" y="80"/>
                  </a:lnTo>
                  <a:lnTo>
                    <a:pt x="248" y="8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98" name="Freeform 16"/>
            <p:cNvSpPr>
              <a:spLocks/>
            </p:cNvSpPr>
            <p:nvPr/>
          </p:nvSpPr>
          <p:spPr bwMode="auto">
            <a:xfrm>
              <a:off x="5194292" y="4178238"/>
              <a:ext cx="139700" cy="266696"/>
            </a:xfrm>
            <a:custGeom>
              <a:avLst/>
              <a:gdLst/>
              <a:ahLst/>
              <a:cxnLst>
                <a:cxn ang="0">
                  <a:pos x="8" y="112"/>
                </a:cxn>
                <a:cxn ang="0">
                  <a:pos x="16" y="88"/>
                </a:cxn>
                <a:cxn ang="0">
                  <a:pos x="16" y="88"/>
                </a:cxn>
                <a:cxn ang="0">
                  <a:pos x="8" y="72"/>
                </a:cxn>
                <a:cxn ang="0">
                  <a:pos x="8" y="56"/>
                </a:cxn>
                <a:cxn ang="0">
                  <a:pos x="24" y="48"/>
                </a:cxn>
                <a:cxn ang="0">
                  <a:pos x="40" y="32"/>
                </a:cxn>
                <a:cxn ang="0">
                  <a:pos x="56" y="16"/>
                </a:cxn>
                <a:cxn ang="0">
                  <a:pos x="64" y="8"/>
                </a:cxn>
                <a:cxn ang="0">
                  <a:pos x="64" y="8"/>
                </a:cxn>
                <a:cxn ang="0">
                  <a:pos x="64" y="0"/>
                </a:cxn>
                <a:cxn ang="0">
                  <a:pos x="72" y="0"/>
                </a:cxn>
                <a:cxn ang="0">
                  <a:pos x="72" y="0"/>
                </a:cxn>
                <a:cxn ang="0">
                  <a:pos x="80" y="0"/>
                </a:cxn>
                <a:cxn ang="0">
                  <a:pos x="88" y="24"/>
                </a:cxn>
                <a:cxn ang="0">
                  <a:pos x="88" y="40"/>
                </a:cxn>
                <a:cxn ang="0">
                  <a:pos x="88" y="48"/>
                </a:cxn>
                <a:cxn ang="0">
                  <a:pos x="88" y="48"/>
                </a:cxn>
                <a:cxn ang="0">
                  <a:pos x="80" y="48"/>
                </a:cxn>
                <a:cxn ang="0">
                  <a:pos x="80" y="48"/>
                </a:cxn>
                <a:cxn ang="0">
                  <a:pos x="80" y="64"/>
                </a:cxn>
                <a:cxn ang="0">
                  <a:pos x="72" y="80"/>
                </a:cxn>
                <a:cxn ang="0">
                  <a:pos x="56" y="136"/>
                </a:cxn>
                <a:cxn ang="0">
                  <a:pos x="40" y="168"/>
                </a:cxn>
                <a:cxn ang="0">
                  <a:pos x="16" y="168"/>
                </a:cxn>
                <a:cxn ang="0">
                  <a:pos x="0" y="152"/>
                </a:cxn>
                <a:cxn ang="0">
                  <a:pos x="0" y="144"/>
                </a:cxn>
                <a:cxn ang="0">
                  <a:pos x="0" y="136"/>
                </a:cxn>
                <a:cxn ang="0">
                  <a:pos x="0" y="136"/>
                </a:cxn>
                <a:cxn ang="0">
                  <a:pos x="0" y="136"/>
                </a:cxn>
                <a:cxn ang="0">
                  <a:pos x="0" y="120"/>
                </a:cxn>
                <a:cxn ang="0">
                  <a:pos x="8" y="112"/>
                </a:cxn>
              </a:cxnLst>
              <a:rect l="0" t="0" r="r" b="b"/>
              <a:pathLst>
                <a:path w="88" h="168">
                  <a:moveTo>
                    <a:pt x="8" y="112"/>
                  </a:moveTo>
                  <a:lnTo>
                    <a:pt x="16" y="88"/>
                  </a:lnTo>
                  <a:lnTo>
                    <a:pt x="16" y="88"/>
                  </a:lnTo>
                  <a:lnTo>
                    <a:pt x="8" y="72"/>
                  </a:lnTo>
                  <a:lnTo>
                    <a:pt x="8" y="56"/>
                  </a:lnTo>
                  <a:lnTo>
                    <a:pt x="24" y="48"/>
                  </a:lnTo>
                  <a:lnTo>
                    <a:pt x="40" y="32"/>
                  </a:lnTo>
                  <a:lnTo>
                    <a:pt x="56" y="16"/>
                  </a:lnTo>
                  <a:lnTo>
                    <a:pt x="64" y="8"/>
                  </a:lnTo>
                  <a:lnTo>
                    <a:pt x="64" y="8"/>
                  </a:lnTo>
                  <a:lnTo>
                    <a:pt x="64" y="0"/>
                  </a:lnTo>
                  <a:lnTo>
                    <a:pt x="72" y="0"/>
                  </a:lnTo>
                  <a:lnTo>
                    <a:pt x="72" y="0"/>
                  </a:lnTo>
                  <a:lnTo>
                    <a:pt x="80" y="0"/>
                  </a:lnTo>
                  <a:lnTo>
                    <a:pt x="88" y="24"/>
                  </a:lnTo>
                  <a:lnTo>
                    <a:pt x="88" y="40"/>
                  </a:lnTo>
                  <a:lnTo>
                    <a:pt x="88" y="48"/>
                  </a:lnTo>
                  <a:lnTo>
                    <a:pt x="88" y="48"/>
                  </a:lnTo>
                  <a:lnTo>
                    <a:pt x="80" y="48"/>
                  </a:lnTo>
                  <a:lnTo>
                    <a:pt x="80" y="48"/>
                  </a:lnTo>
                  <a:lnTo>
                    <a:pt x="80" y="64"/>
                  </a:lnTo>
                  <a:lnTo>
                    <a:pt x="72" y="80"/>
                  </a:lnTo>
                  <a:lnTo>
                    <a:pt x="56" y="136"/>
                  </a:lnTo>
                  <a:lnTo>
                    <a:pt x="40" y="168"/>
                  </a:lnTo>
                  <a:lnTo>
                    <a:pt x="16" y="168"/>
                  </a:lnTo>
                  <a:lnTo>
                    <a:pt x="0" y="152"/>
                  </a:lnTo>
                  <a:lnTo>
                    <a:pt x="0" y="144"/>
                  </a:lnTo>
                  <a:lnTo>
                    <a:pt x="0" y="136"/>
                  </a:lnTo>
                  <a:lnTo>
                    <a:pt x="0" y="136"/>
                  </a:lnTo>
                  <a:lnTo>
                    <a:pt x="0" y="136"/>
                  </a:lnTo>
                  <a:lnTo>
                    <a:pt x="0" y="120"/>
                  </a:lnTo>
                  <a:lnTo>
                    <a:pt x="8" y="11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99" name="Freeform 17"/>
            <p:cNvSpPr>
              <a:spLocks/>
            </p:cNvSpPr>
            <p:nvPr/>
          </p:nvSpPr>
          <p:spPr bwMode="auto">
            <a:xfrm>
              <a:off x="6222991" y="3809944"/>
              <a:ext cx="203200" cy="228597"/>
            </a:xfrm>
            <a:custGeom>
              <a:avLst/>
              <a:gdLst/>
              <a:ahLst/>
              <a:cxnLst>
                <a:cxn ang="0">
                  <a:pos x="56" y="72"/>
                </a:cxn>
                <a:cxn ang="0">
                  <a:pos x="56" y="72"/>
                </a:cxn>
                <a:cxn ang="0">
                  <a:pos x="56" y="72"/>
                </a:cxn>
                <a:cxn ang="0">
                  <a:pos x="48" y="72"/>
                </a:cxn>
                <a:cxn ang="0">
                  <a:pos x="48" y="64"/>
                </a:cxn>
                <a:cxn ang="0">
                  <a:pos x="48" y="56"/>
                </a:cxn>
                <a:cxn ang="0">
                  <a:pos x="40" y="48"/>
                </a:cxn>
                <a:cxn ang="0">
                  <a:pos x="32" y="40"/>
                </a:cxn>
                <a:cxn ang="0">
                  <a:pos x="24" y="32"/>
                </a:cxn>
                <a:cxn ang="0">
                  <a:pos x="24" y="24"/>
                </a:cxn>
                <a:cxn ang="0">
                  <a:pos x="0" y="24"/>
                </a:cxn>
                <a:cxn ang="0">
                  <a:pos x="0" y="8"/>
                </a:cxn>
                <a:cxn ang="0">
                  <a:pos x="0" y="0"/>
                </a:cxn>
                <a:cxn ang="0">
                  <a:pos x="0" y="0"/>
                </a:cxn>
                <a:cxn ang="0">
                  <a:pos x="8" y="0"/>
                </a:cxn>
                <a:cxn ang="0">
                  <a:pos x="8" y="8"/>
                </a:cxn>
                <a:cxn ang="0">
                  <a:pos x="8" y="8"/>
                </a:cxn>
                <a:cxn ang="0">
                  <a:pos x="24" y="8"/>
                </a:cxn>
                <a:cxn ang="0">
                  <a:pos x="32" y="8"/>
                </a:cxn>
                <a:cxn ang="0">
                  <a:pos x="48" y="24"/>
                </a:cxn>
                <a:cxn ang="0">
                  <a:pos x="56" y="24"/>
                </a:cxn>
                <a:cxn ang="0">
                  <a:pos x="64" y="40"/>
                </a:cxn>
                <a:cxn ang="0">
                  <a:pos x="80" y="56"/>
                </a:cxn>
                <a:cxn ang="0">
                  <a:pos x="96" y="56"/>
                </a:cxn>
                <a:cxn ang="0">
                  <a:pos x="96" y="64"/>
                </a:cxn>
                <a:cxn ang="0">
                  <a:pos x="96" y="72"/>
                </a:cxn>
                <a:cxn ang="0">
                  <a:pos x="104" y="72"/>
                </a:cxn>
                <a:cxn ang="0">
                  <a:pos x="104" y="72"/>
                </a:cxn>
                <a:cxn ang="0">
                  <a:pos x="104" y="72"/>
                </a:cxn>
                <a:cxn ang="0">
                  <a:pos x="104" y="80"/>
                </a:cxn>
                <a:cxn ang="0">
                  <a:pos x="104" y="80"/>
                </a:cxn>
                <a:cxn ang="0">
                  <a:pos x="112" y="80"/>
                </a:cxn>
                <a:cxn ang="0">
                  <a:pos x="112" y="80"/>
                </a:cxn>
                <a:cxn ang="0">
                  <a:pos x="112" y="88"/>
                </a:cxn>
                <a:cxn ang="0">
                  <a:pos x="128" y="104"/>
                </a:cxn>
                <a:cxn ang="0">
                  <a:pos x="128" y="112"/>
                </a:cxn>
                <a:cxn ang="0">
                  <a:pos x="128" y="112"/>
                </a:cxn>
                <a:cxn ang="0">
                  <a:pos x="128" y="128"/>
                </a:cxn>
                <a:cxn ang="0">
                  <a:pos x="128" y="128"/>
                </a:cxn>
                <a:cxn ang="0">
                  <a:pos x="128" y="128"/>
                </a:cxn>
                <a:cxn ang="0">
                  <a:pos x="128" y="136"/>
                </a:cxn>
                <a:cxn ang="0">
                  <a:pos x="128" y="136"/>
                </a:cxn>
                <a:cxn ang="0">
                  <a:pos x="128" y="144"/>
                </a:cxn>
                <a:cxn ang="0">
                  <a:pos x="120" y="144"/>
                </a:cxn>
                <a:cxn ang="0">
                  <a:pos x="112" y="136"/>
                </a:cxn>
                <a:cxn ang="0">
                  <a:pos x="96" y="128"/>
                </a:cxn>
                <a:cxn ang="0">
                  <a:pos x="80" y="112"/>
                </a:cxn>
                <a:cxn ang="0">
                  <a:pos x="72" y="96"/>
                </a:cxn>
                <a:cxn ang="0">
                  <a:pos x="64" y="80"/>
                </a:cxn>
                <a:cxn ang="0">
                  <a:pos x="64" y="80"/>
                </a:cxn>
                <a:cxn ang="0">
                  <a:pos x="56" y="72"/>
                </a:cxn>
              </a:cxnLst>
              <a:rect l="0" t="0" r="r" b="b"/>
              <a:pathLst>
                <a:path w="128" h="144">
                  <a:moveTo>
                    <a:pt x="56" y="72"/>
                  </a:moveTo>
                  <a:lnTo>
                    <a:pt x="56" y="72"/>
                  </a:lnTo>
                  <a:lnTo>
                    <a:pt x="56" y="72"/>
                  </a:lnTo>
                  <a:lnTo>
                    <a:pt x="48" y="72"/>
                  </a:lnTo>
                  <a:lnTo>
                    <a:pt x="48" y="64"/>
                  </a:lnTo>
                  <a:lnTo>
                    <a:pt x="48" y="56"/>
                  </a:lnTo>
                  <a:lnTo>
                    <a:pt x="40" y="48"/>
                  </a:lnTo>
                  <a:lnTo>
                    <a:pt x="32" y="40"/>
                  </a:lnTo>
                  <a:lnTo>
                    <a:pt x="24" y="32"/>
                  </a:lnTo>
                  <a:lnTo>
                    <a:pt x="24" y="24"/>
                  </a:lnTo>
                  <a:lnTo>
                    <a:pt x="0" y="24"/>
                  </a:lnTo>
                  <a:lnTo>
                    <a:pt x="0" y="8"/>
                  </a:lnTo>
                  <a:lnTo>
                    <a:pt x="0" y="0"/>
                  </a:lnTo>
                  <a:lnTo>
                    <a:pt x="0" y="0"/>
                  </a:lnTo>
                  <a:lnTo>
                    <a:pt x="8" y="0"/>
                  </a:lnTo>
                  <a:lnTo>
                    <a:pt x="8" y="8"/>
                  </a:lnTo>
                  <a:lnTo>
                    <a:pt x="8" y="8"/>
                  </a:lnTo>
                  <a:lnTo>
                    <a:pt x="24" y="8"/>
                  </a:lnTo>
                  <a:lnTo>
                    <a:pt x="32" y="8"/>
                  </a:lnTo>
                  <a:lnTo>
                    <a:pt x="48" y="24"/>
                  </a:lnTo>
                  <a:lnTo>
                    <a:pt x="56" y="24"/>
                  </a:lnTo>
                  <a:lnTo>
                    <a:pt x="64" y="40"/>
                  </a:lnTo>
                  <a:lnTo>
                    <a:pt x="80" y="56"/>
                  </a:lnTo>
                  <a:lnTo>
                    <a:pt x="96" y="56"/>
                  </a:lnTo>
                  <a:lnTo>
                    <a:pt x="96" y="64"/>
                  </a:lnTo>
                  <a:lnTo>
                    <a:pt x="96" y="72"/>
                  </a:lnTo>
                  <a:lnTo>
                    <a:pt x="104" y="72"/>
                  </a:lnTo>
                  <a:lnTo>
                    <a:pt x="104" y="72"/>
                  </a:lnTo>
                  <a:lnTo>
                    <a:pt x="104" y="72"/>
                  </a:lnTo>
                  <a:lnTo>
                    <a:pt x="104" y="80"/>
                  </a:lnTo>
                  <a:lnTo>
                    <a:pt x="104" y="80"/>
                  </a:lnTo>
                  <a:lnTo>
                    <a:pt x="112" y="80"/>
                  </a:lnTo>
                  <a:lnTo>
                    <a:pt x="112" y="80"/>
                  </a:lnTo>
                  <a:lnTo>
                    <a:pt x="112" y="88"/>
                  </a:lnTo>
                  <a:lnTo>
                    <a:pt x="128" y="104"/>
                  </a:lnTo>
                  <a:lnTo>
                    <a:pt x="128" y="112"/>
                  </a:lnTo>
                  <a:lnTo>
                    <a:pt x="128" y="112"/>
                  </a:lnTo>
                  <a:lnTo>
                    <a:pt x="128" y="128"/>
                  </a:lnTo>
                  <a:lnTo>
                    <a:pt x="128" y="128"/>
                  </a:lnTo>
                  <a:lnTo>
                    <a:pt x="128" y="128"/>
                  </a:lnTo>
                  <a:lnTo>
                    <a:pt x="128" y="136"/>
                  </a:lnTo>
                  <a:lnTo>
                    <a:pt x="128" y="136"/>
                  </a:lnTo>
                  <a:lnTo>
                    <a:pt x="128" y="144"/>
                  </a:lnTo>
                  <a:lnTo>
                    <a:pt x="120" y="144"/>
                  </a:lnTo>
                  <a:lnTo>
                    <a:pt x="112" y="136"/>
                  </a:lnTo>
                  <a:lnTo>
                    <a:pt x="96" y="128"/>
                  </a:lnTo>
                  <a:lnTo>
                    <a:pt x="80" y="112"/>
                  </a:lnTo>
                  <a:lnTo>
                    <a:pt x="72" y="96"/>
                  </a:lnTo>
                  <a:lnTo>
                    <a:pt x="64" y="80"/>
                  </a:lnTo>
                  <a:lnTo>
                    <a:pt x="64" y="80"/>
                  </a:lnTo>
                  <a:lnTo>
                    <a:pt x="56" y="7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00" name="Freeform 18"/>
            <p:cNvSpPr>
              <a:spLocks/>
            </p:cNvSpPr>
            <p:nvPr/>
          </p:nvSpPr>
          <p:spPr bwMode="auto">
            <a:xfrm>
              <a:off x="6489690" y="3784544"/>
              <a:ext cx="203200" cy="228597"/>
            </a:xfrm>
            <a:custGeom>
              <a:avLst/>
              <a:gdLst/>
              <a:ahLst/>
              <a:cxnLst>
                <a:cxn ang="0">
                  <a:pos x="32" y="128"/>
                </a:cxn>
                <a:cxn ang="0">
                  <a:pos x="16" y="112"/>
                </a:cxn>
                <a:cxn ang="0">
                  <a:pos x="16" y="96"/>
                </a:cxn>
                <a:cxn ang="0">
                  <a:pos x="8" y="96"/>
                </a:cxn>
                <a:cxn ang="0">
                  <a:pos x="0" y="72"/>
                </a:cxn>
                <a:cxn ang="0">
                  <a:pos x="16" y="72"/>
                </a:cxn>
                <a:cxn ang="0">
                  <a:pos x="32" y="64"/>
                </a:cxn>
                <a:cxn ang="0">
                  <a:pos x="40" y="48"/>
                </a:cxn>
                <a:cxn ang="0">
                  <a:pos x="56" y="48"/>
                </a:cxn>
                <a:cxn ang="0">
                  <a:pos x="56" y="40"/>
                </a:cxn>
                <a:cxn ang="0">
                  <a:pos x="64" y="32"/>
                </a:cxn>
                <a:cxn ang="0">
                  <a:pos x="72" y="32"/>
                </a:cxn>
                <a:cxn ang="0">
                  <a:pos x="80" y="24"/>
                </a:cxn>
                <a:cxn ang="0">
                  <a:pos x="96" y="0"/>
                </a:cxn>
                <a:cxn ang="0">
                  <a:pos x="112" y="8"/>
                </a:cxn>
                <a:cxn ang="0">
                  <a:pos x="112" y="16"/>
                </a:cxn>
                <a:cxn ang="0">
                  <a:pos x="128" y="24"/>
                </a:cxn>
                <a:cxn ang="0">
                  <a:pos x="120" y="32"/>
                </a:cxn>
                <a:cxn ang="0">
                  <a:pos x="120" y="32"/>
                </a:cxn>
                <a:cxn ang="0">
                  <a:pos x="112" y="40"/>
                </a:cxn>
                <a:cxn ang="0">
                  <a:pos x="104" y="40"/>
                </a:cxn>
                <a:cxn ang="0">
                  <a:pos x="120" y="72"/>
                </a:cxn>
                <a:cxn ang="0">
                  <a:pos x="128" y="72"/>
                </a:cxn>
                <a:cxn ang="0">
                  <a:pos x="120" y="80"/>
                </a:cxn>
                <a:cxn ang="0">
                  <a:pos x="112" y="80"/>
                </a:cxn>
                <a:cxn ang="0">
                  <a:pos x="112" y="80"/>
                </a:cxn>
                <a:cxn ang="0">
                  <a:pos x="104" y="104"/>
                </a:cxn>
                <a:cxn ang="0">
                  <a:pos x="96" y="104"/>
                </a:cxn>
                <a:cxn ang="0">
                  <a:pos x="96" y="128"/>
                </a:cxn>
                <a:cxn ang="0">
                  <a:pos x="96" y="136"/>
                </a:cxn>
                <a:cxn ang="0">
                  <a:pos x="72" y="144"/>
                </a:cxn>
                <a:cxn ang="0">
                  <a:pos x="56" y="128"/>
                </a:cxn>
                <a:cxn ang="0">
                  <a:pos x="40" y="136"/>
                </a:cxn>
              </a:cxnLst>
              <a:rect l="0" t="0" r="r" b="b"/>
              <a:pathLst>
                <a:path w="128" h="144">
                  <a:moveTo>
                    <a:pt x="40" y="128"/>
                  </a:moveTo>
                  <a:lnTo>
                    <a:pt x="32" y="128"/>
                  </a:lnTo>
                  <a:lnTo>
                    <a:pt x="16" y="128"/>
                  </a:lnTo>
                  <a:lnTo>
                    <a:pt x="16" y="112"/>
                  </a:lnTo>
                  <a:lnTo>
                    <a:pt x="16" y="104"/>
                  </a:lnTo>
                  <a:lnTo>
                    <a:pt x="16" y="96"/>
                  </a:lnTo>
                  <a:lnTo>
                    <a:pt x="16" y="96"/>
                  </a:lnTo>
                  <a:lnTo>
                    <a:pt x="8" y="96"/>
                  </a:lnTo>
                  <a:lnTo>
                    <a:pt x="0" y="80"/>
                  </a:lnTo>
                  <a:lnTo>
                    <a:pt x="0" y="72"/>
                  </a:lnTo>
                  <a:lnTo>
                    <a:pt x="8" y="72"/>
                  </a:lnTo>
                  <a:lnTo>
                    <a:pt x="16" y="72"/>
                  </a:lnTo>
                  <a:lnTo>
                    <a:pt x="24" y="72"/>
                  </a:lnTo>
                  <a:lnTo>
                    <a:pt x="32" y="64"/>
                  </a:lnTo>
                  <a:lnTo>
                    <a:pt x="40" y="56"/>
                  </a:lnTo>
                  <a:lnTo>
                    <a:pt x="40" y="48"/>
                  </a:lnTo>
                  <a:lnTo>
                    <a:pt x="48" y="48"/>
                  </a:lnTo>
                  <a:lnTo>
                    <a:pt x="56" y="48"/>
                  </a:lnTo>
                  <a:lnTo>
                    <a:pt x="56" y="40"/>
                  </a:lnTo>
                  <a:lnTo>
                    <a:pt x="56" y="40"/>
                  </a:lnTo>
                  <a:lnTo>
                    <a:pt x="64" y="40"/>
                  </a:lnTo>
                  <a:lnTo>
                    <a:pt x="64" y="32"/>
                  </a:lnTo>
                  <a:lnTo>
                    <a:pt x="64" y="32"/>
                  </a:lnTo>
                  <a:lnTo>
                    <a:pt x="72" y="32"/>
                  </a:lnTo>
                  <a:lnTo>
                    <a:pt x="72" y="24"/>
                  </a:lnTo>
                  <a:lnTo>
                    <a:pt x="80" y="24"/>
                  </a:lnTo>
                  <a:lnTo>
                    <a:pt x="96" y="8"/>
                  </a:lnTo>
                  <a:lnTo>
                    <a:pt x="96" y="0"/>
                  </a:lnTo>
                  <a:lnTo>
                    <a:pt x="112" y="0"/>
                  </a:lnTo>
                  <a:lnTo>
                    <a:pt x="112" y="8"/>
                  </a:lnTo>
                  <a:lnTo>
                    <a:pt x="112" y="8"/>
                  </a:lnTo>
                  <a:lnTo>
                    <a:pt x="112" y="16"/>
                  </a:lnTo>
                  <a:lnTo>
                    <a:pt x="128" y="16"/>
                  </a:lnTo>
                  <a:lnTo>
                    <a:pt x="128" y="24"/>
                  </a:lnTo>
                  <a:lnTo>
                    <a:pt x="120" y="24"/>
                  </a:lnTo>
                  <a:lnTo>
                    <a:pt x="120" y="32"/>
                  </a:lnTo>
                  <a:lnTo>
                    <a:pt x="120" y="32"/>
                  </a:lnTo>
                  <a:lnTo>
                    <a:pt x="120" y="32"/>
                  </a:lnTo>
                  <a:lnTo>
                    <a:pt x="112" y="40"/>
                  </a:lnTo>
                  <a:lnTo>
                    <a:pt x="112" y="40"/>
                  </a:lnTo>
                  <a:lnTo>
                    <a:pt x="112" y="40"/>
                  </a:lnTo>
                  <a:lnTo>
                    <a:pt x="104" y="40"/>
                  </a:lnTo>
                  <a:lnTo>
                    <a:pt x="104" y="56"/>
                  </a:lnTo>
                  <a:lnTo>
                    <a:pt x="120" y="72"/>
                  </a:lnTo>
                  <a:lnTo>
                    <a:pt x="128" y="72"/>
                  </a:lnTo>
                  <a:lnTo>
                    <a:pt x="128" y="72"/>
                  </a:lnTo>
                  <a:lnTo>
                    <a:pt x="128" y="80"/>
                  </a:lnTo>
                  <a:lnTo>
                    <a:pt x="120" y="80"/>
                  </a:lnTo>
                  <a:lnTo>
                    <a:pt x="120" y="80"/>
                  </a:lnTo>
                  <a:lnTo>
                    <a:pt x="112" y="80"/>
                  </a:lnTo>
                  <a:lnTo>
                    <a:pt x="112" y="80"/>
                  </a:lnTo>
                  <a:lnTo>
                    <a:pt x="112" y="80"/>
                  </a:lnTo>
                  <a:lnTo>
                    <a:pt x="104" y="96"/>
                  </a:lnTo>
                  <a:lnTo>
                    <a:pt x="104" y="104"/>
                  </a:lnTo>
                  <a:lnTo>
                    <a:pt x="104" y="104"/>
                  </a:lnTo>
                  <a:lnTo>
                    <a:pt x="96" y="104"/>
                  </a:lnTo>
                  <a:lnTo>
                    <a:pt x="96" y="120"/>
                  </a:lnTo>
                  <a:lnTo>
                    <a:pt x="96" y="128"/>
                  </a:lnTo>
                  <a:lnTo>
                    <a:pt x="96" y="136"/>
                  </a:lnTo>
                  <a:lnTo>
                    <a:pt x="96" y="136"/>
                  </a:lnTo>
                  <a:lnTo>
                    <a:pt x="88" y="136"/>
                  </a:lnTo>
                  <a:lnTo>
                    <a:pt x="72" y="144"/>
                  </a:lnTo>
                  <a:lnTo>
                    <a:pt x="72" y="136"/>
                  </a:lnTo>
                  <a:lnTo>
                    <a:pt x="56" y="128"/>
                  </a:lnTo>
                  <a:lnTo>
                    <a:pt x="48" y="136"/>
                  </a:lnTo>
                  <a:lnTo>
                    <a:pt x="40" y="136"/>
                  </a:lnTo>
                  <a:lnTo>
                    <a:pt x="40" y="12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01" name="Freeform 19"/>
            <p:cNvSpPr>
              <a:spLocks/>
            </p:cNvSpPr>
            <p:nvPr/>
          </p:nvSpPr>
          <p:spPr bwMode="auto">
            <a:xfrm>
              <a:off x="6921490" y="3924242"/>
              <a:ext cx="406400" cy="215896"/>
            </a:xfrm>
            <a:custGeom>
              <a:avLst/>
              <a:gdLst/>
              <a:ahLst/>
              <a:cxnLst>
                <a:cxn ang="0">
                  <a:pos x="152" y="40"/>
                </a:cxn>
                <a:cxn ang="0">
                  <a:pos x="160" y="40"/>
                </a:cxn>
                <a:cxn ang="0">
                  <a:pos x="176" y="48"/>
                </a:cxn>
                <a:cxn ang="0">
                  <a:pos x="200" y="72"/>
                </a:cxn>
                <a:cxn ang="0">
                  <a:pos x="216" y="72"/>
                </a:cxn>
                <a:cxn ang="0">
                  <a:pos x="208" y="88"/>
                </a:cxn>
                <a:cxn ang="0">
                  <a:pos x="216" y="96"/>
                </a:cxn>
                <a:cxn ang="0">
                  <a:pos x="224" y="112"/>
                </a:cxn>
                <a:cxn ang="0">
                  <a:pos x="240" y="120"/>
                </a:cxn>
                <a:cxn ang="0">
                  <a:pos x="240" y="120"/>
                </a:cxn>
                <a:cxn ang="0">
                  <a:pos x="240" y="120"/>
                </a:cxn>
                <a:cxn ang="0">
                  <a:pos x="248" y="128"/>
                </a:cxn>
                <a:cxn ang="0">
                  <a:pos x="256" y="128"/>
                </a:cxn>
                <a:cxn ang="0">
                  <a:pos x="248" y="136"/>
                </a:cxn>
                <a:cxn ang="0">
                  <a:pos x="240" y="136"/>
                </a:cxn>
                <a:cxn ang="0">
                  <a:pos x="224" y="128"/>
                </a:cxn>
                <a:cxn ang="0">
                  <a:pos x="208" y="120"/>
                </a:cxn>
                <a:cxn ang="0">
                  <a:pos x="208" y="112"/>
                </a:cxn>
                <a:cxn ang="0">
                  <a:pos x="184" y="96"/>
                </a:cxn>
                <a:cxn ang="0">
                  <a:pos x="160" y="104"/>
                </a:cxn>
                <a:cxn ang="0">
                  <a:pos x="160" y="104"/>
                </a:cxn>
                <a:cxn ang="0">
                  <a:pos x="160" y="112"/>
                </a:cxn>
                <a:cxn ang="0">
                  <a:pos x="144" y="112"/>
                </a:cxn>
                <a:cxn ang="0">
                  <a:pos x="120" y="104"/>
                </a:cxn>
                <a:cxn ang="0">
                  <a:pos x="104" y="104"/>
                </a:cxn>
                <a:cxn ang="0">
                  <a:pos x="88" y="104"/>
                </a:cxn>
                <a:cxn ang="0">
                  <a:pos x="104" y="96"/>
                </a:cxn>
                <a:cxn ang="0">
                  <a:pos x="96" y="88"/>
                </a:cxn>
                <a:cxn ang="0">
                  <a:pos x="96" y="72"/>
                </a:cxn>
                <a:cxn ang="0">
                  <a:pos x="72" y="56"/>
                </a:cxn>
                <a:cxn ang="0">
                  <a:pos x="40" y="48"/>
                </a:cxn>
                <a:cxn ang="0">
                  <a:pos x="40" y="48"/>
                </a:cxn>
                <a:cxn ang="0">
                  <a:pos x="40" y="48"/>
                </a:cxn>
                <a:cxn ang="0">
                  <a:pos x="24" y="48"/>
                </a:cxn>
                <a:cxn ang="0">
                  <a:pos x="24" y="40"/>
                </a:cxn>
                <a:cxn ang="0">
                  <a:pos x="16" y="32"/>
                </a:cxn>
                <a:cxn ang="0">
                  <a:pos x="32" y="32"/>
                </a:cxn>
                <a:cxn ang="0">
                  <a:pos x="40" y="32"/>
                </a:cxn>
                <a:cxn ang="0">
                  <a:pos x="24" y="32"/>
                </a:cxn>
                <a:cxn ang="0">
                  <a:pos x="16" y="24"/>
                </a:cxn>
                <a:cxn ang="0">
                  <a:pos x="8" y="24"/>
                </a:cxn>
                <a:cxn ang="0">
                  <a:pos x="0" y="16"/>
                </a:cxn>
                <a:cxn ang="0">
                  <a:pos x="8" y="8"/>
                </a:cxn>
                <a:cxn ang="0">
                  <a:pos x="16" y="0"/>
                </a:cxn>
                <a:cxn ang="0">
                  <a:pos x="24" y="0"/>
                </a:cxn>
                <a:cxn ang="0">
                  <a:pos x="48" y="16"/>
                </a:cxn>
                <a:cxn ang="0">
                  <a:pos x="48" y="32"/>
                </a:cxn>
                <a:cxn ang="0">
                  <a:pos x="48" y="32"/>
                </a:cxn>
                <a:cxn ang="0">
                  <a:pos x="56" y="40"/>
                </a:cxn>
                <a:cxn ang="0">
                  <a:pos x="72" y="32"/>
                </a:cxn>
                <a:cxn ang="0">
                  <a:pos x="96" y="16"/>
                </a:cxn>
                <a:cxn ang="0">
                  <a:pos x="112" y="32"/>
                </a:cxn>
                <a:cxn ang="0">
                  <a:pos x="128" y="32"/>
                </a:cxn>
                <a:cxn ang="0">
                  <a:pos x="128" y="32"/>
                </a:cxn>
              </a:cxnLst>
              <a:rect l="0" t="0" r="r" b="b"/>
              <a:pathLst>
                <a:path w="256" h="136">
                  <a:moveTo>
                    <a:pt x="136" y="32"/>
                  </a:moveTo>
                  <a:lnTo>
                    <a:pt x="152" y="40"/>
                  </a:lnTo>
                  <a:lnTo>
                    <a:pt x="160" y="40"/>
                  </a:lnTo>
                  <a:lnTo>
                    <a:pt x="160" y="40"/>
                  </a:lnTo>
                  <a:lnTo>
                    <a:pt x="168" y="48"/>
                  </a:lnTo>
                  <a:lnTo>
                    <a:pt x="176" y="48"/>
                  </a:lnTo>
                  <a:lnTo>
                    <a:pt x="184" y="56"/>
                  </a:lnTo>
                  <a:lnTo>
                    <a:pt x="200" y="72"/>
                  </a:lnTo>
                  <a:lnTo>
                    <a:pt x="208" y="72"/>
                  </a:lnTo>
                  <a:lnTo>
                    <a:pt x="216" y="72"/>
                  </a:lnTo>
                  <a:lnTo>
                    <a:pt x="216" y="80"/>
                  </a:lnTo>
                  <a:lnTo>
                    <a:pt x="208" y="88"/>
                  </a:lnTo>
                  <a:lnTo>
                    <a:pt x="208" y="88"/>
                  </a:lnTo>
                  <a:lnTo>
                    <a:pt x="216" y="96"/>
                  </a:lnTo>
                  <a:lnTo>
                    <a:pt x="216" y="104"/>
                  </a:lnTo>
                  <a:lnTo>
                    <a:pt x="224" y="112"/>
                  </a:lnTo>
                  <a:lnTo>
                    <a:pt x="240" y="120"/>
                  </a:lnTo>
                  <a:lnTo>
                    <a:pt x="240" y="120"/>
                  </a:lnTo>
                  <a:lnTo>
                    <a:pt x="240" y="120"/>
                  </a:lnTo>
                  <a:lnTo>
                    <a:pt x="240" y="120"/>
                  </a:lnTo>
                  <a:lnTo>
                    <a:pt x="240" y="120"/>
                  </a:lnTo>
                  <a:lnTo>
                    <a:pt x="240" y="120"/>
                  </a:lnTo>
                  <a:lnTo>
                    <a:pt x="240" y="120"/>
                  </a:lnTo>
                  <a:lnTo>
                    <a:pt x="248" y="128"/>
                  </a:lnTo>
                  <a:lnTo>
                    <a:pt x="248" y="128"/>
                  </a:lnTo>
                  <a:lnTo>
                    <a:pt x="256" y="128"/>
                  </a:lnTo>
                  <a:lnTo>
                    <a:pt x="248" y="128"/>
                  </a:lnTo>
                  <a:lnTo>
                    <a:pt x="248" y="136"/>
                  </a:lnTo>
                  <a:lnTo>
                    <a:pt x="248" y="136"/>
                  </a:lnTo>
                  <a:lnTo>
                    <a:pt x="240" y="136"/>
                  </a:lnTo>
                  <a:lnTo>
                    <a:pt x="240" y="128"/>
                  </a:lnTo>
                  <a:lnTo>
                    <a:pt x="224" y="128"/>
                  </a:lnTo>
                  <a:lnTo>
                    <a:pt x="224" y="128"/>
                  </a:lnTo>
                  <a:lnTo>
                    <a:pt x="208" y="120"/>
                  </a:lnTo>
                  <a:lnTo>
                    <a:pt x="208" y="120"/>
                  </a:lnTo>
                  <a:lnTo>
                    <a:pt x="208" y="112"/>
                  </a:lnTo>
                  <a:lnTo>
                    <a:pt x="200" y="112"/>
                  </a:lnTo>
                  <a:lnTo>
                    <a:pt x="184" y="96"/>
                  </a:lnTo>
                  <a:lnTo>
                    <a:pt x="168" y="96"/>
                  </a:lnTo>
                  <a:lnTo>
                    <a:pt x="160" y="104"/>
                  </a:lnTo>
                  <a:lnTo>
                    <a:pt x="160" y="104"/>
                  </a:lnTo>
                  <a:lnTo>
                    <a:pt x="160" y="104"/>
                  </a:lnTo>
                  <a:lnTo>
                    <a:pt x="160" y="112"/>
                  </a:lnTo>
                  <a:lnTo>
                    <a:pt x="160" y="112"/>
                  </a:lnTo>
                  <a:lnTo>
                    <a:pt x="160" y="112"/>
                  </a:lnTo>
                  <a:lnTo>
                    <a:pt x="144" y="112"/>
                  </a:lnTo>
                  <a:lnTo>
                    <a:pt x="136" y="112"/>
                  </a:lnTo>
                  <a:lnTo>
                    <a:pt x="120" y="104"/>
                  </a:lnTo>
                  <a:lnTo>
                    <a:pt x="104" y="104"/>
                  </a:lnTo>
                  <a:lnTo>
                    <a:pt x="104" y="104"/>
                  </a:lnTo>
                  <a:lnTo>
                    <a:pt x="96" y="104"/>
                  </a:lnTo>
                  <a:lnTo>
                    <a:pt x="88" y="104"/>
                  </a:lnTo>
                  <a:lnTo>
                    <a:pt x="88" y="96"/>
                  </a:lnTo>
                  <a:lnTo>
                    <a:pt x="104" y="96"/>
                  </a:lnTo>
                  <a:lnTo>
                    <a:pt x="104" y="96"/>
                  </a:lnTo>
                  <a:lnTo>
                    <a:pt x="96" y="88"/>
                  </a:lnTo>
                  <a:lnTo>
                    <a:pt x="96" y="80"/>
                  </a:lnTo>
                  <a:lnTo>
                    <a:pt x="96" y="72"/>
                  </a:lnTo>
                  <a:lnTo>
                    <a:pt x="80" y="64"/>
                  </a:lnTo>
                  <a:lnTo>
                    <a:pt x="72" y="56"/>
                  </a:lnTo>
                  <a:lnTo>
                    <a:pt x="56" y="56"/>
                  </a:lnTo>
                  <a:lnTo>
                    <a:pt x="40" y="48"/>
                  </a:lnTo>
                  <a:lnTo>
                    <a:pt x="40" y="48"/>
                  </a:lnTo>
                  <a:lnTo>
                    <a:pt x="40" y="48"/>
                  </a:lnTo>
                  <a:lnTo>
                    <a:pt x="40" y="40"/>
                  </a:lnTo>
                  <a:lnTo>
                    <a:pt x="40" y="48"/>
                  </a:lnTo>
                  <a:lnTo>
                    <a:pt x="32" y="48"/>
                  </a:lnTo>
                  <a:lnTo>
                    <a:pt x="24" y="48"/>
                  </a:lnTo>
                  <a:lnTo>
                    <a:pt x="24" y="48"/>
                  </a:lnTo>
                  <a:lnTo>
                    <a:pt x="24" y="40"/>
                  </a:lnTo>
                  <a:lnTo>
                    <a:pt x="24" y="40"/>
                  </a:lnTo>
                  <a:lnTo>
                    <a:pt x="16" y="32"/>
                  </a:lnTo>
                  <a:lnTo>
                    <a:pt x="16" y="32"/>
                  </a:lnTo>
                  <a:lnTo>
                    <a:pt x="32" y="32"/>
                  </a:lnTo>
                  <a:lnTo>
                    <a:pt x="40" y="32"/>
                  </a:lnTo>
                  <a:lnTo>
                    <a:pt x="40" y="32"/>
                  </a:lnTo>
                  <a:lnTo>
                    <a:pt x="32" y="32"/>
                  </a:lnTo>
                  <a:lnTo>
                    <a:pt x="24" y="32"/>
                  </a:lnTo>
                  <a:lnTo>
                    <a:pt x="16" y="32"/>
                  </a:lnTo>
                  <a:lnTo>
                    <a:pt x="16" y="24"/>
                  </a:lnTo>
                  <a:lnTo>
                    <a:pt x="16" y="24"/>
                  </a:lnTo>
                  <a:lnTo>
                    <a:pt x="8" y="24"/>
                  </a:lnTo>
                  <a:lnTo>
                    <a:pt x="0" y="16"/>
                  </a:lnTo>
                  <a:lnTo>
                    <a:pt x="0" y="16"/>
                  </a:lnTo>
                  <a:lnTo>
                    <a:pt x="0" y="8"/>
                  </a:lnTo>
                  <a:lnTo>
                    <a:pt x="8" y="8"/>
                  </a:lnTo>
                  <a:lnTo>
                    <a:pt x="8" y="8"/>
                  </a:lnTo>
                  <a:lnTo>
                    <a:pt x="16" y="0"/>
                  </a:lnTo>
                  <a:lnTo>
                    <a:pt x="24" y="0"/>
                  </a:lnTo>
                  <a:lnTo>
                    <a:pt x="24" y="0"/>
                  </a:lnTo>
                  <a:lnTo>
                    <a:pt x="40" y="8"/>
                  </a:lnTo>
                  <a:lnTo>
                    <a:pt x="48" y="16"/>
                  </a:lnTo>
                  <a:lnTo>
                    <a:pt x="48" y="16"/>
                  </a:lnTo>
                  <a:lnTo>
                    <a:pt x="48" y="32"/>
                  </a:lnTo>
                  <a:lnTo>
                    <a:pt x="48" y="32"/>
                  </a:lnTo>
                  <a:lnTo>
                    <a:pt x="48" y="32"/>
                  </a:lnTo>
                  <a:lnTo>
                    <a:pt x="48" y="32"/>
                  </a:lnTo>
                  <a:lnTo>
                    <a:pt x="56" y="40"/>
                  </a:lnTo>
                  <a:lnTo>
                    <a:pt x="64" y="40"/>
                  </a:lnTo>
                  <a:lnTo>
                    <a:pt x="72" y="32"/>
                  </a:lnTo>
                  <a:lnTo>
                    <a:pt x="88" y="24"/>
                  </a:lnTo>
                  <a:lnTo>
                    <a:pt x="96" y="16"/>
                  </a:lnTo>
                  <a:lnTo>
                    <a:pt x="104" y="24"/>
                  </a:lnTo>
                  <a:lnTo>
                    <a:pt x="112" y="32"/>
                  </a:lnTo>
                  <a:lnTo>
                    <a:pt x="120" y="32"/>
                  </a:lnTo>
                  <a:lnTo>
                    <a:pt x="128" y="32"/>
                  </a:lnTo>
                  <a:lnTo>
                    <a:pt x="128" y="32"/>
                  </a:lnTo>
                  <a:lnTo>
                    <a:pt x="128" y="32"/>
                  </a:lnTo>
                  <a:lnTo>
                    <a:pt x="136"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02" name="Freeform 20"/>
            <p:cNvSpPr>
              <a:spLocks/>
            </p:cNvSpPr>
            <p:nvPr/>
          </p:nvSpPr>
          <p:spPr bwMode="auto">
            <a:xfrm>
              <a:off x="6273791" y="3454349"/>
              <a:ext cx="228599" cy="444493"/>
            </a:xfrm>
            <a:custGeom>
              <a:avLst/>
              <a:gdLst/>
              <a:ahLst/>
              <a:cxnLst>
                <a:cxn ang="0">
                  <a:pos x="24" y="144"/>
                </a:cxn>
                <a:cxn ang="0">
                  <a:pos x="16" y="120"/>
                </a:cxn>
                <a:cxn ang="0">
                  <a:pos x="8" y="104"/>
                </a:cxn>
                <a:cxn ang="0">
                  <a:pos x="8" y="96"/>
                </a:cxn>
                <a:cxn ang="0">
                  <a:pos x="0" y="64"/>
                </a:cxn>
                <a:cxn ang="0">
                  <a:pos x="8" y="48"/>
                </a:cxn>
                <a:cxn ang="0">
                  <a:pos x="16" y="40"/>
                </a:cxn>
                <a:cxn ang="0">
                  <a:pos x="40" y="24"/>
                </a:cxn>
                <a:cxn ang="0">
                  <a:pos x="48" y="16"/>
                </a:cxn>
                <a:cxn ang="0">
                  <a:pos x="48" y="24"/>
                </a:cxn>
                <a:cxn ang="0">
                  <a:pos x="48" y="16"/>
                </a:cxn>
                <a:cxn ang="0">
                  <a:pos x="48" y="8"/>
                </a:cxn>
                <a:cxn ang="0">
                  <a:pos x="72" y="8"/>
                </a:cxn>
                <a:cxn ang="0">
                  <a:pos x="88" y="0"/>
                </a:cxn>
                <a:cxn ang="0">
                  <a:pos x="112" y="0"/>
                </a:cxn>
                <a:cxn ang="0">
                  <a:pos x="128" y="24"/>
                </a:cxn>
                <a:cxn ang="0">
                  <a:pos x="128" y="24"/>
                </a:cxn>
                <a:cxn ang="0">
                  <a:pos x="96" y="56"/>
                </a:cxn>
                <a:cxn ang="0">
                  <a:pos x="120" y="88"/>
                </a:cxn>
                <a:cxn ang="0">
                  <a:pos x="144" y="120"/>
                </a:cxn>
                <a:cxn ang="0">
                  <a:pos x="136" y="152"/>
                </a:cxn>
                <a:cxn ang="0">
                  <a:pos x="128" y="152"/>
                </a:cxn>
                <a:cxn ang="0">
                  <a:pos x="104" y="176"/>
                </a:cxn>
                <a:cxn ang="0">
                  <a:pos x="104" y="176"/>
                </a:cxn>
                <a:cxn ang="0">
                  <a:pos x="104" y="176"/>
                </a:cxn>
                <a:cxn ang="0">
                  <a:pos x="104" y="184"/>
                </a:cxn>
                <a:cxn ang="0">
                  <a:pos x="88" y="192"/>
                </a:cxn>
                <a:cxn ang="0">
                  <a:pos x="88" y="176"/>
                </a:cxn>
                <a:cxn ang="0">
                  <a:pos x="88" y="168"/>
                </a:cxn>
                <a:cxn ang="0">
                  <a:pos x="72" y="160"/>
                </a:cxn>
                <a:cxn ang="0">
                  <a:pos x="64" y="160"/>
                </a:cxn>
                <a:cxn ang="0">
                  <a:pos x="56" y="144"/>
                </a:cxn>
                <a:cxn ang="0">
                  <a:pos x="40" y="136"/>
                </a:cxn>
                <a:cxn ang="0">
                  <a:pos x="40" y="128"/>
                </a:cxn>
                <a:cxn ang="0">
                  <a:pos x="24" y="128"/>
                </a:cxn>
                <a:cxn ang="0">
                  <a:pos x="24" y="136"/>
                </a:cxn>
                <a:cxn ang="0">
                  <a:pos x="16" y="168"/>
                </a:cxn>
                <a:cxn ang="0">
                  <a:pos x="32" y="184"/>
                </a:cxn>
                <a:cxn ang="0">
                  <a:pos x="24" y="192"/>
                </a:cxn>
                <a:cxn ang="0">
                  <a:pos x="32" y="200"/>
                </a:cxn>
                <a:cxn ang="0">
                  <a:pos x="40" y="208"/>
                </a:cxn>
                <a:cxn ang="0">
                  <a:pos x="72" y="248"/>
                </a:cxn>
                <a:cxn ang="0">
                  <a:pos x="72" y="264"/>
                </a:cxn>
                <a:cxn ang="0">
                  <a:pos x="80" y="280"/>
                </a:cxn>
                <a:cxn ang="0">
                  <a:pos x="72" y="280"/>
                </a:cxn>
                <a:cxn ang="0">
                  <a:pos x="64" y="272"/>
                </a:cxn>
                <a:cxn ang="0">
                  <a:pos x="32" y="224"/>
                </a:cxn>
                <a:cxn ang="0">
                  <a:pos x="16" y="192"/>
                </a:cxn>
                <a:cxn ang="0">
                  <a:pos x="8" y="192"/>
                </a:cxn>
                <a:cxn ang="0">
                  <a:pos x="8" y="184"/>
                </a:cxn>
                <a:cxn ang="0">
                  <a:pos x="8" y="168"/>
                </a:cxn>
                <a:cxn ang="0">
                  <a:pos x="8" y="168"/>
                </a:cxn>
              </a:cxnLst>
              <a:rect l="0" t="0" r="r" b="b"/>
              <a:pathLst>
                <a:path w="144" h="280">
                  <a:moveTo>
                    <a:pt x="16" y="160"/>
                  </a:moveTo>
                  <a:lnTo>
                    <a:pt x="24" y="144"/>
                  </a:lnTo>
                  <a:lnTo>
                    <a:pt x="24" y="144"/>
                  </a:lnTo>
                  <a:lnTo>
                    <a:pt x="16" y="120"/>
                  </a:lnTo>
                  <a:lnTo>
                    <a:pt x="8" y="112"/>
                  </a:lnTo>
                  <a:lnTo>
                    <a:pt x="8" y="104"/>
                  </a:lnTo>
                  <a:lnTo>
                    <a:pt x="8" y="104"/>
                  </a:lnTo>
                  <a:lnTo>
                    <a:pt x="8" y="96"/>
                  </a:lnTo>
                  <a:lnTo>
                    <a:pt x="8" y="80"/>
                  </a:lnTo>
                  <a:lnTo>
                    <a:pt x="0" y="64"/>
                  </a:lnTo>
                  <a:lnTo>
                    <a:pt x="0" y="48"/>
                  </a:lnTo>
                  <a:lnTo>
                    <a:pt x="8" y="48"/>
                  </a:lnTo>
                  <a:lnTo>
                    <a:pt x="8" y="48"/>
                  </a:lnTo>
                  <a:lnTo>
                    <a:pt x="16" y="40"/>
                  </a:lnTo>
                  <a:lnTo>
                    <a:pt x="24" y="32"/>
                  </a:lnTo>
                  <a:lnTo>
                    <a:pt x="40" y="24"/>
                  </a:lnTo>
                  <a:lnTo>
                    <a:pt x="40" y="16"/>
                  </a:lnTo>
                  <a:lnTo>
                    <a:pt x="48" y="16"/>
                  </a:lnTo>
                  <a:lnTo>
                    <a:pt x="48" y="16"/>
                  </a:lnTo>
                  <a:lnTo>
                    <a:pt x="48" y="24"/>
                  </a:lnTo>
                  <a:lnTo>
                    <a:pt x="48" y="24"/>
                  </a:lnTo>
                  <a:lnTo>
                    <a:pt x="48" y="16"/>
                  </a:lnTo>
                  <a:lnTo>
                    <a:pt x="48" y="8"/>
                  </a:lnTo>
                  <a:lnTo>
                    <a:pt x="48" y="8"/>
                  </a:lnTo>
                  <a:lnTo>
                    <a:pt x="64" y="8"/>
                  </a:lnTo>
                  <a:lnTo>
                    <a:pt x="72" y="8"/>
                  </a:lnTo>
                  <a:lnTo>
                    <a:pt x="80" y="8"/>
                  </a:lnTo>
                  <a:lnTo>
                    <a:pt x="88" y="0"/>
                  </a:lnTo>
                  <a:lnTo>
                    <a:pt x="96" y="0"/>
                  </a:lnTo>
                  <a:lnTo>
                    <a:pt x="112" y="0"/>
                  </a:lnTo>
                  <a:lnTo>
                    <a:pt x="112" y="16"/>
                  </a:lnTo>
                  <a:lnTo>
                    <a:pt x="128" y="24"/>
                  </a:lnTo>
                  <a:lnTo>
                    <a:pt x="128" y="24"/>
                  </a:lnTo>
                  <a:lnTo>
                    <a:pt x="128" y="24"/>
                  </a:lnTo>
                  <a:lnTo>
                    <a:pt x="96" y="48"/>
                  </a:lnTo>
                  <a:lnTo>
                    <a:pt x="96" y="56"/>
                  </a:lnTo>
                  <a:lnTo>
                    <a:pt x="104" y="64"/>
                  </a:lnTo>
                  <a:lnTo>
                    <a:pt x="120" y="88"/>
                  </a:lnTo>
                  <a:lnTo>
                    <a:pt x="136" y="96"/>
                  </a:lnTo>
                  <a:lnTo>
                    <a:pt x="144" y="120"/>
                  </a:lnTo>
                  <a:lnTo>
                    <a:pt x="136" y="144"/>
                  </a:lnTo>
                  <a:lnTo>
                    <a:pt x="136" y="152"/>
                  </a:lnTo>
                  <a:lnTo>
                    <a:pt x="136" y="152"/>
                  </a:lnTo>
                  <a:lnTo>
                    <a:pt x="128" y="152"/>
                  </a:lnTo>
                  <a:lnTo>
                    <a:pt x="112" y="168"/>
                  </a:lnTo>
                  <a:lnTo>
                    <a:pt x="104" y="176"/>
                  </a:lnTo>
                  <a:lnTo>
                    <a:pt x="104" y="176"/>
                  </a:lnTo>
                  <a:lnTo>
                    <a:pt x="104" y="176"/>
                  </a:lnTo>
                  <a:lnTo>
                    <a:pt x="104" y="176"/>
                  </a:lnTo>
                  <a:lnTo>
                    <a:pt x="104" y="176"/>
                  </a:lnTo>
                  <a:lnTo>
                    <a:pt x="104" y="176"/>
                  </a:lnTo>
                  <a:lnTo>
                    <a:pt x="104" y="184"/>
                  </a:lnTo>
                  <a:lnTo>
                    <a:pt x="96" y="184"/>
                  </a:lnTo>
                  <a:lnTo>
                    <a:pt x="88" y="192"/>
                  </a:lnTo>
                  <a:lnTo>
                    <a:pt x="88" y="176"/>
                  </a:lnTo>
                  <a:lnTo>
                    <a:pt x="88" y="176"/>
                  </a:lnTo>
                  <a:lnTo>
                    <a:pt x="88" y="168"/>
                  </a:lnTo>
                  <a:lnTo>
                    <a:pt x="88" y="168"/>
                  </a:lnTo>
                  <a:lnTo>
                    <a:pt x="72" y="168"/>
                  </a:lnTo>
                  <a:lnTo>
                    <a:pt x="72" y="160"/>
                  </a:lnTo>
                  <a:lnTo>
                    <a:pt x="72" y="160"/>
                  </a:lnTo>
                  <a:lnTo>
                    <a:pt x="64" y="160"/>
                  </a:lnTo>
                  <a:lnTo>
                    <a:pt x="64" y="152"/>
                  </a:lnTo>
                  <a:lnTo>
                    <a:pt x="56" y="144"/>
                  </a:lnTo>
                  <a:lnTo>
                    <a:pt x="40" y="136"/>
                  </a:lnTo>
                  <a:lnTo>
                    <a:pt x="40" y="136"/>
                  </a:lnTo>
                  <a:lnTo>
                    <a:pt x="40" y="136"/>
                  </a:lnTo>
                  <a:lnTo>
                    <a:pt x="40" y="128"/>
                  </a:lnTo>
                  <a:lnTo>
                    <a:pt x="24" y="128"/>
                  </a:lnTo>
                  <a:lnTo>
                    <a:pt x="24" y="128"/>
                  </a:lnTo>
                  <a:lnTo>
                    <a:pt x="24" y="128"/>
                  </a:lnTo>
                  <a:lnTo>
                    <a:pt x="24" y="136"/>
                  </a:lnTo>
                  <a:lnTo>
                    <a:pt x="24" y="144"/>
                  </a:lnTo>
                  <a:lnTo>
                    <a:pt x="16" y="168"/>
                  </a:lnTo>
                  <a:lnTo>
                    <a:pt x="16" y="176"/>
                  </a:lnTo>
                  <a:lnTo>
                    <a:pt x="32" y="184"/>
                  </a:lnTo>
                  <a:lnTo>
                    <a:pt x="32" y="192"/>
                  </a:lnTo>
                  <a:lnTo>
                    <a:pt x="24" y="192"/>
                  </a:lnTo>
                  <a:lnTo>
                    <a:pt x="32" y="200"/>
                  </a:lnTo>
                  <a:lnTo>
                    <a:pt x="32" y="200"/>
                  </a:lnTo>
                  <a:lnTo>
                    <a:pt x="32" y="200"/>
                  </a:lnTo>
                  <a:lnTo>
                    <a:pt x="40" y="208"/>
                  </a:lnTo>
                  <a:lnTo>
                    <a:pt x="72" y="224"/>
                  </a:lnTo>
                  <a:lnTo>
                    <a:pt x="72" y="248"/>
                  </a:lnTo>
                  <a:lnTo>
                    <a:pt x="72" y="256"/>
                  </a:lnTo>
                  <a:lnTo>
                    <a:pt x="72" y="264"/>
                  </a:lnTo>
                  <a:lnTo>
                    <a:pt x="80" y="272"/>
                  </a:lnTo>
                  <a:lnTo>
                    <a:pt x="80" y="280"/>
                  </a:lnTo>
                  <a:lnTo>
                    <a:pt x="80" y="280"/>
                  </a:lnTo>
                  <a:lnTo>
                    <a:pt x="72" y="280"/>
                  </a:lnTo>
                  <a:lnTo>
                    <a:pt x="72" y="280"/>
                  </a:lnTo>
                  <a:lnTo>
                    <a:pt x="64" y="272"/>
                  </a:lnTo>
                  <a:lnTo>
                    <a:pt x="40" y="264"/>
                  </a:lnTo>
                  <a:lnTo>
                    <a:pt x="32" y="224"/>
                  </a:lnTo>
                  <a:lnTo>
                    <a:pt x="24" y="200"/>
                  </a:lnTo>
                  <a:lnTo>
                    <a:pt x="16" y="192"/>
                  </a:lnTo>
                  <a:lnTo>
                    <a:pt x="8" y="192"/>
                  </a:lnTo>
                  <a:lnTo>
                    <a:pt x="8" y="192"/>
                  </a:lnTo>
                  <a:lnTo>
                    <a:pt x="8" y="192"/>
                  </a:lnTo>
                  <a:lnTo>
                    <a:pt x="8" y="184"/>
                  </a:lnTo>
                  <a:lnTo>
                    <a:pt x="8" y="184"/>
                  </a:lnTo>
                  <a:lnTo>
                    <a:pt x="8" y="168"/>
                  </a:lnTo>
                  <a:lnTo>
                    <a:pt x="8" y="168"/>
                  </a:lnTo>
                  <a:lnTo>
                    <a:pt x="8" y="168"/>
                  </a:lnTo>
                  <a:lnTo>
                    <a:pt x="16" y="16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03" name="Freeform 21"/>
            <p:cNvSpPr>
              <a:spLocks/>
            </p:cNvSpPr>
            <p:nvPr/>
          </p:nvSpPr>
          <p:spPr bwMode="auto">
            <a:xfrm>
              <a:off x="6934189" y="3047955"/>
              <a:ext cx="215900" cy="177798"/>
            </a:xfrm>
            <a:custGeom>
              <a:avLst/>
              <a:gdLst/>
              <a:ahLst/>
              <a:cxnLst>
                <a:cxn ang="0">
                  <a:pos x="48" y="112"/>
                </a:cxn>
                <a:cxn ang="0">
                  <a:pos x="48" y="96"/>
                </a:cxn>
                <a:cxn ang="0">
                  <a:pos x="40" y="96"/>
                </a:cxn>
                <a:cxn ang="0">
                  <a:pos x="32" y="104"/>
                </a:cxn>
                <a:cxn ang="0">
                  <a:pos x="32" y="104"/>
                </a:cxn>
                <a:cxn ang="0">
                  <a:pos x="16" y="104"/>
                </a:cxn>
                <a:cxn ang="0">
                  <a:pos x="0" y="104"/>
                </a:cxn>
                <a:cxn ang="0">
                  <a:pos x="8" y="96"/>
                </a:cxn>
                <a:cxn ang="0">
                  <a:pos x="24" y="88"/>
                </a:cxn>
                <a:cxn ang="0">
                  <a:pos x="56" y="88"/>
                </a:cxn>
                <a:cxn ang="0">
                  <a:pos x="64" y="72"/>
                </a:cxn>
                <a:cxn ang="0">
                  <a:pos x="72" y="64"/>
                </a:cxn>
                <a:cxn ang="0">
                  <a:pos x="72" y="72"/>
                </a:cxn>
                <a:cxn ang="0">
                  <a:pos x="80" y="64"/>
                </a:cxn>
                <a:cxn ang="0">
                  <a:pos x="112" y="40"/>
                </a:cxn>
                <a:cxn ang="0">
                  <a:pos x="112" y="8"/>
                </a:cxn>
                <a:cxn ang="0">
                  <a:pos x="120" y="8"/>
                </a:cxn>
                <a:cxn ang="0">
                  <a:pos x="120" y="8"/>
                </a:cxn>
                <a:cxn ang="0">
                  <a:pos x="128" y="8"/>
                </a:cxn>
                <a:cxn ang="0">
                  <a:pos x="120" y="0"/>
                </a:cxn>
                <a:cxn ang="0">
                  <a:pos x="128" y="0"/>
                </a:cxn>
                <a:cxn ang="0">
                  <a:pos x="136" y="24"/>
                </a:cxn>
                <a:cxn ang="0">
                  <a:pos x="128" y="40"/>
                </a:cxn>
                <a:cxn ang="0">
                  <a:pos x="128" y="48"/>
                </a:cxn>
                <a:cxn ang="0">
                  <a:pos x="128" y="48"/>
                </a:cxn>
                <a:cxn ang="0">
                  <a:pos x="120" y="48"/>
                </a:cxn>
                <a:cxn ang="0">
                  <a:pos x="120" y="64"/>
                </a:cxn>
                <a:cxn ang="0">
                  <a:pos x="120" y="72"/>
                </a:cxn>
                <a:cxn ang="0">
                  <a:pos x="120" y="88"/>
                </a:cxn>
                <a:cxn ang="0">
                  <a:pos x="112" y="88"/>
                </a:cxn>
                <a:cxn ang="0">
                  <a:pos x="112" y="96"/>
                </a:cxn>
                <a:cxn ang="0">
                  <a:pos x="112" y="88"/>
                </a:cxn>
                <a:cxn ang="0">
                  <a:pos x="96" y="96"/>
                </a:cxn>
                <a:cxn ang="0">
                  <a:pos x="96" y="96"/>
                </a:cxn>
                <a:cxn ang="0">
                  <a:pos x="88" y="96"/>
                </a:cxn>
                <a:cxn ang="0">
                  <a:pos x="80" y="104"/>
                </a:cxn>
                <a:cxn ang="0">
                  <a:pos x="64" y="96"/>
                </a:cxn>
                <a:cxn ang="0">
                  <a:pos x="72" y="104"/>
                </a:cxn>
                <a:cxn ang="0">
                  <a:pos x="64" y="104"/>
                </a:cxn>
                <a:cxn ang="0">
                  <a:pos x="56" y="112"/>
                </a:cxn>
                <a:cxn ang="0">
                  <a:pos x="56" y="112"/>
                </a:cxn>
                <a:cxn ang="0">
                  <a:pos x="48" y="112"/>
                </a:cxn>
              </a:cxnLst>
              <a:rect l="0" t="0" r="r" b="b"/>
              <a:pathLst>
                <a:path w="136" h="112">
                  <a:moveTo>
                    <a:pt x="48" y="112"/>
                  </a:moveTo>
                  <a:lnTo>
                    <a:pt x="48" y="112"/>
                  </a:lnTo>
                  <a:lnTo>
                    <a:pt x="56" y="104"/>
                  </a:lnTo>
                  <a:lnTo>
                    <a:pt x="48" y="96"/>
                  </a:lnTo>
                  <a:lnTo>
                    <a:pt x="40" y="96"/>
                  </a:lnTo>
                  <a:lnTo>
                    <a:pt x="40" y="96"/>
                  </a:lnTo>
                  <a:lnTo>
                    <a:pt x="40" y="96"/>
                  </a:lnTo>
                  <a:lnTo>
                    <a:pt x="32" y="104"/>
                  </a:lnTo>
                  <a:lnTo>
                    <a:pt x="32" y="104"/>
                  </a:lnTo>
                  <a:lnTo>
                    <a:pt x="32" y="104"/>
                  </a:lnTo>
                  <a:lnTo>
                    <a:pt x="24" y="104"/>
                  </a:lnTo>
                  <a:lnTo>
                    <a:pt x="16" y="104"/>
                  </a:lnTo>
                  <a:lnTo>
                    <a:pt x="0" y="104"/>
                  </a:lnTo>
                  <a:lnTo>
                    <a:pt x="0" y="104"/>
                  </a:lnTo>
                  <a:lnTo>
                    <a:pt x="0" y="104"/>
                  </a:lnTo>
                  <a:lnTo>
                    <a:pt x="8" y="96"/>
                  </a:lnTo>
                  <a:lnTo>
                    <a:pt x="24" y="88"/>
                  </a:lnTo>
                  <a:lnTo>
                    <a:pt x="24" y="88"/>
                  </a:lnTo>
                  <a:lnTo>
                    <a:pt x="56" y="88"/>
                  </a:lnTo>
                  <a:lnTo>
                    <a:pt x="56" y="88"/>
                  </a:lnTo>
                  <a:lnTo>
                    <a:pt x="64" y="72"/>
                  </a:lnTo>
                  <a:lnTo>
                    <a:pt x="64" y="72"/>
                  </a:lnTo>
                  <a:lnTo>
                    <a:pt x="72" y="64"/>
                  </a:lnTo>
                  <a:lnTo>
                    <a:pt x="72" y="64"/>
                  </a:lnTo>
                  <a:lnTo>
                    <a:pt x="72" y="64"/>
                  </a:lnTo>
                  <a:lnTo>
                    <a:pt x="72" y="72"/>
                  </a:lnTo>
                  <a:lnTo>
                    <a:pt x="72" y="72"/>
                  </a:lnTo>
                  <a:lnTo>
                    <a:pt x="80" y="64"/>
                  </a:lnTo>
                  <a:lnTo>
                    <a:pt x="96" y="56"/>
                  </a:lnTo>
                  <a:lnTo>
                    <a:pt x="112" y="40"/>
                  </a:lnTo>
                  <a:lnTo>
                    <a:pt x="112" y="24"/>
                  </a:lnTo>
                  <a:lnTo>
                    <a:pt x="112" y="8"/>
                  </a:lnTo>
                  <a:lnTo>
                    <a:pt x="120" y="8"/>
                  </a:lnTo>
                  <a:lnTo>
                    <a:pt x="120" y="8"/>
                  </a:lnTo>
                  <a:lnTo>
                    <a:pt x="120" y="8"/>
                  </a:lnTo>
                  <a:lnTo>
                    <a:pt x="120" y="8"/>
                  </a:lnTo>
                  <a:lnTo>
                    <a:pt x="128" y="8"/>
                  </a:lnTo>
                  <a:lnTo>
                    <a:pt x="128" y="8"/>
                  </a:lnTo>
                  <a:lnTo>
                    <a:pt x="120" y="8"/>
                  </a:lnTo>
                  <a:lnTo>
                    <a:pt x="120" y="0"/>
                  </a:lnTo>
                  <a:lnTo>
                    <a:pt x="120" y="0"/>
                  </a:lnTo>
                  <a:lnTo>
                    <a:pt x="128" y="0"/>
                  </a:lnTo>
                  <a:lnTo>
                    <a:pt x="128" y="8"/>
                  </a:lnTo>
                  <a:lnTo>
                    <a:pt x="136" y="24"/>
                  </a:lnTo>
                  <a:lnTo>
                    <a:pt x="136" y="32"/>
                  </a:lnTo>
                  <a:lnTo>
                    <a:pt x="128" y="40"/>
                  </a:lnTo>
                  <a:lnTo>
                    <a:pt x="128" y="40"/>
                  </a:lnTo>
                  <a:lnTo>
                    <a:pt x="128" y="48"/>
                  </a:lnTo>
                  <a:lnTo>
                    <a:pt x="128" y="48"/>
                  </a:lnTo>
                  <a:lnTo>
                    <a:pt x="128" y="48"/>
                  </a:lnTo>
                  <a:lnTo>
                    <a:pt x="128" y="48"/>
                  </a:lnTo>
                  <a:lnTo>
                    <a:pt x="120" y="48"/>
                  </a:lnTo>
                  <a:lnTo>
                    <a:pt x="120" y="56"/>
                  </a:lnTo>
                  <a:lnTo>
                    <a:pt x="120" y="64"/>
                  </a:lnTo>
                  <a:lnTo>
                    <a:pt x="120" y="64"/>
                  </a:lnTo>
                  <a:lnTo>
                    <a:pt x="120" y="72"/>
                  </a:lnTo>
                  <a:lnTo>
                    <a:pt x="120" y="80"/>
                  </a:lnTo>
                  <a:lnTo>
                    <a:pt x="120" y="88"/>
                  </a:lnTo>
                  <a:lnTo>
                    <a:pt x="120" y="88"/>
                  </a:lnTo>
                  <a:lnTo>
                    <a:pt x="112" y="88"/>
                  </a:lnTo>
                  <a:lnTo>
                    <a:pt x="112" y="96"/>
                  </a:lnTo>
                  <a:lnTo>
                    <a:pt x="112" y="96"/>
                  </a:lnTo>
                  <a:lnTo>
                    <a:pt x="112" y="88"/>
                  </a:lnTo>
                  <a:lnTo>
                    <a:pt x="112" y="88"/>
                  </a:lnTo>
                  <a:lnTo>
                    <a:pt x="96" y="96"/>
                  </a:lnTo>
                  <a:lnTo>
                    <a:pt x="96" y="96"/>
                  </a:lnTo>
                  <a:lnTo>
                    <a:pt x="96" y="96"/>
                  </a:lnTo>
                  <a:lnTo>
                    <a:pt x="96" y="96"/>
                  </a:lnTo>
                  <a:lnTo>
                    <a:pt x="88" y="96"/>
                  </a:lnTo>
                  <a:lnTo>
                    <a:pt x="88" y="96"/>
                  </a:lnTo>
                  <a:lnTo>
                    <a:pt x="88" y="104"/>
                  </a:lnTo>
                  <a:lnTo>
                    <a:pt x="80" y="104"/>
                  </a:lnTo>
                  <a:lnTo>
                    <a:pt x="72" y="96"/>
                  </a:lnTo>
                  <a:lnTo>
                    <a:pt x="64" y="96"/>
                  </a:lnTo>
                  <a:lnTo>
                    <a:pt x="64" y="96"/>
                  </a:lnTo>
                  <a:lnTo>
                    <a:pt x="72" y="104"/>
                  </a:lnTo>
                  <a:lnTo>
                    <a:pt x="72" y="104"/>
                  </a:lnTo>
                  <a:lnTo>
                    <a:pt x="64" y="104"/>
                  </a:lnTo>
                  <a:lnTo>
                    <a:pt x="64" y="104"/>
                  </a:lnTo>
                  <a:lnTo>
                    <a:pt x="56" y="112"/>
                  </a:lnTo>
                  <a:lnTo>
                    <a:pt x="56" y="112"/>
                  </a:lnTo>
                  <a:lnTo>
                    <a:pt x="56" y="112"/>
                  </a:lnTo>
                  <a:lnTo>
                    <a:pt x="56" y="112"/>
                  </a:lnTo>
                  <a:lnTo>
                    <a:pt x="48" y="11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04" name="Freeform 22"/>
            <p:cNvSpPr>
              <a:spLocks/>
            </p:cNvSpPr>
            <p:nvPr/>
          </p:nvSpPr>
          <p:spPr bwMode="auto">
            <a:xfrm>
              <a:off x="5359392" y="1968471"/>
              <a:ext cx="342899" cy="253996"/>
            </a:xfrm>
            <a:custGeom>
              <a:avLst/>
              <a:gdLst/>
              <a:ahLst/>
              <a:cxnLst>
                <a:cxn ang="0">
                  <a:pos x="64" y="152"/>
                </a:cxn>
                <a:cxn ang="0">
                  <a:pos x="48" y="136"/>
                </a:cxn>
                <a:cxn ang="0">
                  <a:pos x="48" y="104"/>
                </a:cxn>
                <a:cxn ang="0">
                  <a:pos x="80" y="72"/>
                </a:cxn>
                <a:cxn ang="0">
                  <a:pos x="112" y="56"/>
                </a:cxn>
                <a:cxn ang="0">
                  <a:pos x="120" y="48"/>
                </a:cxn>
                <a:cxn ang="0">
                  <a:pos x="128" y="48"/>
                </a:cxn>
                <a:cxn ang="0">
                  <a:pos x="136" y="40"/>
                </a:cxn>
                <a:cxn ang="0">
                  <a:pos x="160" y="32"/>
                </a:cxn>
                <a:cxn ang="0">
                  <a:pos x="184" y="24"/>
                </a:cxn>
                <a:cxn ang="0">
                  <a:pos x="216" y="16"/>
                </a:cxn>
                <a:cxn ang="0">
                  <a:pos x="216" y="8"/>
                </a:cxn>
                <a:cxn ang="0">
                  <a:pos x="200" y="0"/>
                </a:cxn>
                <a:cxn ang="0">
                  <a:pos x="184" y="0"/>
                </a:cxn>
                <a:cxn ang="0">
                  <a:pos x="144" y="24"/>
                </a:cxn>
                <a:cxn ang="0">
                  <a:pos x="136" y="24"/>
                </a:cxn>
                <a:cxn ang="0">
                  <a:pos x="136" y="24"/>
                </a:cxn>
                <a:cxn ang="0">
                  <a:pos x="128" y="16"/>
                </a:cxn>
                <a:cxn ang="0">
                  <a:pos x="112" y="16"/>
                </a:cxn>
                <a:cxn ang="0">
                  <a:pos x="104" y="24"/>
                </a:cxn>
                <a:cxn ang="0">
                  <a:pos x="96" y="24"/>
                </a:cxn>
                <a:cxn ang="0">
                  <a:pos x="72" y="40"/>
                </a:cxn>
                <a:cxn ang="0">
                  <a:pos x="56" y="48"/>
                </a:cxn>
                <a:cxn ang="0">
                  <a:pos x="40" y="48"/>
                </a:cxn>
                <a:cxn ang="0">
                  <a:pos x="48" y="56"/>
                </a:cxn>
                <a:cxn ang="0">
                  <a:pos x="48" y="64"/>
                </a:cxn>
                <a:cxn ang="0">
                  <a:pos x="24" y="80"/>
                </a:cxn>
                <a:cxn ang="0">
                  <a:pos x="32" y="88"/>
                </a:cxn>
                <a:cxn ang="0">
                  <a:pos x="32" y="96"/>
                </a:cxn>
                <a:cxn ang="0">
                  <a:pos x="32" y="96"/>
                </a:cxn>
                <a:cxn ang="0">
                  <a:pos x="16" y="96"/>
                </a:cxn>
                <a:cxn ang="0">
                  <a:pos x="8" y="104"/>
                </a:cxn>
                <a:cxn ang="0">
                  <a:pos x="8" y="112"/>
                </a:cxn>
                <a:cxn ang="0">
                  <a:pos x="8" y="120"/>
                </a:cxn>
                <a:cxn ang="0">
                  <a:pos x="0" y="128"/>
                </a:cxn>
                <a:cxn ang="0">
                  <a:pos x="0" y="136"/>
                </a:cxn>
                <a:cxn ang="0">
                  <a:pos x="0" y="136"/>
                </a:cxn>
                <a:cxn ang="0">
                  <a:pos x="8" y="136"/>
                </a:cxn>
                <a:cxn ang="0">
                  <a:pos x="16" y="136"/>
                </a:cxn>
                <a:cxn ang="0">
                  <a:pos x="24" y="136"/>
                </a:cxn>
                <a:cxn ang="0">
                  <a:pos x="24" y="152"/>
                </a:cxn>
                <a:cxn ang="0">
                  <a:pos x="24" y="152"/>
                </a:cxn>
                <a:cxn ang="0">
                  <a:pos x="24" y="152"/>
                </a:cxn>
                <a:cxn ang="0">
                  <a:pos x="32" y="152"/>
                </a:cxn>
                <a:cxn ang="0">
                  <a:pos x="32" y="152"/>
                </a:cxn>
                <a:cxn ang="0">
                  <a:pos x="40" y="160"/>
                </a:cxn>
                <a:cxn ang="0">
                  <a:pos x="40" y="160"/>
                </a:cxn>
                <a:cxn ang="0">
                  <a:pos x="72" y="160"/>
                </a:cxn>
                <a:cxn ang="0">
                  <a:pos x="72" y="160"/>
                </a:cxn>
                <a:cxn ang="0">
                  <a:pos x="72" y="152"/>
                </a:cxn>
                <a:cxn ang="0">
                  <a:pos x="64" y="152"/>
                </a:cxn>
                <a:cxn ang="0">
                  <a:pos x="72" y="160"/>
                </a:cxn>
                <a:cxn ang="0">
                  <a:pos x="64" y="152"/>
                </a:cxn>
              </a:cxnLst>
              <a:rect l="0" t="0" r="r" b="b"/>
              <a:pathLst>
                <a:path w="216" h="160">
                  <a:moveTo>
                    <a:pt x="64" y="152"/>
                  </a:moveTo>
                  <a:lnTo>
                    <a:pt x="48" y="136"/>
                  </a:lnTo>
                  <a:lnTo>
                    <a:pt x="48" y="104"/>
                  </a:lnTo>
                  <a:lnTo>
                    <a:pt x="80" y="72"/>
                  </a:lnTo>
                  <a:lnTo>
                    <a:pt x="112" y="56"/>
                  </a:lnTo>
                  <a:lnTo>
                    <a:pt x="120" y="48"/>
                  </a:lnTo>
                  <a:lnTo>
                    <a:pt x="128" y="48"/>
                  </a:lnTo>
                  <a:lnTo>
                    <a:pt x="136" y="40"/>
                  </a:lnTo>
                  <a:lnTo>
                    <a:pt x="160" y="32"/>
                  </a:lnTo>
                  <a:lnTo>
                    <a:pt x="184" y="24"/>
                  </a:lnTo>
                  <a:lnTo>
                    <a:pt x="216" y="16"/>
                  </a:lnTo>
                  <a:lnTo>
                    <a:pt x="216" y="8"/>
                  </a:lnTo>
                  <a:lnTo>
                    <a:pt x="200" y="0"/>
                  </a:lnTo>
                  <a:lnTo>
                    <a:pt x="184" y="0"/>
                  </a:lnTo>
                  <a:lnTo>
                    <a:pt x="144" y="24"/>
                  </a:lnTo>
                  <a:lnTo>
                    <a:pt x="136" y="24"/>
                  </a:lnTo>
                  <a:lnTo>
                    <a:pt x="136" y="24"/>
                  </a:lnTo>
                  <a:lnTo>
                    <a:pt x="128" y="16"/>
                  </a:lnTo>
                  <a:lnTo>
                    <a:pt x="112" y="16"/>
                  </a:lnTo>
                  <a:lnTo>
                    <a:pt x="104" y="24"/>
                  </a:lnTo>
                  <a:lnTo>
                    <a:pt x="96" y="24"/>
                  </a:lnTo>
                  <a:lnTo>
                    <a:pt x="72" y="40"/>
                  </a:lnTo>
                  <a:lnTo>
                    <a:pt x="56" y="48"/>
                  </a:lnTo>
                  <a:lnTo>
                    <a:pt x="40" y="48"/>
                  </a:lnTo>
                  <a:lnTo>
                    <a:pt x="48" y="56"/>
                  </a:lnTo>
                  <a:lnTo>
                    <a:pt x="48" y="64"/>
                  </a:lnTo>
                  <a:lnTo>
                    <a:pt x="24" y="80"/>
                  </a:lnTo>
                  <a:lnTo>
                    <a:pt x="32" y="88"/>
                  </a:lnTo>
                  <a:lnTo>
                    <a:pt x="32" y="96"/>
                  </a:lnTo>
                  <a:lnTo>
                    <a:pt x="32" y="96"/>
                  </a:lnTo>
                  <a:lnTo>
                    <a:pt x="16" y="96"/>
                  </a:lnTo>
                  <a:lnTo>
                    <a:pt x="8" y="104"/>
                  </a:lnTo>
                  <a:lnTo>
                    <a:pt x="8" y="112"/>
                  </a:lnTo>
                  <a:lnTo>
                    <a:pt x="8" y="120"/>
                  </a:lnTo>
                  <a:lnTo>
                    <a:pt x="0" y="128"/>
                  </a:lnTo>
                  <a:lnTo>
                    <a:pt x="0" y="136"/>
                  </a:lnTo>
                  <a:lnTo>
                    <a:pt x="0" y="136"/>
                  </a:lnTo>
                  <a:lnTo>
                    <a:pt x="8" y="136"/>
                  </a:lnTo>
                  <a:lnTo>
                    <a:pt x="16" y="136"/>
                  </a:lnTo>
                  <a:lnTo>
                    <a:pt x="24" y="136"/>
                  </a:lnTo>
                  <a:lnTo>
                    <a:pt x="24" y="152"/>
                  </a:lnTo>
                  <a:lnTo>
                    <a:pt x="24" y="152"/>
                  </a:lnTo>
                  <a:lnTo>
                    <a:pt x="24" y="152"/>
                  </a:lnTo>
                  <a:lnTo>
                    <a:pt x="32" y="152"/>
                  </a:lnTo>
                  <a:lnTo>
                    <a:pt x="32" y="152"/>
                  </a:lnTo>
                  <a:lnTo>
                    <a:pt x="40" y="160"/>
                  </a:lnTo>
                  <a:lnTo>
                    <a:pt x="40" y="160"/>
                  </a:lnTo>
                  <a:lnTo>
                    <a:pt x="72" y="160"/>
                  </a:lnTo>
                  <a:lnTo>
                    <a:pt x="72" y="160"/>
                  </a:lnTo>
                  <a:lnTo>
                    <a:pt x="72" y="152"/>
                  </a:lnTo>
                  <a:lnTo>
                    <a:pt x="64" y="152"/>
                  </a:lnTo>
                  <a:lnTo>
                    <a:pt x="72" y="160"/>
                  </a:lnTo>
                  <a:lnTo>
                    <a:pt x="64" y="15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05" name="Freeform 23"/>
            <p:cNvSpPr>
              <a:spLocks/>
            </p:cNvSpPr>
            <p:nvPr/>
          </p:nvSpPr>
          <p:spPr bwMode="auto">
            <a:xfrm>
              <a:off x="6299190" y="1854173"/>
              <a:ext cx="127000" cy="76199"/>
            </a:xfrm>
            <a:custGeom>
              <a:avLst/>
              <a:gdLst/>
              <a:ahLst/>
              <a:cxnLst>
                <a:cxn ang="0">
                  <a:pos x="0" y="48"/>
                </a:cxn>
                <a:cxn ang="0">
                  <a:pos x="0" y="32"/>
                </a:cxn>
                <a:cxn ang="0">
                  <a:pos x="16" y="16"/>
                </a:cxn>
                <a:cxn ang="0">
                  <a:pos x="32" y="0"/>
                </a:cxn>
                <a:cxn ang="0">
                  <a:pos x="40" y="0"/>
                </a:cxn>
                <a:cxn ang="0">
                  <a:pos x="48" y="0"/>
                </a:cxn>
                <a:cxn ang="0">
                  <a:pos x="48" y="0"/>
                </a:cxn>
                <a:cxn ang="0">
                  <a:pos x="48" y="8"/>
                </a:cxn>
                <a:cxn ang="0">
                  <a:pos x="48" y="8"/>
                </a:cxn>
                <a:cxn ang="0">
                  <a:pos x="48" y="8"/>
                </a:cxn>
                <a:cxn ang="0">
                  <a:pos x="64" y="8"/>
                </a:cxn>
                <a:cxn ang="0">
                  <a:pos x="80" y="24"/>
                </a:cxn>
                <a:cxn ang="0">
                  <a:pos x="80" y="40"/>
                </a:cxn>
                <a:cxn ang="0">
                  <a:pos x="56" y="40"/>
                </a:cxn>
                <a:cxn ang="0">
                  <a:pos x="48" y="40"/>
                </a:cxn>
                <a:cxn ang="0">
                  <a:pos x="32" y="40"/>
                </a:cxn>
                <a:cxn ang="0">
                  <a:pos x="8" y="48"/>
                </a:cxn>
                <a:cxn ang="0">
                  <a:pos x="0" y="48"/>
                </a:cxn>
              </a:cxnLst>
              <a:rect l="0" t="0" r="r" b="b"/>
              <a:pathLst>
                <a:path w="80" h="48">
                  <a:moveTo>
                    <a:pt x="0" y="48"/>
                  </a:moveTo>
                  <a:lnTo>
                    <a:pt x="0" y="32"/>
                  </a:lnTo>
                  <a:lnTo>
                    <a:pt x="16" y="16"/>
                  </a:lnTo>
                  <a:lnTo>
                    <a:pt x="32" y="0"/>
                  </a:lnTo>
                  <a:lnTo>
                    <a:pt x="40" y="0"/>
                  </a:lnTo>
                  <a:lnTo>
                    <a:pt x="48" y="0"/>
                  </a:lnTo>
                  <a:lnTo>
                    <a:pt x="48" y="0"/>
                  </a:lnTo>
                  <a:lnTo>
                    <a:pt x="48" y="8"/>
                  </a:lnTo>
                  <a:lnTo>
                    <a:pt x="48" y="8"/>
                  </a:lnTo>
                  <a:lnTo>
                    <a:pt x="48" y="8"/>
                  </a:lnTo>
                  <a:lnTo>
                    <a:pt x="64" y="8"/>
                  </a:lnTo>
                  <a:lnTo>
                    <a:pt x="80" y="24"/>
                  </a:lnTo>
                  <a:lnTo>
                    <a:pt x="80" y="40"/>
                  </a:lnTo>
                  <a:lnTo>
                    <a:pt x="56" y="40"/>
                  </a:lnTo>
                  <a:lnTo>
                    <a:pt x="48" y="40"/>
                  </a:lnTo>
                  <a:lnTo>
                    <a:pt x="32" y="40"/>
                  </a:lnTo>
                  <a:lnTo>
                    <a:pt x="8" y="48"/>
                  </a:lnTo>
                  <a:lnTo>
                    <a:pt x="0" y="4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06" name="Freeform 24"/>
            <p:cNvSpPr>
              <a:spLocks/>
            </p:cNvSpPr>
            <p:nvPr/>
          </p:nvSpPr>
          <p:spPr bwMode="auto">
            <a:xfrm>
              <a:off x="6146791" y="1777974"/>
              <a:ext cx="165100" cy="114298"/>
            </a:xfrm>
            <a:custGeom>
              <a:avLst/>
              <a:gdLst/>
              <a:ahLst/>
              <a:cxnLst>
                <a:cxn ang="0">
                  <a:pos x="104" y="72"/>
                </a:cxn>
                <a:cxn ang="0">
                  <a:pos x="80" y="72"/>
                </a:cxn>
                <a:cxn ang="0">
                  <a:pos x="48" y="64"/>
                </a:cxn>
                <a:cxn ang="0">
                  <a:pos x="40" y="64"/>
                </a:cxn>
                <a:cxn ang="0">
                  <a:pos x="24" y="48"/>
                </a:cxn>
                <a:cxn ang="0">
                  <a:pos x="16" y="48"/>
                </a:cxn>
                <a:cxn ang="0">
                  <a:pos x="16" y="48"/>
                </a:cxn>
                <a:cxn ang="0">
                  <a:pos x="32" y="40"/>
                </a:cxn>
                <a:cxn ang="0">
                  <a:pos x="48" y="32"/>
                </a:cxn>
                <a:cxn ang="0">
                  <a:pos x="56" y="32"/>
                </a:cxn>
                <a:cxn ang="0">
                  <a:pos x="56" y="32"/>
                </a:cxn>
                <a:cxn ang="0">
                  <a:pos x="32" y="32"/>
                </a:cxn>
                <a:cxn ang="0">
                  <a:pos x="24" y="32"/>
                </a:cxn>
                <a:cxn ang="0">
                  <a:pos x="8" y="24"/>
                </a:cxn>
                <a:cxn ang="0">
                  <a:pos x="0" y="24"/>
                </a:cxn>
                <a:cxn ang="0">
                  <a:pos x="0" y="24"/>
                </a:cxn>
                <a:cxn ang="0">
                  <a:pos x="8" y="24"/>
                </a:cxn>
                <a:cxn ang="0">
                  <a:pos x="40" y="0"/>
                </a:cxn>
                <a:cxn ang="0">
                  <a:pos x="56" y="0"/>
                </a:cxn>
                <a:cxn ang="0">
                  <a:pos x="72" y="8"/>
                </a:cxn>
                <a:cxn ang="0">
                  <a:pos x="72" y="16"/>
                </a:cxn>
                <a:cxn ang="0">
                  <a:pos x="72" y="16"/>
                </a:cxn>
                <a:cxn ang="0">
                  <a:pos x="72" y="16"/>
                </a:cxn>
                <a:cxn ang="0">
                  <a:pos x="72" y="16"/>
                </a:cxn>
                <a:cxn ang="0">
                  <a:pos x="72" y="16"/>
                </a:cxn>
                <a:cxn ang="0">
                  <a:pos x="72" y="16"/>
                </a:cxn>
                <a:cxn ang="0">
                  <a:pos x="72" y="24"/>
                </a:cxn>
                <a:cxn ang="0">
                  <a:pos x="72" y="24"/>
                </a:cxn>
                <a:cxn ang="0">
                  <a:pos x="64" y="32"/>
                </a:cxn>
                <a:cxn ang="0">
                  <a:pos x="64" y="32"/>
                </a:cxn>
                <a:cxn ang="0">
                  <a:pos x="80" y="32"/>
                </a:cxn>
                <a:cxn ang="0">
                  <a:pos x="80" y="32"/>
                </a:cxn>
                <a:cxn ang="0">
                  <a:pos x="88" y="32"/>
                </a:cxn>
                <a:cxn ang="0">
                  <a:pos x="96" y="32"/>
                </a:cxn>
                <a:cxn ang="0">
                  <a:pos x="104" y="48"/>
                </a:cxn>
                <a:cxn ang="0">
                  <a:pos x="104" y="48"/>
                </a:cxn>
                <a:cxn ang="0">
                  <a:pos x="104" y="48"/>
                </a:cxn>
                <a:cxn ang="0">
                  <a:pos x="104" y="48"/>
                </a:cxn>
                <a:cxn ang="0">
                  <a:pos x="104" y="56"/>
                </a:cxn>
                <a:cxn ang="0">
                  <a:pos x="104" y="56"/>
                </a:cxn>
                <a:cxn ang="0">
                  <a:pos x="96" y="56"/>
                </a:cxn>
                <a:cxn ang="0">
                  <a:pos x="96" y="56"/>
                </a:cxn>
                <a:cxn ang="0">
                  <a:pos x="104" y="64"/>
                </a:cxn>
                <a:cxn ang="0">
                  <a:pos x="104" y="72"/>
                </a:cxn>
              </a:cxnLst>
              <a:rect l="0" t="0" r="r" b="b"/>
              <a:pathLst>
                <a:path w="104" h="72">
                  <a:moveTo>
                    <a:pt x="104" y="72"/>
                  </a:moveTo>
                  <a:lnTo>
                    <a:pt x="80" y="72"/>
                  </a:lnTo>
                  <a:lnTo>
                    <a:pt x="48" y="64"/>
                  </a:lnTo>
                  <a:lnTo>
                    <a:pt x="40" y="64"/>
                  </a:lnTo>
                  <a:lnTo>
                    <a:pt x="24" y="48"/>
                  </a:lnTo>
                  <a:lnTo>
                    <a:pt x="16" y="48"/>
                  </a:lnTo>
                  <a:lnTo>
                    <a:pt x="16" y="48"/>
                  </a:lnTo>
                  <a:lnTo>
                    <a:pt x="32" y="40"/>
                  </a:lnTo>
                  <a:lnTo>
                    <a:pt x="48" y="32"/>
                  </a:lnTo>
                  <a:lnTo>
                    <a:pt x="56" y="32"/>
                  </a:lnTo>
                  <a:lnTo>
                    <a:pt x="56" y="32"/>
                  </a:lnTo>
                  <a:lnTo>
                    <a:pt x="32" y="32"/>
                  </a:lnTo>
                  <a:lnTo>
                    <a:pt x="24" y="32"/>
                  </a:lnTo>
                  <a:lnTo>
                    <a:pt x="8" y="24"/>
                  </a:lnTo>
                  <a:lnTo>
                    <a:pt x="0" y="24"/>
                  </a:lnTo>
                  <a:lnTo>
                    <a:pt x="0" y="24"/>
                  </a:lnTo>
                  <a:lnTo>
                    <a:pt x="8" y="24"/>
                  </a:lnTo>
                  <a:lnTo>
                    <a:pt x="40" y="0"/>
                  </a:lnTo>
                  <a:lnTo>
                    <a:pt x="56" y="0"/>
                  </a:lnTo>
                  <a:lnTo>
                    <a:pt x="72" y="8"/>
                  </a:lnTo>
                  <a:lnTo>
                    <a:pt x="72" y="16"/>
                  </a:lnTo>
                  <a:lnTo>
                    <a:pt x="72" y="16"/>
                  </a:lnTo>
                  <a:lnTo>
                    <a:pt x="72" y="16"/>
                  </a:lnTo>
                  <a:lnTo>
                    <a:pt x="72" y="16"/>
                  </a:lnTo>
                  <a:lnTo>
                    <a:pt x="72" y="16"/>
                  </a:lnTo>
                  <a:lnTo>
                    <a:pt x="72" y="16"/>
                  </a:lnTo>
                  <a:lnTo>
                    <a:pt x="72" y="24"/>
                  </a:lnTo>
                  <a:lnTo>
                    <a:pt x="72" y="24"/>
                  </a:lnTo>
                  <a:lnTo>
                    <a:pt x="64" y="32"/>
                  </a:lnTo>
                  <a:lnTo>
                    <a:pt x="64" y="32"/>
                  </a:lnTo>
                  <a:lnTo>
                    <a:pt x="80" y="32"/>
                  </a:lnTo>
                  <a:lnTo>
                    <a:pt x="80" y="32"/>
                  </a:lnTo>
                  <a:lnTo>
                    <a:pt x="88" y="32"/>
                  </a:lnTo>
                  <a:lnTo>
                    <a:pt x="96" y="32"/>
                  </a:lnTo>
                  <a:lnTo>
                    <a:pt x="104" y="48"/>
                  </a:lnTo>
                  <a:lnTo>
                    <a:pt x="104" y="48"/>
                  </a:lnTo>
                  <a:lnTo>
                    <a:pt x="104" y="48"/>
                  </a:lnTo>
                  <a:lnTo>
                    <a:pt x="104" y="48"/>
                  </a:lnTo>
                  <a:lnTo>
                    <a:pt x="104" y="56"/>
                  </a:lnTo>
                  <a:lnTo>
                    <a:pt x="104" y="56"/>
                  </a:lnTo>
                  <a:lnTo>
                    <a:pt x="96" y="56"/>
                  </a:lnTo>
                  <a:lnTo>
                    <a:pt x="96" y="56"/>
                  </a:lnTo>
                  <a:lnTo>
                    <a:pt x="104" y="64"/>
                  </a:lnTo>
                  <a:lnTo>
                    <a:pt x="104" y="7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07" name="Freeform 25"/>
            <p:cNvSpPr>
              <a:spLocks/>
            </p:cNvSpPr>
            <p:nvPr/>
          </p:nvSpPr>
          <p:spPr bwMode="auto">
            <a:xfrm>
              <a:off x="4545006" y="1828773"/>
              <a:ext cx="280986" cy="152398"/>
            </a:xfrm>
            <a:custGeom>
              <a:avLst/>
              <a:gdLst/>
              <a:ahLst/>
              <a:cxnLst>
                <a:cxn ang="0">
                  <a:pos x="145" y="80"/>
                </a:cxn>
                <a:cxn ang="0">
                  <a:pos x="145" y="72"/>
                </a:cxn>
                <a:cxn ang="0">
                  <a:pos x="145" y="72"/>
                </a:cxn>
                <a:cxn ang="0">
                  <a:pos x="129" y="72"/>
                </a:cxn>
                <a:cxn ang="0">
                  <a:pos x="129" y="64"/>
                </a:cxn>
                <a:cxn ang="0">
                  <a:pos x="137" y="64"/>
                </a:cxn>
                <a:cxn ang="0">
                  <a:pos x="129" y="48"/>
                </a:cxn>
                <a:cxn ang="0">
                  <a:pos x="129" y="48"/>
                </a:cxn>
                <a:cxn ang="0">
                  <a:pos x="121" y="40"/>
                </a:cxn>
                <a:cxn ang="0">
                  <a:pos x="97" y="64"/>
                </a:cxn>
                <a:cxn ang="0">
                  <a:pos x="89" y="80"/>
                </a:cxn>
                <a:cxn ang="0">
                  <a:pos x="81" y="96"/>
                </a:cxn>
                <a:cxn ang="0">
                  <a:pos x="65" y="96"/>
                </a:cxn>
                <a:cxn ang="0">
                  <a:pos x="41" y="72"/>
                </a:cxn>
                <a:cxn ang="0">
                  <a:pos x="49" y="72"/>
                </a:cxn>
                <a:cxn ang="0">
                  <a:pos x="57" y="72"/>
                </a:cxn>
                <a:cxn ang="0">
                  <a:pos x="73" y="72"/>
                </a:cxn>
                <a:cxn ang="0">
                  <a:pos x="49" y="72"/>
                </a:cxn>
                <a:cxn ang="0">
                  <a:pos x="41" y="56"/>
                </a:cxn>
                <a:cxn ang="0">
                  <a:pos x="57" y="56"/>
                </a:cxn>
                <a:cxn ang="0">
                  <a:pos x="73" y="48"/>
                </a:cxn>
                <a:cxn ang="0">
                  <a:pos x="65" y="48"/>
                </a:cxn>
                <a:cxn ang="0">
                  <a:pos x="57" y="40"/>
                </a:cxn>
                <a:cxn ang="0">
                  <a:pos x="49" y="40"/>
                </a:cxn>
                <a:cxn ang="0">
                  <a:pos x="25" y="56"/>
                </a:cxn>
                <a:cxn ang="0">
                  <a:pos x="25" y="48"/>
                </a:cxn>
                <a:cxn ang="0">
                  <a:pos x="25" y="48"/>
                </a:cxn>
                <a:cxn ang="0">
                  <a:pos x="17" y="32"/>
                </a:cxn>
                <a:cxn ang="0">
                  <a:pos x="8" y="32"/>
                </a:cxn>
                <a:cxn ang="0">
                  <a:pos x="0" y="24"/>
                </a:cxn>
                <a:cxn ang="0">
                  <a:pos x="25" y="8"/>
                </a:cxn>
                <a:cxn ang="0">
                  <a:pos x="41" y="8"/>
                </a:cxn>
                <a:cxn ang="0">
                  <a:pos x="33" y="16"/>
                </a:cxn>
                <a:cxn ang="0">
                  <a:pos x="41" y="24"/>
                </a:cxn>
                <a:cxn ang="0">
                  <a:pos x="49" y="24"/>
                </a:cxn>
                <a:cxn ang="0">
                  <a:pos x="41" y="8"/>
                </a:cxn>
                <a:cxn ang="0">
                  <a:pos x="65" y="24"/>
                </a:cxn>
                <a:cxn ang="0">
                  <a:pos x="73" y="32"/>
                </a:cxn>
                <a:cxn ang="0">
                  <a:pos x="65" y="0"/>
                </a:cxn>
                <a:cxn ang="0">
                  <a:pos x="89" y="16"/>
                </a:cxn>
                <a:cxn ang="0">
                  <a:pos x="89" y="24"/>
                </a:cxn>
                <a:cxn ang="0">
                  <a:pos x="105" y="16"/>
                </a:cxn>
                <a:cxn ang="0">
                  <a:pos x="105" y="24"/>
                </a:cxn>
                <a:cxn ang="0">
                  <a:pos x="113" y="24"/>
                </a:cxn>
                <a:cxn ang="0">
                  <a:pos x="137" y="48"/>
                </a:cxn>
                <a:cxn ang="0">
                  <a:pos x="137" y="48"/>
                </a:cxn>
                <a:cxn ang="0">
                  <a:pos x="145" y="48"/>
                </a:cxn>
                <a:cxn ang="0">
                  <a:pos x="145" y="48"/>
                </a:cxn>
                <a:cxn ang="0">
                  <a:pos x="161" y="48"/>
                </a:cxn>
                <a:cxn ang="0">
                  <a:pos x="177" y="64"/>
                </a:cxn>
                <a:cxn ang="0">
                  <a:pos x="177" y="64"/>
                </a:cxn>
                <a:cxn ang="0">
                  <a:pos x="153" y="80"/>
                </a:cxn>
              </a:cxnLst>
              <a:rect l="0" t="0" r="r" b="b"/>
              <a:pathLst>
                <a:path w="177" h="96">
                  <a:moveTo>
                    <a:pt x="145" y="80"/>
                  </a:moveTo>
                  <a:lnTo>
                    <a:pt x="145" y="80"/>
                  </a:lnTo>
                  <a:lnTo>
                    <a:pt x="145" y="80"/>
                  </a:lnTo>
                  <a:lnTo>
                    <a:pt x="145" y="72"/>
                  </a:lnTo>
                  <a:lnTo>
                    <a:pt x="145" y="72"/>
                  </a:lnTo>
                  <a:lnTo>
                    <a:pt x="145" y="72"/>
                  </a:lnTo>
                  <a:lnTo>
                    <a:pt x="137" y="72"/>
                  </a:lnTo>
                  <a:lnTo>
                    <a:pt x="129" y="72"/>
                  </a:lnTo>
                  <a:lnTo>
                    <a:pt x="129" y="72"/>
                  </a:lnTo>
                  <a:lnTo>
                    <a:pt x="129" y="64"/>
                  </a:lnTo>
                  <a:lnTo>
                    <a:pt x="137" y="64"/>
                  </a:lnTo>
                  <a:lnTo>
                    <a:pt x="137" y="64"/>
                  </a:lnTo>
                  <a:lnTo>
                    <a:pt x="129" y="56"/>
                  </a:lnTo>
                  <a:lnTo>
                    <a:pt x="129" y="48"/>
                  </a:lnTo>
                  <a:lnTo>
                    <a:pt x="129" y="48"/>
                  </a:lnTo>
                  <a:lnTo>
                    <a:pt x="129" y="48"/>
                  </a:lnTo>
                  <a:lnTo>
                    <a:pt x="129" y="48"/>
                  </a:lnTo>
                  <a:lnTo>
                    <a:pt x="121" y="40"/>
                  </a:lnTo>
                  <a:lnTo>
                    <a:pt x="113" y="40"/>
                  </a:lnTo>
                  <a:lnTo>
                    <a:pt x="97" y="64"/>
                  </a:lnTo>
                  <a:lnTo>
                    <a:pt x="97" y="72"/>
                  </a:lnTo>
                  <a:lnTo>
                    <a:pt x="89" y="80"/>
                  </a:lnTo>
                  <a:lnTo>
                    <a:pt x="81" y="96"/>
                  </a:lnTo>
                  <a:lnTo>
                    <a:pt x="81" y="96"/>
                  </a:lnTo>
                  <a:lnTo>
                    <a:pt x="81" y="96"/>
                  </a:lnTo>
                  <a:lnTo>
                    <a:pt x="65" y="96"/>
                  </a:lnTo>
                  <a:lnTo>
                    <a:pt x="41" y="80"/>
                  </a:lnTo>
                  <a:lnTo>
                    <a:pt x="41" y="72"/>
                  </a:lnTo>
                  <a:lnTo>
                    <a:pt x="41" y="72"/>
                  </a:lnTo>
                  <a:lnTo>
                    <a:pt x="49" y="72"/>
                  </a:lnTo>
                  <a:lnTo>
                    <a:pt x="57" y="72"/>
                  </a:lnTo>
                  <a:lnTo>
                    <a:pt x="57" y="72"/>
                  </a:lnTo>
                  <a:lnTo>
                    <a:pt x="73" y="72"/>
                  </a:lnTo>
                  <a:lnTo>
                    <a:pt x="73" y="72"/>
                  </a:lnTo>
                  <a:lnTo>
                    <a:pt x="57" y="64"/>
                  </a:lnTo>
                  <a:lnTo>
                    <a:pt x="49" y="72"/>
                  </a:lnTo>
                  <a:lnTo>
                    <a:pt x="41" y="72"/>
                  </a:lnTo>
                  <a:lnTo>
                    <a:pt x="41" y="56"/>
                  </a:lnTo>
                  <a:lnTo>
                    <a:pt x="49" y="56"/>
                  </a:lnTo>
                  <a:lnTo>
                    <a:pt x="57" y="56"/>
                  </a:lnTo>
                  <a:lnTo>
                    <a:pt x="65" y="48"/>
                  </a:lnTo>
                  <a:lnTo>
                    <a:pt x="73" y="48"/>
                  </a:lnTo>
                  <a:lnTo>
                    <a:pt x="73" y="48"/>
                  </a:lnTo>
                  <a:lnTo>
                    <a:pt x="65" y="48"/>
                  </a:lnTo>
                  <a:lnTo>
                    <a:pt x="65" y="48"/>
                  </a:lnTo>
                  <a:lnTo>
                    <a:pt x="57" y="40"/>
                  </a:lnTo>
                  <a:lnTo>
                    <a:pt x="49" y="40"/>
                  </a:lnTo>
                  <a:lnTo>
                    <a:pt x="49" y="40"/>
                  </a:lnTo>
                  <a:lnTo>
                    <a:pt x="41" y="56"/>
                  </a:lnTo>
                  <a:lnTo>
                    <a:pt x="25" y="56"/>
                  </a:lnTo>
                  <a:lnTo>
                    <a:pt x="25" y="48"/>
                  </a:lnTo>
                  <a:lnTo>
                    <a:pt x="25" y="48"/>
                  </a:lnTo>
                  <a:lnTo>
                    <a:pt x="25" y="48"/>
                  </a:lnTo>
                  <a:lnTo>
                    <a:pt x="25" y="48"/>
                  </a:lnTo>
                  <a:lnTo>
                    <a:pt x="17" y="40"/>
                  </a:lnTo>
                  <a:lnTo>
                    <a:pt x="17" y="32"/>
                  </a:lnTo>
                  <a:lnTo>
                    <a:pt x="17" y="32"/>
                  </a:lnTo>
                  <a:lnTo>
                    <a:pt x="8" y="32"/>
                  </a:lnTo>
                  <a:lnTo>
                    <a:pt x="8" y="32"/>
                  </a:lnTo>
                  <a:lnTo>
                    <a:pt x="0" y="24"/>
                  </a:lnTo>
                  <a:lnTo>
                    <a:pt x="8" y="8"/>
                  </a:lnTo>
                  <a:lnTo>
                    <a:pt x="25" y="8"/>
                  </a:lnTo>
                  <a:lnTo>
                    <a:pt x="41" y="8"/>
                  </a:lnTo>
                  <a:lnTo>
                    <a:pt x="41" y="8"/>
                  </a:lnTo>
                  <a:lnTo>
                    <a:pt x="33" y="16"/>
                  </a:lnTo>
                  <a:lnTo>
                    <a:pt x="33" y="16"/>
                  </a:lnTo>
                  <a:lnTo>
                    <a:pt x="33" y="16"/>
                  </a:lnTo>
                  <a:lnTo>
                    <a:pt x="41" y="24"/>
                  </a:lnTo>
                  <a:lnTo>
                    <a:pt x="49" y="24"/>
                  </a:lnTo>
                  <a:lnTo>
                    <a:pt x="49" y="24"/>
                  </a:lnTo>
                  <a:lnTo>
                    <a:pt x="41" y="24"/>
                  </a:lnTo>
                  <a:lnTo>
                    <a:pt x="41" y="8"/>
                  </a:lnTo>
                  <a:lnTo>
                    <a:pt x="57" y="8"/>
                  </a:lnTo>
                  <a:lnTo>
                    <a:pt x="65" y="24"/>
                  </a:lnTo>
                  <a:lnTo>
                    <a:pt x="73" y="32"/>
                  </a:lnTo>
                  <a:lnTo>
                    <a:pt x="73" y="32"/>
                  </a:lnTo>
                  <a:lnTo>
                    <a:pt x="65" y="16"/>
                  </a:lnTo>
                  <a:lnTo>
                    <a:pt x="65" y="0"/>
                  </a:lnTo>
                  <a:lnTo>
                    <a:pt x="89" y="0"/>
                  </a:lnTo>
                  <a:lnTo>
                    <a:pt x="89" y="16"/>
                  </a:lnTo>
                  <a:lnTo>
                    <a:pt x="89" y="24"/>
                  </a:lnTo>
                  <a:lnTo>
                    <a:pt x="89" y="24"/>
                  </a:lnTo>
                  <a:lnTo>
                    <a:pt x="89" y="16"/>
                  </a:lnTo>
                  <a:lnTo>
                    <a:pt x="105" y="16"/>
                  </a:lnTo>
                  <a:lnTo>
                    <a:pt x="105" y="24"/>
                  </a:lnTo>
                  <a:lnTo>
                    <a:pt x="105" y="24"/>
                  </a:lnTo>
                  <a:lnTo>
                    <a:pt x="105" y="24"/>
                  </a:lnTo>
                  <a:lnTo>
                    <a:pt x="113" y="24"/>
                  </a:lnTo>
                  <a:lnTo>
                    <a:pt x="137" y="40"/>
                  </a:lnTo>
                  <a:lnTo>
                    <a:pt x="137" y="48"/>
                  </a:lnTo>
                  <a:lnTo>
                    <a:pt x="137" y="48"/>
                  </a:lnTo>
                  <a:lnTo>
                    <a:pt x="137" y="48"/>
                  </a:lnTo>
                  <a:lnTo>
                    <a:pt x="145" y="48"/>
                  </a:lnTo>
                  <a:lnTo>
                    <a:pt x="145" y="48"/>
                  </a:lnTo>
                  <a:lnTo>
                    <a:pt x="145" y="48"/>
                  </a:lnTo>
                  <a:lnTo>
                    <a:pt x="145" y="48"/>
                  </a:lnTo>
                  <a:lnTo>
                    <a:pt x="161" y="48"/>
                  </a:lnTo>
                  <a:lnTo>
                    <a:pt x="161" y="48"/>
                  </a:lnTo>
                  <a:lnTo>
                    <a:pt x="161" y="56"/>
                  </a:lnTo>
                  <a:lnTo>
                    <a:pt x="177" y="64"/>
                  </a:lnTo>
                  <a:lnTo>
                    <a:pt x="177" y="64"/>
                  </a:lnTo>
                  <a:lnTo>
                    <a:pt x="177" y="64"/>
                  </a:lnTo>
                  <a:lnTo>
                    <a:pt x="169" y="72"/>
                  </a:lnTo>
                  <a:lnTo>
                    <a:pt x="153" y="80"/>
                  </a:lnTo>
                  <a:lnTo>
                    <a:pt x="145" y="8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08" name="Freeform 26"/>
            <p:cNvSpPr>
              <a:spLocks/>
            </p:cNvSpPr>
            <p:nvPr/>
          </p:nvSpPr>
          <p:spPr bwMode="auto">
            <a:xfrm>
              <a:off x="4138607" y="2705061"/>
              <a:ext cx="88900" cy="101598"/>
            </a:xfrm>
            <a:custGeom>
              <a:avLst/>
              <a:gdLst/>
              <a:ahLst/>
              <a:cxnLst>
                <a:cxn ang="0">
                  <a:pos x="16" y="16"/>
                </a:cxn>
                <a:cxn ang="0">
                  <a:pos x="24" y="8"/>
                </a:cxn>
                <a:cxn ang="0">
                  <a:pos x="24" y="0"/>
                </a:cxn>
                <a:cxn ang="0">
                  <a:pos x="32" y="0"/>
                </a:cxn>
                <a:cxn ang="0">
                  <a:pos x="40" y="0"/>
                </a:cxn>
                <a:cxn ang="0">
                  <a:pos x="56" y="0"/>
                </a:cxn>
                <a:cxn ang="0">
                  <a:pos x="56" y="16"/>
                </a:cxn>
                <a:cxn ang="0">
                  <a:pos x="56" y="16"/>
                </a:cxn>
                <a:cxn ang="0">
                  <a:pos x="48" y="16"/>
                </a:cxn>
                <a:cxn ang="0">
                  <a:pos x="48" y="24"/>
                </a:cxn>
                <a:cxn ang="0">
                  <a:pos x="48" y="32"/>
                </a:cxn>
                <a:cxn ang="0">
                  <a:pos x="48" y="40"/>
                </a:cxn>
                <a:cxn ang="0">
                  <a:pos x="48" y="48"/>
                </a:cxn>
                <a:cxn ang="0">
                  <a:pos x="48" y="48"/>
                </a:cxn>
                <a:cxn ang="0">
                  <a:pos x="32" y="48"/>
                </a:cxn>
                <a:cxn ang="0">
                  <a:pos x="24" y="56"/>
                </a:cxn>
                <a:cxn ang="0">
                  <a:pos x="16" y="64"/>
                </a:cxn>
                <a:cxn ang="0">
                  <a:pos x="0" y="64"/>
                </a:cxn>
                <a:cxn ang="0">
                  <a:pos x="0" y="48"/>
                </a:cxn>
                <a:cxn ang="0">
                  <a:pos x="16" y="32"/>
                </a:cxn>
                <a:cxn ang="0">
                  <a:pos x="16" y="32"/>
                </a:cxn>
                <a:cxn ang="0">
                  <a:pos x="16" y="32"/>
                </a:cxn>
                <a:cxn ang="0">
                  <a:pos x="8" y="24"/>
                </a:cxn>
                <a:cxn ang="0">
                  <a:pos x="8" y="16"/>
                </a:cxn>
                <a:cxn ang="0">
                  <a:pos x="8" y="16"/>
                </a:cxn>
                <a:cxn ang="0">
                  <a:pos x="8" y="16"/>
                </a:cxn>
                <a:cxn ang="0">
                  <a:pos x="16" y="16"/>
                </a:cxn>
              </a:cxnLst>
              <a:rect l="0" t="0" r="r" b="b"/>
              <a:pathLst>
                <a:path w="56" h="64">
                  <a:moveTo>
                    <a:pt x="16" y="16"/>
                  </a:moveTo>
                  <a:lnTo>
                    <a:pt x="24" y="8"/>
                  </a:lnTo>
                  <a:lnTo>
                    <a:pt x="24" y="0"/>
                  </a:lnTo>
                  <a:lnTo>
                    <a:pt x="32" y="0"/>
                  </a:lnTo>
                  <a:lnTo>
                    <a:pt x="40" y="0"/>
                  </a:lnTo>
                  <a:lnTo>
                    <a:pt x="56" y="0"/>
                  </a:lnTo>
                  <a:lnTo>
                    <a:pt x="56" y="16"/>
                  </a:lnTo>
                  <a:lnTo>
                    <a:pt x="56" y="16"/>
                  </a:lnTo>
                  <a:lnTo>
                    <a:pt x="48" y="16"/>
                  </a:lnTo>
                  <a:lnTo>
                    <a:pt x="48" y="24"/>
                  </a:lnTo>
                  <a:lnTo>
                    <a:pt x="48" y="32"/>
                  </a:lnTo>
                  <a:lnTo>
                    <a:pt x="48" y="40"/>
                  </a:lnTo>
                  <a:lnTo>
                    <a:pt x="48" y="48"/>
                  </a:lnTo>
                  <a:lnTo>
                    <a:pt x="48" y="48"/>
                  </a:lnTo>
                  <a:lnTo>
                    <a:pt x="32" y="48"/>
                  </a:lnTo>
                  <a:lnTo>
                    <a:pt x="24" y="56"/>
                  </a:lnTo>
                  <a:lnTo>
                    <a:pt x="16" y="64"/>
                  </a:lnTo>
                  <a:lnTo>
                    <a:pt x="0" y="64"/>
                  </a:lnTo>
                  <a:lnTo>
                    <a:pt x="0" y="48"/>
                  </a:lnTo>
                  <a:lnTo>
                    <a:pt x="16" y="32"/>
                  </a:lnTo>
                  <a:lnTo>
                    <a:pt x="16" y="32"/>
                  </a:lnTo>
                  <a:lnTo>
                    <a:pt x="16" y="32"/>
                  </a:lnTo>
                  <a:lnTo>
                    <a:pt x="8" y="24"/>
                  </a:lnTo>
                  <a:lnTo>
                    <a:pt x="8" y="16"/>
                  </a:lnTo>
                  <a:lnTo>
                    <a:pt x="8" y="16"/>
                  </a:lnTo>
                  <a:lnTo>
                    <a:pt x="8" y="16"/>
                  </a:lnTo>
                  <a:lnTo>
                    <a:pt x="16" y="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09" name="Freeform 27"/>
            <p:cNvSpPr>
              <a:spLocks/>
            </p:cNvSpPr>
            <p:nvPr/>
          </p:nvSpPr>
          <p:spPr bwMode="auto">
            <a:xfrm>
              <a:off x="4214806" y="2603462"/>
              <a:ext cx="165100" cy="241296"/>
            </a:xfrm>
            <a:custGeom>
              <a:avLst/>
              <a:gdLst/>
              <a:ahLst/>
              <a:cxnLst>
                <a:cxn ang="0">
                  <a:pos x="88" y="104"/>
                </a:cxn>
                <a:cxn ang="0">
                  <a:pos x="104" y="104"/>
                </a:cxn>
                <a:cxn ang="0">
                  <a:pos x="88" y="128"/>
                </a:cxn>
                <a:cxn ang="0">
                  <a:pos x="96" y="128"/>
                </a:cxn>
                <a:cxn ang="0">
                  <a:pos x="88" y="136"/>
                </a:cxn>
                <a:cxn ang="0">
                  <a:pos x="64" y="136"/>
                </a:cxn>
                <a:cxn ang="0">
                  <a:pos x="48" y="144"/>
                </a:cxn>
                <a:cxn ang="0">
                  <a:pos x="32" y="136"/>
                </a:cxn>
                <a:cxn ang="0">
                  <a:pos x="32" y="144"/>
                </a:cxn>
                <a:cxn ang="0">
                  <a:pos x="16" y="144"/>
                </a:cxn>
                <a:cxn ang="0">
                  <a:pos x="16" y="152"/>
                </a:cxn>
                <a:cxn ang="0">
                  <a:pos x="16" y="144"/>
                </a:cxn>
                <a:cxn ang="0">
                  <a:pos x="32" y="128"/>
                </a:cxn>
                <a:cxn ang="0">
                  <a:pos x="40" y="128"/>
                </a:cxn>
                <a:cxn ang="0">
                  <a:pos x="40" y="120"/>
                </a:cxn>
                <a:cxn ang="0">
                  <a:pos x="24" y="120"/>
                </a:cxn>
                <a:cxn ang="0">
                  <a:pos x="16" y="128"/>
                </a:cxn>
                <a:cxn ang="0">
                  <a:pos x="16" y="120"/>
                </a:cxn>
                <a:cxn ang="0">
                  <a:pos x="24" y="104"/>
                </a:cxn>
                <a:cxn ang="0">
                  <a:pos x="24" y="96"/>
                </a:cxn>
                <a:cxn ang="0">
                  <a:pos x="48" y="88"/>
                </a:cxn>
                <a:cxn ang="0">
                  <a:pos x="48" y="80"/>
                </a:cxn>
                <a:cxn ang="0">
                  <a:pos x="32" y="72"/>
                </a:cxn>
                <a:cxn ang="0">
                  <a:pos x="40" y="72"/>
                </a:cxn>
                <a:cxn ang="0">
                  <a:pos x="24" y="72"/>
                </a:cxn>
                <a:cxn ang="0">
                  <a:pos x="24" y="64"/>
                </a:cxn>
                <a:cxn ang="0">
                  <a:pos x="16" y="56"/>
                </a:cxn>
                <a:cxn ang="0">
                  <a:pos x="16" y="48"/>
                </a:cxn>
                <a:cxn ang="0">
                  <a:pos x="16" y="56"/>
                </a:cxn>
                <a:cxn ang="0">
                  <a:pos x="8" y="56"/>
                </a:cxn>
                <a:cxn ang="0">
                  <a:pos x="8" y="48"/>
                </a:cxn>
                <a:cxn ang="0">
                  <a:pos x="8" y="48"/>
                </a:cxn>
                <a:cxn ang="0">
                  <a:pos x="8" y="40"/>
                </a:cxn>
                <a:cxn ang="0">
                  <a:pos x="8" y="40"/>
                </a:cxn>
                <a:cxn ang="0">
                  <a:pos x="8" y="32"/>
                </a:cxn>
                <a:cxn ang="0">
                  <a:pos x="0" y="24"/>
                </a:cxn>
                <a:cxn ang="0">
                  <a:pos x="0" y="24"/>
                </a:cxn>
                <a:cxn ang="0">
                  <a:pos x="8" y="24"/>
                </a:cxn>
                <a:cxn ang="0">
                  <a:pos x="8" y="24"/>
                </a:cxn>
                <a:cxn ang="0">
                  <a:pos x="8" y="24"/>
                </a:cxn>
                <a:cxn ang="0">
                  <a:pos x="8" y="16"/>
                </a:cxn>
                <a:cxn ang="0">
                  <a:pos x="16" y="16"/>
                </a:cxn>
                <a:cxn ang="0">
                  <a:pos x="16" y="0"/>
                </a:cxn>
                <a:cxn ang="0">
                  <a:pos x="32" y="0"/>
                </a:cxn>
                <a:cxn ang="0">
                  <a:pos x="40" y="0"/>
                </a:cxn>
                <a:cxn ang="0">
                  <a:pos x="32" y="16"/>
                </a:cxn>
                <a:cxn ang="0">
                  <a:pos x="32" y="16"/>
                </a:cxn>
                <a:cxn ang="0">
                  <a:pos x="56" y="16"/>
                </a:cxn>
                <a:cxn ang="0">
                  <a:pos x="40" y="40"/>
                </a:cxn>
                <a:cxn ang="0">
                  <a:pos x="40" y="48"/>
                </a:cxn>
                <a:cxn ang="0">
                  <a:pos x="40" y="48"/>
                </a:cxn>
                <a:cxn ang="0">
                  <a:pos x="56" y="48"/>
                </a:cxn>
                <a:cxn ang="0">
                  <a:pos x="64" y="72"/>
                </a:cxn>
                <a:cxn ang="0">
                  <a:pos x="88" y="96"/>
                </a:cxn>
                <a:cxn ang="0">
                  <a:pos x="80" y="104"/>
                </a:cxn>
                <a:cxn ang="0">
                  <a:pos x="80" y="104"/>
                </a:cxn>
                <a:cxn ang="0">
                  <a:pos x="88" y="104"/>
                </a:cxn>
                <a:cxn ang="0">
                  <a:pos x="88" y="104"/>
                </a:cxn>
              </a:cxnLst>
              <a:rect l="0" t="0" r="r" b="b"/>
              <a:pathLst>
                <a:path w="104" h="152">
                  <a:moveTo>
                    <a:pt x="88" y="104"/>
                  </a:moveTo>
                  <a:lnTo>
                    <a:pt x="88" y="104"/>
                  </a:lnTo>
                  <a:lnTo>
                    <a:pt x="88" y="104"/>
                  </a:lnTo>
                  <a:lnTo>
                    <a:pt x="104" y="104"/>
                  </a:lnTo>
                  <a:lnTo>
                    <a:pt x="104" y="112"/>
                  </a:lnTo>
                  <a:lnTo>
                    <a:pt x="88" y="128"/>
                  </a:lnTo>
                  <a:lnTo>
                    <a:pt x="88" y="128"/>
                  </a:lnTo>
                  <a:lnTo>
                    <a:pt x="96" y="128"/>
                  </a:lnTo>
                  <a:lnTo>
                    <a:pt x="96" y="128"/>
                  </a:lnTo>
                  <a:lnTo>
                    <a:pt x="88" y="136"/>
                  </a:lnTo>
                  <a:lnTo>
                    <a:pt x="80" y="136"/>
                  </a:lnTo>
                  <a:lnTo>
                    <a:pt x="64" y="136"/>
                  </a:lnTo>
                  <a:lnTo>
                    <a:pt x="64" y="136"/>
                  </a:lnTo>
                  <a:lnTo>
                    <a:pt x="48" y="144"/>
                  </a:lnTo>
                  <a:lnTo>
                    <a:pt x="40" y="136"/>
                  </a:lnTo>
                  <a:lnTo>
                    <a:pt x="32" y="136"/>
                  </a:lnTo>
                  <a:lnTo>
                    <a:pt x="32" y="144"/>
                  </a:lnTo>
                  <a:lnTo>
                    <a:pt x="32" y="144"/>
                  </a:lnTo>
                  <a:lnTo>
                    <a:pt x="24" y="144"/>
                  </a:lnTo>
                  <a:lnTo>
                    <a:pt x="16" y="144"/>
                  </a:lnTo>
                  <a:lnTo>
                    <a:pt x="16" y="152"/>
                  </a:lnTo>
                  <a:lnTo>
                    <a:pt x="16" y="152"/>
                  </a:lnTo>
                  <a:lnTo>
                    <a:pt x="16" y="152"/>
                  </a:lnTo>
                  <a:lnTo>
                    <a:pt x="16" y="144"/>
                  </a:lnTo>
                  <a:lnTo>
                    <a:pt x="24" y="136"/>
                  </a:lnTo>
                  <a:lnTo>
                    <a:pt x="32" y="128"/>
                  </a:lnTo>
                  <a:lnTo>
                    <a:pt x="40" y="128"/>
                  </a:lnTo>
                  <a:lnTo>
                    <a:pt x="40" y="128"/>
                  </a:lnTo>
                  <a:lnTo>
                    <a:pt x="40" y="120"/>
                  </a:lnTo>
                  <a:lnTo>
                    <a:pt x="40" y="120"/>
                  </a:lnTo>
                  <a:lnTo>
                    <a:pt x="40" y="128"/>
                  </a:lnTo>
                  <a:lnTo>
                    <a:pt x="24" y="120"/>
                  </a:lnTo>
                  <a:lnTo>
                    <a:pt x="24" y="128"/>
                  </a:lnTo>
                  <a:lnTo>
                    <a:pt x="16" y="128"/>
                  </a:lnTo>
                  <a:lnTo>
                    <a:pt x="16" y="120"/>
                  </a:lnTo>
                  <a:lnTo>
                    <a:pt x="16" y="120"/>
                  </a:lnTo>
                  <a:lnTo>
                    <a:pt x="24" y="112"/>
                  </a:lnTo>
                  <a:lnTo>
                    <a:pt x="24" y="104"/>
                  </a:lnTo>
                  <a:lnTo>
                    <a:pt x="24" y="96"/>
                  </a:lnTo>
                  <a:lnTo>
                    <a:pt x="24" y="96"/>
                  </a:lnTo>
                  <a:lnTo>
                    <a:pt x="40" y="96"/>
                  </a:lnTo>
                  <a:lnTo>
                    <a:pt x="48" y="88"/>
                  </a:lnTo>
                  <a:lnTo>
                    <a:pt x="48" y="80"/>
                  </a:lnTo>
                  <a:lnTo>
                    <a:pt x="48" y="80"/>
                  </a:lnTo>
                  <a:lnTo>
                    <a:pt x="32" y="80"/>
                  </a:lnTo>
                  <a:lnTo>
                    <a:pt x="32" y="72"/>
                  </a:lnTo>
                  <a:lnTo>
                    <a:pt x="40" y="72"/>
                  </a:lnTo>
                  <a:lnTo>
                    <a:pt x="40" y="72"/>
                  </a:lnTo>
                  <a:lnTo>
                    <a:pt x="32" y="72"/>
                  </a:lnTo>
                  <a:lnTo>
                    <a:pt x="24" y="72"/>
                  </a:lnTo>
                  <a:lnTo>
                    <a:pt x="16" y="72"/>
                  </a:lnTo>
                  <a:lnTo>
                    <a:pt x="24" y="64"/>
                  </a:lnTo>
                  <a:lnTo>
                    <a:pt x="16" y="56"/>
                  </a:lnTo>
                  <a:lnTo>
                    <a:pt x="16" y="56"/>
                  </a:lnTo>
                  <a:lnTo>
                    <a:pt x="16" y="48"/>
                  </a:lnTo>
                  <a:lnTo>
                    <a:pt x="16" y="48"/>
                  </a:lnTo>
                  <a:lnTo>
                    <a:pt x="8" y="56"/>
                  </a:lnTo>
                  <a:lnTo>
                    <a:pt x="16" y="56"/>
                  </a:lnTo>
                  <a:lnTo>
                    <a:pt x="16" y="56"/>
                  </a:lnTo>
                  <a:lnTo>
                    <a:pt x="8" y="56"/>
                  </a:lnTo>
                  <a:lnTo>
                    <a:pt x="8" y="56"/>
                  </a:lnTo>
                  <a:lnTo>
                    <a:pt x="8" y="48"/>
                  </a:lnTo>
                  <a:lnTo>
                    <a:pt x="8" y="48"/>
                  </a:lnTo>
                  <a:lnTo>
                    <a:pt x="8" y="48"/>
                  </a:lnTo>
                  <a:lnTo>
                    <a:pt x="8" y="40"/>
                  </a:lnTo>
                  <a:lnTo>
                    <a:pt x="8" y="40"/>
                  </a:lnTo>
                  <a:lnTo>
                    <a:pt x="8" y="40"/>
                  </a:lnTo>
                  <a:lnTo>
                    <a:pt x="8" y="40"/>
                  </a:lnTo>
                  <a:lnTo>
                    <a:pt x="8" y="32"/>
                  </a:lnTo>
                  <a:lnTo>
                    <a:pt x="8" y="32"/>
                  </a:lnTo>
                  <a:lnTo>
                    <a:pt x="8" y="32"/>
                  </a:lnTo>
                  <a:lnTo>
                    <a:pt x="0" y="24"/>
                  </a:lnTo>
                  <a:lnTo>
                    <a:pt x="0" y="24"/>
                  </a:lnTo>
                  <a:lnTo>
                    <a:pt x="0" y="24"/>
                  </a:lnTo>
                  <a:lnTo>
                    <a:pt x="8" y="24"/>
                  </a:lnTo>
                  <a:lnTo>
                    <a:pt x="8" y="24"/>
                  </a:lnTo>
                  <a:lnTo>
                    <a:pt x="8" y="24"/>
                  </a:lnTo>
                  <a:lnTo>
                    <a:pt x="8" y="24"/>
                  </a:lnTo>
                  <a:lnTo>
                    <a:pt x="8" y="24"/>
                  </a:lnTo>
                  <a:lnTo>
                    <a:pt x="8" y="24"/>
                  </a:lnTo>
                  <a:lnTo>
                    <a:pt x="8" y="16"/>
                  </a:lnTo>
                  <a:lnTo>
                    <a:pt x="8" y="16"/>
                  </a:lnTo>
                  <a:lnTo>
                    <a:pt x="16" y="16"/>
                  </a:lnTo>
                  <a:lnTo>
                    <a:pt x="16" y="16"/>
                  </a:lnTo>
                  <a:lnTo>
                    <a:pt x="16" y="8"/>
                  </a:lnTo>
                  <a:lnTo>
                    <a:pt x="16" y="0"/>
                  </a:lnTo>
                  <a:lnTo>
                    <a:pt x="24" y="0"/>
                  </a:lnTo>
                  <a:lnTo>
                    <a:pt x="32" y="0"/>
                  </a:lnTo>
                  <a:lnTo>
                    <a:pt x="40" y="0"/>
                  </a:lnTo>
                  <a:lnTo>
                    <a:pt x="40" y="0"/>
                  </a:lnTo>
                  <a:lnTo>
                    <a:pt x="40" y="8"/>
                  </a:lnTo>
                  <a:lnTo>
                    <a:pt x="32" y="16"/>
                  </a:lnTo>
                  <a:lnTo>
                    <a:pt x="32" y="16"/>
                  </a:lnTo>
                  <a:lnTo>
                    <a:pt x="32" y="16"/>
                  </a:lnTo>
                  <a:lnTo>
                    <a:pt x="56" y="16"/>
                  </a:lnTo>
                  <a:lnTo>
                    <a:pt x="56" y="16"/>
                  </a:lnTo>
                  <a:lnTo>
                    <a:pt x="56" y="24"/>
                  </a:lnTo>
                  <a:lnTo>
                    <a:pt x="40" y="40"/>
                  </a:lnTo>
                  <a:lnTo>
                    <a:pt x="40" y="48"/>
                  </a:lnTo>
                  <a:lnTo>
                    <a:pt x="40" y="48"/>
                  </a:lnTo>
                  <a:lnTo>
                    <a:pt x="40" y="48"/>
                  </a:lnTo>
                  <a:lnTo>
                    <a:pt x="40" y="48"/>
                  </a:lnTo>
                  <a:lnTo>
                    <a:pt x="48" y="48"/>
                  </a:lnTo>
                  <a:lnTo>
                    <a:pt x="56" y="48"/>
                  </a:lnTo>
                  <a:lnTo>
                    <a:pt x="56" y="64"/>
                  </a:lnTo>
                  <a:lnTo>
                    <a:pt x="64" y="72"/>
                  </a:lnTo>
                  <a:lnTo>
                    <a:pt x="80" y="80"/>
                  </a:lnTo>
                  <a:lnTo>
                    <a:pt x="88" y="96"/>
                  </a:lnTo>
                  <a:lnTo>
                    <a:pt x="88" y="96"/>
                  </a:lnTo>
                  <a:lnTo>
                    <a:pt x="80" y="104"/>
                  </a:lnTo>
                  <a:lnTo>
                    <a:pt x="80" y="104"/>
                  </a:lnTo>
                  <a:lnTo>
                    <a:pt x="80" y="104"/>
                  </a:lnTo>
                  <a:lnTo>
                    <a:pt x="88" y="104"/>
                  </a:lnTo>
                  <a:lnTo>
                    <a:pt x="88" y="104"/>
                  </a:lnTo>
                  <a:lnTo>
                    <a:pt x="88" y="104"/>
                  </a:lnTo>
                  <a:lnTo>
                    <a:pt x="88" y="10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10" name="Freeform 28"/>
            <p:cNvSpPr>
              <a:spLocks/>
            </p:cNvSpPr>
            <p:nvPr/>
          </p:nvSpPr>
          <p:spPr bwMode="auto">
            <a:xfrm>
              <a:off x="3871907" y="2362165"/>
              <a:ext cx="203200" cy="88899"/>
            </a:xfrm>
            <a:custGeom>
              <a:avLst/>
              <a:gdLst/>
              <a:ahLst/>
              <a:cxnLst>
                <a:cxn ang="0">
                  <a:pos x="120" y="32"/>
                </a:cxn>
                <a:cxn ang="0">
                  <a:pos x="112" y="40"/>
                </a:cxn>
                <a:cxn ang="0">
                  <a:pos x="88" y="48"/>
                </a:cxn>
                <a:cxn ang="0">
                  <a:pos x="64" y="56"/>
                </a:cxn>
                <a:cxn ang="0">
                  <a:pos x="48" y="56"/>
                </a:cxn>
                <a:cxn ang="0">
                  <a:pos x="24" y="48"/>
                </a:cxn>
                <a:cxn ang="0">
                  <a:pos x="16" y="40"/>
                </a:cxn>
                <a:cxn ang="0">
                  <a:pos x="16" y="40"/>
                </a:cxn>
                <a:cxn ang="0">
                  <a:pos x="16" y="32"/>
                </a:cxn>
                <a:cxn ang="0">
                  <a:pos x="16" y="24"/>
                </a:cxn>
                <a:cxn ang="0">
                  <a:pos x="16" y="24"/>
                </a:cxn>
                <a:cxn ang="0">
                  <a:pos x="16" y="24"/>
                </a:cxn>
                <a:cxn ang="0">
                  <a:pos x="8" y="24"/>
                </a:cxn>
                <a:cxn ang="0">
                  <a:pos x="0" y="24"/>
                </a:cxn>
                <a:cxn ang="0">
                  <a:pos x="16" y="24"/>
                </a:cxn>
                <a:cxn ang="0">
                  <a:pos x="24" y="16"/>
                </a:cxn>
                <a:cxn ang="0">
                  <a:pos x="16" y="16"/>
                </a:cxn>
                <a:cxn ang="0">
                  <a:pos x="0" y="8"/>
                </a:cxn>
                <a:cxn ang="0">
                  <a:pos x="0" y="8"/>
                </a:cxn>
                <a:cxn ang="0">
                  <a:pos x="0" y="8"/>
                </a:cxn>
                <a:cxn ang="0">
                  <a:pos x="8" y="8"/>
                </a:cxn>
                <a:cxn ang="0">
                  <a:pos x="8" y="8"/>
                </a:cxn>
                <a:cxn ang="0">
                  <a:pos x="8" y="0"/>
                </a:cxn>
                <a:cxn ang="0">
                  <a:pos x="8" y="0"/>
                </a:cxn>
                <a:cxn ang="0">
                  <a:pos x="16" y="0"/>
                </a:cxn>
                <a:cxn ang="0">
                  <a:pos x="16" y="0"/>
                </a:cxn>
                <a:cxn ang="0">
                  <a:pos x="16" y="0"/>
                </a:cxn>
                <a:cxn ang="0">
                  <a:pos x="24" y="8"/>
                </a:cxn>
                <a:cxn ang="0">
                  <a:pos x="24" y="16"/>
                </a:cxn>
                <a:cxn ang="0">
                  <a:pos x="32" y="8"/>
                </a:cxn>
                <a:cxn ang="0">
                  <a:pos x="32" y="8"/>
                </a:cxn>
                <a:cxn ang="0">
                  <a:pos x="32" y="8"/>
                </a:cxn>
                <a:cxn ang="0">
                  <a:pos x="32" y="8"/>
                </a:cxn>
                <a:cxn ang="0">
                  <a:pos x="40" y="8"/>
                </a:cxn>
                <a:cxn ang="0">
                  <a:pos x="40" y="8"/>
                </a:cxn>
                <a:cxn ang="0">
                  <a:pos x="56" y="8"/>
                </a:cxn>
                <a:cxn ang="0">
                  <a:pos x="56" y="8"/>
                </a:cxn>
                <a:cxn ang="0">
                  <a:pos x="56" y="8"/>
                </a:cxn>
                <a:cxn ang="0">
                  <a:pos x="56" y="8"/>
                </a:cxn>
                <a:cxn ang="0">
                  <a:pos x="56" y="8"/>
                </a:cxn>
                <a:cxn ang="0">
                  <a:pos x="72" y="8"/>
                </a:cxn>
                <a:cxn ang="0">
                  <a:pos x="80" y="8"/>
                </a:cxn>
                <a:cxn ang="0">
                  <a:pos x="88" y="8"/>
                </a:cxn>
                <a:cxn ang="0">
                  <a:pos x="88" y="0"/>
                </a:cxn>
                <a:cxn ang="0">
                  <a:pos x="88" y="0"/>
                </a:cxn>
                <a:cxn ang="0">
                  <a:pos x="88" y="0"/>
                </a:cxn>
                <a:cxn ang="0">
                  <a:pos x="88" y="0"/>
                </a:cxn>
                <a:cxn ang="0">
                  <a:pos x="96" y="0"/>
                </a:cxn>
                <a:cxn ang="0">
                  <a:pos x="96" y="0"/>
                </a:cxn>
                <a:cxn ang="0">
                  <a:pos x="96" y="8"/>
                </a:cxn>
                <a:cxn ang="0">
                  <a:pos x="112" y="0"/>
                </a:cxn>
                <a:cxn ang="0">
                  <a:pos x="112" y="0"/>
                </a:cxn>
                <a:cxn ang="0">
                  <a:pos x="112" y="8"/>
                </a:cxn>
                <a:cxn ang="0">
                  <a:pos x="112" y="16"/>
                </a:cxn>
                <a:cxn ang="0">
                  <a:pos x="128" y="24"/>
                </a:cxn>
                <a:cxn ang="0">
                  <a:pos x="128" y="32"/>
                </a:cxn>
                <a:cxn ang="0">
                  <a:pos x="128" y="32"/>
                </a:cxn>
                <a:cxn ang="0">
                  <a:pos x="120" y="32"/>
                </a:cxn>
              </a:cxnLst>
              <a:rect l="0" t="0" r="r" b="b"/>
              <a:pathLst>
                <a:path w="128" h="56">
                  <a:moveTo>
                    <a:pt x="120" y="32"/>
                  </a:moveTo>
                  <a:lnTo>
                    <a:pt x="112" y="40"/>
                  </a:lnTo>
                  <a:lnTo>
                    <a:pt x="88" y="48"/>
                  </a:lnTo>
                  <a:lnTo>
                    <a:pt x="64" y="56"/>
                  </a:lnTo>
                  <a:lnTo>
                    <a:pt x="48" y="56"/>
                  </a:lnTo>
                  <a:lnTo>
                    <a:pt x="24" y="48"/>
                  </a:lnTo>
                  <a:lnTo>
                    <a:pt x="16" y="40"/>
                  </a:lnTo>
                  <a:lnTo>
                    <a:pt x="16" y="40"/>
                  </a:lnTo>
                  <a:lnTo>
                    <a:pt x="16" y="32"/>
                  </a:lnTo>
                  <a:lnTo>
                    <a:pt x="16" y="24"/>
                  </a:lnTo>
                  <a:lnTo>
                    <a:pt x="16" y="24"/>
                  </a:lnTo>
                  <a:lnTo>
                    <a:pt x="16" y="24"/>
                  </a:lnTo>
                  <a:lnTo>
                    <a:pt x="8" y="24"/>
                  </a:lnTo>
                  <a:lnTo>
                    <a:pt x="0" y="24"/>
                  </a:lnTo>
                  <a:lnTo>
                    <a:pt x="16" y="24"/>
                  </a:lnTo>
                  <a:lnTo>
                    <a:pt x="24" y="16"/>
                  </a:lnTo>
                  <a:lnTo>
                    <a:pt x="16" y="16"/>
                  </a:lnTo>
                  <a:lnTo>
                    <a:pt x="0" y="8"/>
                  </a:lnTo>
                  <a:lnTo>
                    <a:pt x="0" y="8"/>
                  </a:lnTo>
                  <a:lnTo>
                    <a:pt x="0" y="8"/>
                  </a:lnTo>
                  <a:lnTo>
                    <a:pt x="8" y="8"/>
                  </a:lnTo>
                  <a:lnTo>
                    <a:pt x="8" y="8"/>
                  </a:lnTo>
                  <a:lnTo>
                    <a:pt x="8" y="0"/>
                  </a:lnTo>
                  <a:lnTo>
                    <a:pt x="8" y="0"/>
                  </a:lnTo>
                  <a:lnTo>
                    <a:pt x="16" y="0"/>
                  </a:lnTo>
                  <a:lnTo>
                    <a:pt x="16" y="0"/>
                  </a:lnTo>
                  <a:lnTo>
                    <a:pt x="16" y="0"/>
                  </a:lnTo>
                  <a:lnTo>
                    <a:pt x="24" y="8"/>
                  </a:lnTo>
                  <a:lnTo>
                    <a:pt x="24" y="16"/>
                  </a:lnTo>
                  <a:lnTo>
                    <a:pt x="32" y="8"/>
                  </a:lnTo>
                  <a:lnTo>
                    <a:pt x="32" y="8"/>
                  </a:lnTo>
                  <a:lnTo>
                    <a:pt x="32" y="8"/>
                  </a:lnTo>
                  <a:lnTo>
                    <a:pt x="32" y="8"/>
                  </a:lnTo>
                  <a:lnTo>
                    <a:pt x="40" y="8"/>
                  </a:lnTo>
                  <a:lnTo>
                    <a:pt x="40" y="8"/>
                  </a:lnTo>
                  <a:lnTo>
                    <a:pt x="56" y="8"/>
                  </a:lnTo>
                  <a:lnTo>
                    <a:pt x="56" y="8"/>
                  </a:lnTo>
                  <a:lnTo>
                    <a:pt x="56" y="8"/>
                  </a:lnTo>
                  <a:lnTo>
                    <a:pt x="56" y="8"/>
                  </a:lnTo>
                  <a:lnTo>
                    <a:pt x="56" y="8"/>
                  </a:lnTo>
                  <a:lnTo>
                    <a:pt x="72" y="8"/>
                  </a:lnTo>
                  <a:lnTo>
                    <a:pt x="80" y="8"/>
                  </a:lnTo>
                  <a:lnTo>
                    <a:pt x="88" y="8"/>
                  </a:lnTo>
                  <a:lnTo>
                    <a:pt x="88" y="0"/>
                  </a:lnTo>
                  <a:lnTo>
                    <a:pt x="88" y="0"/>
                  </a:lnTo>
                  <a:lnTo>
                    <a:pt x="88" y="0"/>
                  </a:lnTo>
                  <a:lnTo>
                    <a:pt x="88" y="0"/>
                  </a:lnTo>
                  <a:lnTo>
                    <a:pt x="96" y="0"/>
                  </a:lnTo>
                  <a:lnTo>
                    <a:pt x="96" y="0"/>
                  </a:lnTo>
                  <a:lnTo>
                    <a:pt x="96" y="8"/>
                  </a:lnTo>
                  <a:lnTo>
                    <a:pt x="112" y="0"/>
                  </a:lnTo>
                  <a:lnTo>
                    <a:pt x="112" y="0"/>
                  </a:lnTo>
                  <a:lnTo>
                    <a:pt x="112" y="8"/>
                  </a:lnTo>
                  <a:lnTo>
                    <a:pt x="112" y="16"/>
                  </a:lnTo>
                  <a:lnTo>
                    <a:pt x="128" y="24"/>
                  </a:lnTo>
                  <a:lnTo>
                    <a:pt x="128" y="32"/>
                  </a:lnTo>
                  <a:lnTo>
                    <a:pt x="128" y="32"/>
                  </a:lnTo>
                  <a:lnTo>
                    <a:pt x="120"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11" name="Freeform 29"/>
            <p:cNvSpPr>
              <a:spLocks/>
            </p:cNvSpPr>
            <p:nvPr/>
          </p:nvSpPr>
          <p:spPr bwMode="auto">
            <a:xfrm>
              <a:off x="1979610" y="2108169"/>
              <a:ext cx="355600" cy="190497"/>
            </a:xfrm>
            <a:custGeom>
              <a:avLst/>
              <a:gdLst/>
              <a:ahLst/>
              <a:cxnLst>
                <a:cxn ang="0">
                  <a:pos x="200" y="96"/>
                </a:cxn>
                <a:cxn ang="0">
                  <a:pos x="208" y="96"/>
                </a:cxn>
                <a:cxn ang="0">
                  <a:pos x="208" y="112"/>
                </a:cxn>
                <a:cxn ang="0">
                  <a:pos x="184" y="112"/>
                </a:cxn>
                <a:cxn ang="0">
                  <a:pos x="152" y="104"/>
                </a:cxn>
                <a:cxn ang="0">
                  <a:pos x="128" y="112"/>
                </a:cxn>
                <a:cxn ang="0">
                  <a:pos x="112" y="120"/>
                </a:cxn>
                <a:cxn ang="0">
                  <a:pos x="72" y="120"/>
                </a:cxn>
                <a:cxn ang="0">
                  <a:pos x="64" y="104"/>
                </a:cxn>
                <a:cxn ang="0">
                  <a:pos x="40" y="104"/>
                </a:cxn>
                <a:cxn ang="0">
                  <a:pos x="16" y="88"/>
                </a:cxn>
                <a:cxn ang="0">
                  <a:pos x="32" y="80"/>
                </a:cxn>
                <a:cxn ang="0">
                  <a:pos x="72" y="80"/>
                </a:cxn>
                <a:cxn ang="0">
                  <a:pos x="64" y="72"/>
                </a:cxn>
                <a:cxn ang="0">
                  <a:pos x="40" y="72"/>
                </a:cxn>
                <a:cxn ang="0">
                  <a:pos x="8" y="72"/>
                </a:cxn>
                <a:cxn ang="0">
                  <a:pos x="24" y="56"/>
                </a:cxn>
                <a:cxn ang="0">
                  <a:pos x="16" y="56"/>
                </a:cxn>
                <a:cxn ang="0">
                  <a:pos x="8" y="56"/>
                </a:cxn>
                <a:cxn ang="0">
                  <a:pos x="0" y="32"/>
                </a:cxn>
                <a:cxn ang="0">
                  <a:pos x="56" y="8"/>
                </a:cxn>
                <a:cxn ang="0">
                  <a:pos x="72" y="16"/>
                </a:cxn>
                <a:cxn ang="0">
                  <a:pos x="96" y="32"/>
                </a:cxn>
                <a:cxn ang="0">
                  <a:pos x="96" y="32"/>
                </a:cxn>
                <a:cxn ang="0">
                  <a:pos x="104" y="16"/>
                </a:cxn>
                <a:cxn ang="0">
                  <a:pos x="112" y="16"/>
                </a:cxn>
                <a:cxn ang="0">
                  <a:pos x="128" y="40"/>
                </a:cxn>
                <a:cxn ang="0">
                  <a:pos x="144" y="40"/>
                </a:cxn>
                <a:cxn ang="0">
                  <a:pos x="136" y="40"/>
                </a:cxn>
                <a:cxn ang="0">
                  <a:pos x="128" y="8"/>
                </a:cxn>
                <a:cxn ang="0">
                  <a:pos x="144" y="8"/>
                </a:cxn>
                <a:cxn ang="0">
                  <a:pos x="152" y="8"/>
                </a:cxn>
                <a:cxn ang="0">
                  <a:pos x="152" y="0"/>
                </a:cxn>
                <a:cxn ang="0">
                  <a:pos x="176" y="8"/>
                </a:cxn>
                <a:cxn ang="0">
                  <a:pos x="168" y="32"/>
                </a:cxn>
                <a:cxn ang="0">
                  <a:pos x="184" y="64"/>
                </a:cxn>
                <a:cxn ang="0">
                  <a:pos x="224" y="88"/>
                </a:cxn>
                <a:cxn ang="0">
                  <a:pos x="224" y="96"/>
                </a:cxn>
                <a:cxn ang="0">
                  <a:pos x="208" y="88"/>
                </a:cxn>
              </a:cxnLst>
              <a:rect l="0" t="0" r="r" b="b"/>
              <a:pathLst>
                <a:path w="224" h="120">
                  <a:moveTo>
                    <a:pt x="200" y="88"/>
                  </a:moveTo>
                  <a:lnTo>
                    <a:pt x="200" y="96"/>
                  </a:lnTo>
                  <a:lnTo>
                    <a:pt x="208" y="96"/>
                  </a:lnTo>
                  <a:lnTo>
                    <a:pt x="208" y="96"/>
                  </a:lnTo>
                  <a:lnTo>
                    <a:pt x="216" y="104"/>
                  </a:lnTo>
                  <a:lnTo>
                    <a:pt x="208" y="112"/>
                  </a:lnTo>
                  <a:lnTo>
                    <a:pt x="200" y="112"/>
                  </a:lnTo>
                  <a:lnTo>
                    <a:pt x="184" y="112"/>
                  </a:lnTo>
                  <a:lnTo>
                    <a:pt x="160" y="104"/>
                  </a:lnTo>
                  <a:lnTo>
                    <a:pt x="152" y="104"/>
                  </a:lnTo>
                  <a:lnTo>
                    <a:pt x="144" y="104"/>
                  </a:lnTo>
                  <a:lnTo>
                    <a:pt x="128" y="112"/>
                  </a:lnTo>
                  <a:lnTo>
                    <a:pt x="112" y="120"/>
                  </a:lnTo>
                  <a:lnTo>
                    <a:pt x="112" y="120"/>
                  </a:lnTo>
                  <a:lnTo>
                    <a:pt x="72" y="120"/>
                  </a:lnTo>
                  <a:lnTo>
                    <a:pt x="72" y="120"/>
                  </a:lnTo>
                  <a:lnTo>
                    <a:pt x="64" y="112"/>
                  </a:lnTo>
                  <a:lnTo>
                    <a:pt x="64" y="104"/>
                  </a:lnTo>
                  <a:lnTo>
                    <a:pt x="48" y="104"/>
                  </a:lnTo>
                  <a:lnTo>
                    <a:pt x="40" y="104"/>
                  </a:lnTo>
                  <a:lnTo>
                    <a:pt x="32" y="104"/>
                  </a:lnTo>
                  <a:lnTo>
                    <a:pt x="16" y="88"/>
                  </a:lnTo>
                  <a:lnTo>
                    <a:pt x="16" y="88"/>
                  </a:lnTo>
                  <a:lnTo>
                    <a:pt x="32" y="80"/>
                  </a:lnTo>
                  <a:lnTo>
                    <a:pt x="72" y="80"/>
                  </a:lnTo>
                  <a:lnTo>
                    <a:pt x="72" y="80"/>
                  </a:lnTo>
                  <a:lnTo>
                    <a:pt x="72" y="80"/>
                  </a:lnTo>
                  <a:lnTo>
                    <a:pt x="64" y="72"/>
                  </a:lnTo>
                  <a:lnTo>
                    <a:pt x="64" y="72"/>
                  </a:lnTo>
                  <a:lnTo>
                    <a:pt x="40" y="72"/>
                  </a:lnTo>
                  <a:lnTo>
                    <a:pt x="32" y="72"/>
                  </a:lnTo>
                  <a:lnTo>
                    <a:pt x="8" y="72"/>
                  </a:lnTo>
                  <a:lnTo>
                    <a:pt x="8" y="56"/>
                  </a:lnTo>
                  <a:lnTo>
                    <a:pt x="24" y="56"/>
                  </a:lnTo>
                  <a:lnTo>
                    <a:pt x="24" y="56"/>
                  </a:lnTo>
                  <a:lnTo>
                    <a:pt x="16" y="56"/>
                  </a:lnTo>
                  <a:lnTo>
                    <a:pt x="16" y="56"/>
                  </a:lnTo>
                  <a:lnTo>
                    <a:pt x="8" y="56"/>
                  </a:lnTo>
                  <a:lnTo>
                    <a:pt x="0" y="48"/>
                  </a:lnTo>
                  <a:lnTo>
                    <a:pt x="0" y="32"/>
                  </a:lnTo>
                  <a:lnTo>
                    <a:pt x="40" y="8"/>
                  </a:lnTo>
                  <a:lnTo>
                    <a:pt x="56" y="8"/>
                  </a:lnTo>
                  <a:lnTo>
                    <a:pt x="56" y="24"/>
                  </a:lnTo>
                  <a:lnTo>
                    <a:pt x="72" y="16"/>
                  </a:lnTo>
                  <a:lnTo>
                    <a:pt x="88" y="16"/>
                  </a:lnTo>
                  <a:lnTo>
                    <a:pt x="96" y="32"/>
                  </a:lnTo>
                  <a:lnTo>
                    <a:pt x="96" y="32"/>
                  </a:lnTo>
                  <a:lnTo>
                    <a:pt x="96" y="32"/>
                  </a:lnTo>
                  <a:lnTo>
                    <a:pt x="104" y="24"/>
                  </a:lnTo>
                  <a:lnTo>
                    <a:pt x="104" y="16"/>
                  </a:lnTo>
                  <a:lnTo>
                    <a:pt x="104" y="16"/>
                  </a:lnTo>
                  <a:lnTo>
                    <a:pt x="112" y="16"/>
                  </a:lnTo>
                  <a:lnTo>
                    <a:pt x="128" y="24"/>
                  </a:lnTo>
                  <a:lnTo>
                    <a:pt x="128" y="40"/>
                  </a:lnTo>
                  <a:lnTo>
                    <a:pt x="136" y="48"/>
                  </a:lnTo>
                  <a:lnTo>
                    <a:pt x="144" y="40"/>
                  </a:lnTo>
                  <a:lnTo>
                    <a:pt x="144" y="40"/>
                  </a:lnTo>
                  <a:lnTo>
                    <a:pt x="136" y="40"/>
                  </a:lnTo>
                  <a:lnTo>
                    <a:pt x="128" y="16"/>
                  </a:lnTo>
                  <a:lnTo>
                    <a:pt x="128" y="8"/>
                  </a:lnTo>
                  <a:lnTo>
                    <a:pt x="144" y="8"/>
                  </a:lnTo>
                  <a:lnTo>
                    <a:pt x="144" y="8"/>
                  </a:lnTo>
                  <a:lnTo>
                    <a:pt x="152" y="8"/>
                  </a:lnTo>
                  <a:lnTo>
                    <a:pt x="152" y="8"/>
                  </a:lnTo>
                  <a:lnTo>
                    <a:pt x="152" y="0"/>
                  </a:lnTo>
                  <a:lnTo>
                    <a:pt x="152" y="0"/>
                  </a:lnTo>
                  <a:lnTo>
                    <a:pt x="176" y="0"/>
                  </a:lnTo>
                  <a:lnTo>
                    <a:pt x="176" y="8"/>
                  </a:lnTo>
                  <a:lnTo>
                    <a:pt x="168" y="16"/>
                  </a:lnTo>
                  <a:lnTo>
                    <a:pt x="168" y="32"/>
                  </a:lnTo>
                  <a:lnTo>
                    <a:pt x="184" y="56"/>
                  </a:lnTo>
                  <a:lnTo>
                    <a:pt x="184" y="64"/>
                  </a:lnTo>
                  <a:lnTo>
                    <a:pt x="216" y="80"/>
                  </a:lnTo>
                  <a:lnTo>
                    <a:pt x="224" y="88"/>
                  </a:lnTo>
                  <a:lnTo>
                    <a:pt x="224" y="88"/>
                  </a:lnTo>
                  <a:lnTo>
                    <a:pt x="224" y="96"/>
                  </a:lnTo>
                  <a:lnTo>
                    <a:pt x="216" y="88"/>
                  </a:lnTo>
                  <a:lnTo>
                    <a:pt x="208" y="88"/>
                  </a:lnTo>
                  <a:lnTo>
                    <a:pt x="200" y="8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12" name="Freeform 30"/>
            <p:cNvSpPr>
              <a:spLocks/>
            </p:cNvSpPr>
            <p:nvPr/>
          </p:nvSpPr>
          <p:spPr bwMode="auto">
            <a:xfrm>
              <a:off x="1839910" y="2070070"/>
              <a:ext cx="203200" cy="139698"/>
            </a:xfrm>
            <a:custGeom>
              <a:avLst/>
              <a:gdLst/>
              <a:ahLst/>
              <a:cxnLst>
                <a:cxn ang="0">
                  <a:pos x="24" y="80"/>
                </a:cxn>
                <a:cxn ang="0">
                  <a:pos x="24" y="72"/>
                </a:cxn>
                <a:cxn ang="0">
                  <a:pos x="0" y="64"/>
                </a:cxn>
                <a:cxn ang="0">
                  <a:pos x="0" y="56"/>
                </a:cxn>
                <a:cxn ang="0">
                  <a:pos x="24" y="32"/>
                </a:cxn>
                <a:cxn ang="0">
                  <a:pos x="16" y="8"/>
                </a:cxn>
                <a:cxn ang="0">
                  <a:pos x="16" y="8"/>
                </a:cxn>
                <a:cxn ang="0">
                  <a:pos x="16" y="8"/>
                </a:cxn>
                <a:cxn ang="0">
                  <a:pos x="24" y="0"/>
                </a:cxn>
                <a:cxn ang="0">
                  <a:pos x="32" y="8"/>
                </a:cxn>
                <a:cxn ang="0">
                  <a:pos x="48" y="0"/>
                </a:cxn>
                <a:cxn ang="0">
                  <a:pos x="56" y="0"/>
                </a:cxn>
                <a:cxn ang="0">
                  <a:pos x="56" y="0"/>
                </a:cxn>
                <a:cxn ang="0">
                  <a:pos x="72" y="8"/>
                </a:cxn>
                <a:cxn ang="0">
                  <a:pos x="88" y="16"/>
                </a:cxn>
                <a:cxn ang="0">
                  <a:pos x="96" y="8"/>
                </a:cxn>
                <a:cxn ang="0">
                  <a:pos x="104" y="8"/>
                </a:cxn>
                <a:cxn ang="0">
                  <a:pos x="128" y="24"/>
                </a:cxn>
                <a:cxn ang="0">
                  <a:pos x="128" y="32"/>
                </a:cxn>
                <a:cxn ang="0">
                  <a:pos x="104" y="40"/>
                </a:cxn>
                <a:cxn ang="0">
                  <a:pos x="88" y="40"/>
                </a:cxn>
                <a:cxn ang="0">
                  <a:pos x="72" y="64"/>
                </a:cxn>
                <a:cxn ang="0">
                  <a:pos x="72" y="72"/>
                </a:cxn>
                <a:cxn ang="0">
                  <a:pos x="40" y="88"/>
                </a:cxn>
                <a:cxn ang="0">
                  <a:pos x="32" y="80"/>
                </a:cxn>
                <a:cxn ang="0">
                  <a:pos x="24" y="80"/>
                </a:cxn>
              </a:cxnLst>
              <a:rect l="0" t="0" r="r" b="b"/>
              <a:pathLst>
                <a:path w="128" h="88">
                  <a:moveTo>
                    <a:pt x="24" y="80"/>
                  </a:moveTo>
                  <a:lnTo>
                    <a:pt x="24" y="72"/>
                  </a:lnTo>
                  <a:lnTo>
                    <a:pt x="0" y="64"/>
                  </a:lnTo>
                  <a:lnTo>
                    <a:pt x="0" y="56"/>
                  </a:lnTo>
                  <a:lnTo>
                    <a:pt x="24" y="32"/>
                  </a:lnTo>
                  <a:lnTo>
                    <a:pt x="16" y="8"/>
                  </a:lnTo>
                  <a:lnTo>
                    <a:pt x="16" y="8"/>
                  </a:lnTo>
                  <a:lnTo>
                    <a:pt x="16" y="8"/>
                  </a:lnTo>
                  <a:lnTo>
                    <a:pt x="24" y="0"/>
                  </a:lnTo>
                  <a:lnTo>
                    <a:pt x="32" y="8"/>
                  </a:lnTo>
                  <a:lnTo>
                    <a:pt x="48" y="0"/>
                  </a:lnTo>
                  <a:lnTo>
                    <a:pt x="56" y="0"/>
                  </a:lnTo>
                  <a:lnTo>
                    <a:pt x="56" y="0"/>
                  </a:lnTo>
                  <a:lnTo>
                    <a:pt x="72" y="8"/>
                  </a:lnTo>
                  <a:lnTo>
                    <a:pt x="88" y="16"/>
                  </a:lnTo>
                  <a:lnTo>
                    <a:pt x="96" y="8"/>
                  </a:lnTo>
                  <a:lnTo>
                    <a:pt x="104" y="8"/>
                  </a:lnTo>
                  <a:lnTo>
                    <a:pt x="128" y="24"/>
                  </a:lnTo>
                  <a:lnTo>
                    <a:pt x="128" y="32"/>
                  </a:lnTo>
                  <a:lnTo>
                    <a:pt x="104" y="40"/>
                  </a:lnTo>
                  <a:lnTo>
                    <a:pt x="88" y="40"/>
                  </a:lnTo>
                  <a:lnTo>
                    <a:pt x="72" y="64"/>
                  </a:lnTo>
                  <a:lnTo>
                    <a:pt x="72" y="72"/>
                  </a:lnTo>
                  <a:lnTo>
                    <a:pt x="40" y="88"/>
                  </a:lnTo>
                  <a:lnTo>
                    <a:pt x="32" y="80"/>
                  </a:lnTo>
                  <a:lnTo>
                    <a:pt x="24" y="8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13" name="Freeform 31"/>
            <p:cNvSpPr>
              <a:spLocks/>
            </p:cNvSpPr>
            <p:nvPr/>
          </p:nvSpPr>
          <p:spPr bwMode="auto">
            <a:xfrm>
              <a:off x="2551109" y="2108169"/>
              <a:ext cx="571499" cy="406394"/>
            </a:xfrm>
            <a:custGeom>
              <a:avLst/>
              <a:gdLst/>
              <a:ahLst/>
              <a:cxnLst>
                <a:cxn ang="0">
                  <a:pos x="320" y="192"/>
                </a:cxn>
                <a:cxn ang="0">
                  <a:pos x="280" y="168"/>
                </a:cxn>
                <a:cxn ang="0">
                  <a:pos x="288" y="168"/>
                </a:cxn>
                <a:cxn ang="0">
                  <a:pos x="288" y="176"/>
                </a:cxn>
                <a:cxn ang="0">
                  <a:pos x="280" y="176"/>
                </a:cxn>
                <a:cxn ang="0">
                  <a:pos x="288" y="176"/>
                </a:cxn>
                <a:cxn ang="0">
                  <a:pos x="304" y="200"/>
                </a:cxn>
                <a:cxn ang="0">
                  <a:pos x="312" y="200"/>
                </a:cxn>
                <a:cxn ang="0">
                  <a:pos x="320" y="208"/>
                </a:cxn>
                <a:cxn ang="0">
                  <a:pos x="328" y="224"/>
                </a:cxn>
                <a:cxn ang="0">
                  <a:pos x="320" y="240"/>
                </a:cxn>
                <a:cxn ang="0">
                  <a:pos x="280" y="216"/>
                </a:cxn>
                <a:cxn ang="0">
                  <a:pos x="272" y="224"/>
                </a:cxn>
                <a:cxn ang="0">
                  <a:pos x="296" y="256"/>
                </a:cxn>
                <a:cxn ang="0">
                  <a:pos x="248" y="240"/>
                </a:cxn>
                <a:cxn ang="0">
                  <a:pos x="232" y="224"/>
                </a:cxn>
                <a:cxn ang="0">
                  <a:pos x="200" y="200"/>
                </a:cxn>
                <a:cxn ang="0">
                  <a:pos x="176" y="208"/>
                </a:cxn>
                <a:cxn ang="0">
                  <a:pos x="152" y="192"/>
                </a:cxn>
                <a:cxn ang="0">
                  <a:pos x="184" y="184"/>
                </a:cxn>
                <a:cxn ang="0">
                  <a:pos x="208" y="176"/>
                </a:cxn>
                <a:cxn ang="0">
                  <a:pos x="208" y="160"/>
                </a:cxn>
                <a:cxn ang="0">
                  <a:pos x="224" y="136"/>
                </a:cxn>
                <a:cxn ang="0">
                  <a:pos x="168" y="112"/>
                </a:cxn>
                <a:cxn ang="0">
                  <a:pos x="168" y="104"/>
                </a:cxn>
                <a:cxn ang="0">
                  <a:pos x="168" y="96"/>
                </a:cxn>
                <a:cxn ang="0">
                  <a:pos x="128" y="96"/>
                </a:cxn>
                <a:cxn ang="0">
                  <a:pos x="120" y="88"/>
                </a:cxn>
                <a:cxn ang="0">
                  <a:pos x="88" y="88"/>
                </a:cxn>
                <a:cxn ang="0">
                  <a:pos x="40" y="80"/>
                </a:cxn>
                <a:cxn ang="0">
                  <a:pos x="24" y="80"/>
                </a:cxn>
                <a:cxn ang="0">
                  <a:pos x="16" y="64"/>
                </a:cxn>
                <a:cxn ang="0">
                  <a:pos x="32" y="64"/>
                </a:cxn>
                <a:cxn ang="0">
                  <a:pos x="8" y="56"/>
                </a:cxn>
                <a:cxn ang="0">
                  <a:pos x="8" y="24"/>
                </a:cxn>
                <a:cxn ang="0">
                  <a:pos x="32" y="0"/>
                </a:cxn>
                <a:cxn ang="0">
                  <a:pos x="64" y="0"/>
                </a:cxn>
                <a:cxn ang="0">
                  <a:pos x="40" y="24"/>
                </a:cxn>
                <a:cxn ang="0">
                  <a:pos x="48" y="32"/>
                </a:cxn>
                <a:cxn ang="0">
                  <a:pos x="48" y="40"/>
                </a:cxn>
                <a:cxn ang="0">
                  <a:pos x="56" y="40"/>
                </a:cxn>
                <a:cxn ang="0">
                  <a:pos x="88" y="0"/>
                </a:cxn>
                <a:cxn ang="0">
                  <a:pos x="120" y="32"/>
                </a:cxn>
                <a:cxn ang="0">
                  <a:pos x="128" y="32"/>
                </a:cxn>
                <a:cxn ang="0">
                  <a:pos x="152" y="24"/>
                </a:cxn>
                <a:cxn ang="0">
                  <a:pos x="208" y="48"/>
                </a:cxn>
                <a:cxn ang="0">
                  <a:pos x="240" y="48"/>
                </a:cxn>
                <a:cxn ang="0">
                  <a:pos x="256" y="64"/>
                </a:cxn>
                <a:cxn ang="0">
                  <a:pos x="272" y="80"/>
                </a:cxn>
                <a:cxn ang="0">
                  <a:pos x="288" y="80"/>
                </a:cxn>
                <a:cxn ang="0">
                  <a:pos x="280" y="96"/>
                </a:cxn>
                <a:cxn ang="0">
                  <a:pos x="296" y="104"/>
                </a:cxn>
                <a:cxn ang="0">
                  <a:pos x="280" y="112"/>
                </a:cxn>
                <a:cxn ang="0">
                  <a:pos x="296" y="112"/>
                </a:cxn>
                <a:cxn ang="0">
                  <a:pos x="320" y="128"/>
                </a:cxn>
                <a:cxn ang="0">
                  <a:pos x="328" y="144"/>
                </a:cxn>
                <a:cxn ang="0">
                  <a:pos x="360" y="152"/>
                </a:cxn>
                <a:cxn ang="0">
                  <a:pos x="344" y="168"/>
                </a:cxn>
                <a:cxn ang="0">
                  <a:pos x="344" y="176"/>
                </a:cxn>
              </a:cxnLst>
              <a:rect l="0" t="0" r="r" b="b"/>
              <a:pathLst>
                <a:path w="360" h="256">
                  <a:moveTo>
                    <a:pt x="336" y="176"/>
                  </a:moveTo>
                  <a:lnTo>
                    <a:pt x="336" y="192"/>
                  </a:lnTo>
                  <a:lnTo>
                    <a:pt x="320" y="192"/>
                  </a:lnTo>
                  <a:lnTo>
                    <a:pt x="296" y="160"/>
                  </a:lnTo>
                  <a:lnTo>
                    <a:pt x="288" y="160"/>
                  </a:lnTo>
                  <a:lnTo>
                    <a:pt x="280" y="168"/>
                  </a:lnTo>
                  <a:lnTo>
                    <a:pt x="288" y="168"/>
                  </a:lnTo>
                  <a:lnTo>
                    <a:pt x="288" y="168"/>
                  </a:lnTo>
                  <a:lnTo>
                    <a:pt x="288" y="168"/>
                  </a:lnTo>
                  <a:lnTo>
                    <a:pt x="288" y="176"/>
                  </a:lnTo>
                  <a:lnTo>
                    <a:pt x="288" y="176"/>
                  </a:lnTo>
                  <a:lnTo>
                    <a:pt x="288" y="176"/>
                  </a:lnTo>
                  <a:lnTo>
                    <a:pt x="280" y="176"/>
                  </a:lnTo>
                  <a:lnTo>
                    <a:pt x="280" y="176"/>
                  </a:lnTo>
                  <a:lnTo>
                    <a:pt x="280" y="176"/>
                  </a:lnTo>
                  <a:lnTo>
                    <a:pt x="280" y="176"/>
                  </a:lnTo>
                  <a:lnTo>
                    <a:pt x="288" y="176"/>
                  </a:lnTo>
                  <a:lnTo>
                    <a:pt x="288" y="176"/>
                  </a:lnTo>
                  <a:lnTo>
                    <a:pt x="288" y="192"/>
                  </a:lnTo>
                  <a:lnTo>
                    <a:pt x="296" y="200"/>
                  </a:lnTo>
                  <a:lnTo>
                    <a:pt x="304" y="200"/>
                  </a:lnTo>
                  <a:lnTo>
                    <a:pt x="304" y="200"/>
                  </a:lnTo>
                  <a:lnTo>
                    <a:pt x="312" y="200"/>
                  </a:lnTo>
                  <a:lnTo>
                    <a:pt x="312" y="200"/>
                  </a:lnTo>
                  <a:lnTo>
                    <a:pt x="320" y="200"/>
                  </a:lnTo>
                  <a:lnTo>
                    <a:pt x="320" y="200"/>
                  </a:lnTo>
                  <a:lnTo>
                    <a:pt x="320" y="208"/>
                  </a:lnTo>
                  <a:lnTo>
                    <a:pt x="320" y="208"/>
                  </a:lnTo>
                  <a:lnTo>
                    <a:pt x="328" y="216"/>
                  </a:lnTo>
                  <a:lnTo>
                    <a:pt x="328" y="224"/>
                  </a:lnTo>
                  <a:lnTo>
                    <a:pt x="320" y="232"/>
                  </a:lnTo>
                  <a:lnTo>
                    <a:pt x="320" y="240"/>
                  </a:lnTo>
                  <a:lnTo>
                    <a:pt x="320" y="240"/>
                  </a:lnTo>
                  <a:lnTo>
                    <a:pt x="312" y="240"/>
                  </a:lnTo>
                  <a:lnTo>
                    <a:pt x="280" y="224"/>
                  </a:lnTo>
                  <a:lnTo>
                    <a:pt x="280" y="216"/>
                  </a:lnTo>
                  <a:lnTo>
                    <a:pt x="280" y="216"/>
                  </a:lnTo>
                  <a:lnTo>
                    <a:pt x="272" y="216"/>
                  </a:lnTo>
                  <a:lnTo>
                    <a:pt x="272" y="224"/>
                  </a:lnTo>
                  <a:lnTo>
                    <a:pt x="304" y="240"/>
                  </a:lnTo>
                  <a:lnTo>
                    <a:pt x="304" y="256"/>
                  </a:lnTo>
                  <a:lnTo>
                    <a:pt x="296" y="256"/>
                  </a:lnTo>
                  <a:lnTo>
                    <a:pt x="296" y="256"/>
                  </a:lnTo>
                  <a:lnTo>
                    <a:pt x="280" y="248"/>
                  </a:lnTo>
                  <a:lnTo>
                    <a:pt x="248" y="240"/>
                  </a:lnTo>
                  <a:lnTo>
                    <a:pt x="232" y="232"/>
                  </a:lnTo>
                  <a:lnTo>
                    <a:pt x="232" y="224"/>
                  </a:lnTo>
                  <a:lnTo>
                    <a:pt x="232" y="224"/>
                  </a:lnTo>
                  <a:lnTo>
                    <a:pt x="232" y="224"/>
                  </a:lnTo>
                  <a:lnTo>
                    <a:pt x="224" y="216"/>
                  </a:lnTo>
                  <a:lnTo>
                    <a:pt x="200" y="200"/>
                  </a:lnTo>
                  <a:lnTo>
                    <a:pt x="192" y="208"/>
                  </a:lnTo>
                  <a:lnTo>
                    <a:pt x="184" y="200"/>
                  </a:lnTo>
                  <a:lnTo>
                    <a:pt x="176" y="208"/>
                  </a:lnTo>
                  <a:lnTo>
                    <a:pt x="168" y="208"/>
                  </a:lnTo>
                  <a:lnTo>
                    <a:pt x="152" y="200"/>
                  </a:lnTo>
                  <a:lnTo>
                    <a:pt x="152" y="192"/>
                  </a:lnTo>
                  <a:lnTo>
                    <a:pt x="160" y="184"/>
                  </a:lnTo>
                  <a:lnTo>
                    <a:pt x="168" y="184"/>
                  </a:lnTo>
                  <a:lnTo>
                    <a:pt x="184" y="184"/>
                  </a:lnTo>
                  <a:lnTo>
                    <a:pt x="200" y="184"/>
                  </a:lnTo>
                  <a:lnTo>
                    <a:pt x="208" y="176"/>
                  </a:lnTo>
                  <a:lnTo>
                    <a:pt x="208" y="176"/>
                  </a:lnTo>
                  <a:lnTo>
                    <a:pt x="200" y="176"/>
                  </a:lnTo>
                  <a:lnTo>
                    <a:pt x="200" y="168"/>
                  </a:lnTo>
                  <a:lnTo>
                    <a:pt x="208" y="160"/>
                  </a:lnTo>
                  <a:lnTo>
                    <a:pt x="216" y="160"/>
                  </a:lnTo>
                  <a:lnTo>
                    <a:pt x="224" y="144"/>
                  </a:lnTo>
                  <a:lnTo>
                    <a:pt x="224" y="136"/>
                  </a:lnTo>
                  <a:lnTo>
                    <a:pt x="192" y="112"/>
                  </a:lnTo>
                  <a:lnTo>
                    <a:pt x="176" y="112"/>
                  </a:lnTo>
                  <a:lnTo>
                    <a:pt x="168" y="112"/>
                  </a:lnTo>
                  <a:lnTo>
                    <a:pt x="168" y="112"/>
                  </a:lnTo>
                  <a:lnTo>
                    <a:pt x="168" y="112"/>
                  </a:lnTo>
                  <a:lnTo>
                    <a:pt x="168" y="104"/>
                  </a:lnTo>
                  <a:lnTo>
                    <a:pt x="176" y="104"/>
                  </a:lnTo>
                  <a:lnTo>
                    <a:pt x="176" y="104"/>
                  </a:lnTo>
                  <a:lnTo>
                    <a:pt x="168" y="96"/>
                  </a:lnTo>
                  <a:lnTo>
                    <a:pt x="152" y="80"/>
                  </a:lnTo>
                  <a:lnTo>
                    <a:pt x="144" y="80"/>
                  </a:lnTo>
                  <a:lnTo>
                    <a:pt x="128" y="96"/>
                  </a:lnTo>
                  <a:lnTo>
                    <a:pt x="120" y="96"/>
                  </a:lnTo>
                  <a:lnTo>
                    <a:pt x="120" y="88"/>
                  </a:lnTo>
                  <a:lnTo>
                    <a:pt x="120" y="88"/>
                  </a:lnTo>
                  <a:lnTo>
                    <a:pt x="120" y="88"/>
                  </a:lnTo>
                  <a:lnTo>
                    <a:pt x="104" y="88"/>
                  </a:lnTo>
                  <a:lnTo>
                    <a:pt x="88" y="88"/>
                  </a:lnTo>
                  <a:lnTo>
                    <a:pt x="64" y="88"/>
                  </a:lnTo>
                  <a:lnTo>
                    <a:pt x="48" y="88"/>
                  </a:lnTo>
                  <a:lnTo>
                    <a:pt x="40" y="80"/>
                  </a:lnTo>
                  <a:lnTo>
                    <a:pt x="40" y="80"/>
                  </a:lnTo>
                  <a:lnTo>
                    <a:pt x="24" y="80"/>
                  </a:lnTo>
                  <a:lnTo>
                    <a:pt x="24" y="80"/>
                  </a:lnTo>
                  <a:lnTo>
                    <a:pt x="16" y="72"/>
                  </a:lnTo>
                  <a:lnTo>
                    <a:pt x="16" y="64"/>
                  </a:lnTo>
                  <a:lnTo>
                    <a:pt x="16" y="64"/>
                  </a:lnTo>
                  <a:lnTo>
                    <a:pt x="32" y="64"/>
                  </a:lnTo>
                  <a:lnTo>
                    <a:pt x="32" y="64"/>
                  </a:lnTo>
                  <a:lnTo>
                    <a:pt x="32" y="64"/>
                  </a:lnTo>
                  <a:lnTo>
                    <a:pt x="32" y="56"/>
                  </a:lnTo>
                  <a:lnTo>
                    <a:pt x="16" y="56"/>
                  </a:lnTo>
                  <a:lnTo>
                    <a:pt x="8" y="56"/>
                  </a:lnTo>
                  <a:lnTo>
                    <a:pt x="0" y="48"/>
                  </a:lnTo>
                  <a:lnTo>
                    <a:pt x="0" y="32"/>
                  </a:lnTo>
                  <a:lnTo>
                    <a:pt x="8" y="24"/>
                  </a:lnTo>
                  <a:lnTo>
                    <a:pt x="8" y="24"/>
                  </a:lnTo>
                  <a:lnTo>
                    <a:pt x="8" y="16"/>
                  </a:lnTo>
                  <a:lnTo>
                    <a:pt x="32" y="0"/>
                  </a:lnTo>
                  <a:lnTo>
                    <a:pt x="48" y="0"/>
                  </a:lnTo>
                  <a:lnTo>
                    <a:pt x="64" y="0"/>
                  </a:lnTo>
                  <a:lnTo>
                    <a:pt x="64" y="0"/>
                  </a:lnTo>
                  <a:lnTo>
                    <a:pt x="64" y="0"/>
                  </a:lnTo>
                  <a:lnTo>
                    <a:pt x="40" y="16"/>
                  </a:lnTo>
                  <a:lnTo>
                    <a:pt x="40" y="24"/>
                  </a:lnTo>
                  <a:lnTo>
                    <a:pt x="48" y="24"/>
                  </a:lnTo>
                  <a:lnTo>
                    <a:pt x="48" y="32"/>
                  </a:lnTo>
                  <a:lnTo>
                    <a:pt x="48" y="32"/>
                  </a:lnTo>
                  <a:lnTo>
                    <a:pt x="48" y="32"/>
                  </a:lnTo>
                  <a:lnTo>
                    <a:pt x="48" y="32"/>
                  </a:lnTo>
                  <a:lnTo>
                    <a:pt x="48" y="40"/>
                  </a:lnTo>
                  <a:lnTo>
                    <a:pt x="48" y="40"/>
                  </a:lnTo>
                  <a:lnTo>
                    <a:pt x="56" y="40"/>
                  </a:lnTo>
                  <a:lnTo>
                    <a:pt x="56" y="40"/>
                  </a:lnTo>
                  <a:lnTo>
                    <a:pt x="56" y="24"/>
                  </a:lnTo>
                  <a:lnTo>
                    <a:pt x="56" y="8"/>
                  </a:lnTo>
                  <a:lnTo>
                    <a:pt x="88" y="0"/>
                  </a:lnTo>
                  <a:lnTo>
                    <a:pt x="112" y="0"/>
                  </a:lnTo>
                  <a:lnTo>
                    <a:pt x="120" y="16"/>
                  </a:lnTo>
                  <a:lnTo>
                    <a:pt x="120" y="32"/>
                  </a:lnTo>
                  <a:lnTo>
                    <a:pt x="120" y="32"/>
                  </a:lnTo>
                  <a:lnTo>
                    <a:pt x="120" y="32"/>
                  </a:lnTo>
                  <a:lnTo>
                    <a:pt x="128" y="32"/>
                  </a:lnTo>
                  <a:lnTo>
                    <a:pt x="136" y="32"/>
                  </a:lnTo>
                  <a:lnTo>
                    <a:pt x="144" y="32"/>
                  </a:lnTo>
                  <a:lnTo>
                    <a:pt x="152" y="24"/>
                  </a:lnTo>
                  <a:lnTo>
                    <a:pt x="184" y="24"/>
                  </a:lnTo>
                  <a:lnTo>
                    <a:pt x="200" y="40"/>
                  </a:lnTo>
                  <a:lnTo>
                    <a:pt x="208" y="48"/>
                  </a:lnTo>
                  <a:lnTo>
                    <a:pt x="216" y="48"/>
                  </a:lnTo>
                  <a:lnTo>
                    <a:pt x="224" y="48"/>
                  </a:lnTo>
                  <a:lnTo>
                    <a:pt x="240" y="48"/>
                  </a:lnTo>
                  <a:lnTo>
                    <a:pt x="240" y="64"/>
                  </a:lnTo>
                  <a:lnTo>
                    <a:pt x="240" y="64"/>
                  </a:lnTo>
                  <a:lnTo>
                    <a:pt x="256" y="64"/>
                  </a:lnTo>
                  <a:lnTo>
                    <a:pt x="272" y="72"/>
                  </a:lnTo>
                  <a:lnTo>
                    <a:pt x="272" y="72"/>
                  </a:lnTo>
                  <a:lnTo>
                    <a:pt x="272" y="80"/>
                  </a:lnTo>
                  <a:lnTo>
                    <a:pt x="272" y="80"/>
                  </a:lnTo>
                  <a:lnTo>
                    <a:pt x="280" y="80"/>
                  </a:lnTo>
                  <a:lnTo>
                    <a:pt x="288" y="80"/>
                  </a:lnTo>
                  <a:lnTo>
                    <a:pt x="288" y="88"/>
                  </a:lnTo>
                  <a:lnTo>
                    <a:pt x="288" y="88"/>
                  </a:lnTo>
                  <a:lnTo>
                    <a:pt x="280" y="96"/>
                  </a:lnTo>
                  <a:lnTo>
                    <a:pt x="288" y="96"/>
                  </a:lnTo>
                  <a:lnTo>
                    <a:pt x="296" y="96"/>
                  </a:lnTo>
                  <a:lnTo>
                    <a:pt x="296" y="104"/>
                  </a:lnTo>
                  <a:lnTo>
                    <a:pt x="296" y="104"/>
                  </a:lnTo>
                  <a:lnTo>
                    <a:pt x="280" y="112"/>
                  </a:lnTo>
                  <a:lnTo>
                    <a:pt x="280" y="112"/>
                  </a:lnTo>
                  <a:lnTo>
                    <a:pt x="280" y="112"/>
                  </a:lnTo>
                  <a:lnTo>
                    <a:pt x="288" y="112"/>
                  </a:lnTo>
                  <a:lnTo>
                    <a:pt x="296" y="112"/>
                  </a:lnTo>
                  <a:lnTo>
                    <a:pt x="296" y="112"/>
                  </a:lnTo>
                  <a:lnTo>
                    <a:pt x="296" y="128"/>
                  </a:lnTo>
                  <a:lnTo>
                    <a:pt x="320" y="128"/>
                  </a:lnTo>
                  <a:lnTo>
                    <a:pt x="320" y="128"/>
                  </a:lnTo>
                  <a:lnTo>
                    <a:pt x="320" y="144"/>
                  </a:lnTo>
                  <a:lnTo>
                    <a:pt x="328" y="144"/>
                  </a:lnTo>
                  <a:lnTo>
                    <a:pt x="336" y="144"/>
                  </a:lnTo>
                  <a:lnTo>
                    <a:pt x="344" y="152"/>
                  </a:lnTo>
                  <a:lnTo>
                    <a:pt x="360" y="152"/>
                  </a:lnTo>
                  <a:lnTo>
                    <a:pt x="360" y="168"/>
                  </a:lnTo>
                  <a:lnTo>
                    <a:pt x="344" y="168"/>
                  </a:lnTo>
                  <a:lnTo>
                    <a:pt x="344" y="168"/>
                  </a:lnTo>
                  <a:lnTo>
                    <a:pt x="344" y="168"/>
                  </a:lnTo>
                  <a:lnTo>
                    <a:pt x="344" y="176"/>
                  </a:lnTo>
                  <a:lnTo>
                    <a:pt x="344" y="176"/>
                  </a:lnTo>
                  <a:lnTo>
                    <a:pt x="336" y="17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14" name="Freeform 32"/>
            <p:cNvSpPr>
              <a:spLocks/>
            </p:cNvSpPr>
            <p:nvPr/>
          </p:nvSpPr>
          <p:spPr bwMode="auto">
            <a:xfrm>
              <a:off x="2513010" y="1689076"/>
              <a:ext cx="609599" cy="317496"/>
            </a:xfrm>
            <a:custGeom>
              <a:avLst/>
              <a:gdLst/>
              <a:ahLst/>
              <a:cxnLst>
                <a:cxn ang="0">
                  <a:pos x="312" y="16"/>
                </a:cxn>
                <a:cxn ang="0">
                  <a:pos x="352" y="8"/>
                </a:cxn>
                <a:cxn ang="0">
                  <a:pos x="384" y="24"/>
                </a:cxn>
                <a:cxn ang="0">
                  <a:pos x="368" y="40"/>
                </a:cxn>
                <a:cxn ang="0">
                  <a:pos x="312" y="48"/>
                </a:cxn>
                <a:cxn ang="0">
                  <a:pos x="344" y="48"/>
                </a:cxn>
                <a:cxn ang="0">
                  <a:pos x="344" y="56"/>
                </a:cxn>
                <a:cxn ang="0">
                  <a:pos x="256" y="104"/>
                </a:cxn>
                <a:cxn ang="0">
                  <a:pos x="240" y="104"/>
                </a:cxn>
                <a:cxn ang="0">
                  <a:pos x="208" y="112"/>
                </a:cxn>
                <a:cxn ang="0">
                  <a:pos x="216" y="120"/>
                </a:cxn>
                <a:cxn ang="0">
                  <a:pos x="216" y="128"/>
                </a:cxn>
                <a:cxn ang="0">
                  <a:pos x="208" y="128"/>
                </a:cxn>
                <a:cxn ang="0">
                  <a:pos x="216" y="136"/>
                </a:cxn>
                <a:cxn ang="0">
                  <a:pos x="200" y="152"/>
                </a:cxn>
                <a:cxn ang="0">
                  <a:pos x="176" y="152"/>
                </a:cxn>
                <a:cxn ang="0">
                  <a:pos x="160" y="176"/>
                </a:cxn>
                <a:cxn ang="0">
                  <a:pos x="168" y="184"/>
                </a:cxn>
                <a:cxn ang="0">
                  <a:pos x="176" y="192"/>
                </a:cxn>
                <a:cxn ang="0">
                  <a:pos x="136" y="192"/>
                </a:cxn>
                <a:cxn ang="0">
                  <a:pos x="96" y="192"/>
                </a:cxn>
                <a:cxn ang="0">
                  <a:pos x="48" y="192"/>
                </a:cxn>
                <a:cxn ang="0">
                  <a:pos x="40" y="192"/>
                </a:cxn>
                <a:cxn ang="0">
                  <a:pos x="64" y="176"/>
                </a:cxn>
                <a:cxn ang="0">
                  <a:pos x="56" y="152"/>
                </a:cxn>
                <a:cxn ang="0">
                  <a:pos x="80" y="168"/>
                </a:cxn>
                <a:cxn ang="0">
                  <a:pos x="96" y="168"/>
                </a:cxn>
                <a:cxn ang="0">
                  <a:pos x="72" y="144"/>
                </a:cxn>
                <a:cxn ang="0">
                  <a:pos x="64" y="144"/>
                </a:cxn>
                <a:cxn ang="0">
                  <a:pos x="56" y="152"/>
                </a:cxn>
                <a:cxn ang="0">
                  <a:pos x="80" y="128"/>
                </a:cxn>
                <a:cxn ang="0">
                  <a:pos x="64" y="96"/>
                </a:cxn>
                <a:cxn ang="0">
                  <a:pos x="72" y="96"/>
                </a:cxn>
                <a:cxn ang="0">
                  <a:pos x="72" y="88"/>
                </a:cxn>
                <a:cxn ang="0">
                  <a:pos x="80" y="88"/>
                </a:cxn>
                <a:cxn ang="0">
                  <a:pos x="120" y="104"/>
                </a:cxn>
                <a:cxn ang="0">
                  <a:pos x="120" y="96"/>
                </a:cxn>
                <a:cxn ang="0">
                  <a:pos x="112" y="88"/>
                </a:cxn>
                <a:cxn ang="0">
                  <a:pos x="152" y="80"/>
                </a:cxn>
                <a:cxn ang="0">
                  <a:pos x="152" y="72"/>
                </a:cxn>
                <a:cxn ang="0">
                  <a:pos x="104" y="80"/>
                </a:cxn>
                <a:cxn ang="0">
                  <a:pos x="72" y="80"/>
                </a:cxn>
                <a:cxn ang="0">
                  <a:pos x="72" y="72"/>
                </a:cxn>
                <a:cxn ang="0">
                  <a:pos x="40" y="80"/>
                </a:cxn>
                <a:cxn ang="0">
                  <a:pos x="40" y="64"/>
                </a:cxn>
                <a:cxn ang="0">
                  <a:pos x="24" y="64"/>
                </a:cxn>
                <a:cxn ang="0">
                  <a:pos x="48" y="56"/>
                </a:cxn>
                <a:cxn ang="0">
                  <a:pos x="48" y="48"/>
                </a:cxn>
                <a:cxn ang="0">
                  <a:pos x="24" y="56"/>
                </a:cxn>
                <a:cxn ang="0">
                  <a:pos x="24" y="48"/>
                </a:cxn>
                <a:cxn ang="0">
                  <a:pos x="16" y="48"/>
                </a:cxn>
                <a:cxn ang="0">
                  <a:pos x="0" y="48"/>
                </a:cxn>
                <a:cxn ang="0">
                  <a:pos x="32" y="32"/>
                </a:cxn>
                <a:cxn ang="0">
                  <a:pos x="56" y="32"/>
                </a:cxn>
                <a:cxn ang="0">
                  <a:pos x="80" y="24"/>
                </a:cxn>
                <a:cxn ang="0">
                  <a:pos x="104" y="32"/>
                </a:cxn>
                <a:cxn ang="0">
                  <a:pos x="128" y="8"/>
                </a:cxn>
                <a:cxn ang="0">
                  <a:pos x="144" y="8"/>
                </a:cxn>
                <a:cxn ang="0">
                  <a:pos x="200" y="0"/>
                </a:cxn>
                <a:cxn ang="0">
                  <a:pos x="224" y="0"/>
                </a:cxn>
                <a:cxn ang="0">
                  <a:pos x="256" y="0"/>
                </a:cxn>
                <a:cxn ang="0">
                  <a:pos x="312" y="8"/>
                </a:cxn>
              </a:cxnLst>
              <a:rect l="0" t="0" r="r" b="b"/>
              <a:pathLst>
                <a:path w="384" h="200">
                  <a:moveTo>
                    <a:pt x="312" y="8"/>
                  </a:moveTo>
                  <a:lnTo>
                    <a:pt x="312" y="16"/>
                  </a:lnTo>
                  <a:lnTo>
                    <a:pt x="312" y="16"/>
                  </a:lnTo>
                  <a:lnTo>
                    <a:pt x="344" y="8"/>
                  </a:lnTo>
                  <a:lnTo>
                    <a:pt x="344" y="8"/>
                  </a:lnTo>
                  <a:lnTo>
                    <a:pt x="352" y="8"/>
                  </a:lnTo>
                  <a:lnTo>
                    <a:pt x="352" y="16"/>
                  </a:lnTo>
                  <a:lnTo>
                    <a:pt x="360" y="16"/>
                  </a:lnTo>
                  <a:lnTo>
                    <a:pt x="384" y="24"/>
                  </a:lnTo>
                  <a:lnTo>
                    <a:pt x="384" y="32"/>
                  </a:lnTo>
                  <a:lnTo>
                    <a:pt x="376" y="32"/>
                  </a:lnTo>
                  <a:lnTo>
                    <a:pt x="368" y="40"/>
                  </a:lnTo>
                  <a:lnTo>
                    <a:pt x="320" y="48"/>
                  </a:lnTo>
                  <a:lnTo>
                    <a:pt x="312" y="48"/>
                  </a:lnTo>
                  <a:lnTo>
                    <a:pt x="312" y="48"/>
                  </a:lnTo>
                  <a:lnTo>
                    <a:pt x="312" y="48"/>
                  </a:lnTo>
                  <a:lnTo>
                    <a:pt x="336" y="48"/>
                  </a:lnTo>
                  <a:lnTo>
                    <a:pt x="344" y="48"/>
                  </a:lnTo>
                  <a:lnTo>
                    <a:pt x="344" y="48"/>
                  </a:lnTo>
                  <a:lnTo>
                    <a:pt x="344" y="48"/>
                  </a:lnTo>
                  <a:lnTo>
                    <a:pt x="344" y="56"/>
                  </a:lnTo>
                  <a:lnTo>
                    <a:pt x="320" y="64"/>
                  </a:lnTo>
                  <a:lnTo>
                    <a:pt x="288" y="72"/>
                  </a:lnTo>
                  <a:lnTo>
                    <a:pt x="256" y="104"/>
                  </a:lnTo>
                  <a:lnTo>
                    <a:pt x="256" y="104"/>
                  </a:lnTo>
                  <a:lnTo>
                    <a:pt x="240" y="104"/>
                  </a:lnTo>
                  <a:lnTo>
                    <a:pt x="240" y="104"/>
                  </a:lnTo>
                  <a:lnTo>
                    <a:pt x="232" y="104"/>
                  </a:lnTo>
                  <a:lnTo>
                    <a:pt x="224" y="112"/>
                  </a:lnTo>
                  <a:lnTo>
                    <a:pt x="208" y="112"/>
                  </a:lnTo>
                  <a:lnTo>
                    <a:pt x="208" y="120"/>
                  </a:lnTo>
                  <a:lnTo>
                    <a:pt x="208" y="120"/>
                  </a:lnTo>
                  <a:lnTo>
                    <a:pt x="216" y="120"/>
                  </a:lnTo>
                  <a:lnTo>
                    <a:pt x="216" y="120"/>
                  </a:lnTo>
                  <a:lnTo>
                    <a:pt x="216" y="120"/>
                  </a:lnTo>
                  <a:lnTo>
                    <a:pt x="216" y="128"/>
                  </a:lnTo>
                  <a:lnTo>
                    <a:pt x="208" y="128"/>
                  </a:lnTo>
                  <a:lnTo>
                    <a:pt x="208" y="128"/>
                  </a:lnTo>
                  <a:lnTo>
                    <a:pt x="208" y="128"/>
                  </a:lnTo>
                  <a:lnTo>
                    <a:pt x="216" y="128"/>
                  </a:lnTo>
                  <a:lnTo>
                    <a:pt x="216" y="136"/>
                  </a:lnTo>
                  <a:lnTo>
                    <a:pt x="216" y="136"/>
                  </a:lnTo>
                  <a:lnTo>
                    <a:pt x="216" y="136"/>
                  </a:lnTo>
                  <a:lnTo>
                    <a:pt x="200" y="152"/>
                  </a:lnTo>
                  <a:lnTo>
                    <a:pt x="200" y="152"/>
                  </a:lnTo>
                  <a:lnTo>
                    <a:pt x="200" y="152"/>
                  </a:lnTo>
                  <a:lnTo>
                    <a:pt x="176" y="152"/>
                  </a:lnTo>
                  <a:lnTo>
                    <a:pt x="176" y="152"/>
                  </a:lnTo>
                  <a:lnTo>
                    <a:pt x="176" y="160"/>
                  </a:lnTo>
                  <a:lnTo>
                    <a:pt x="176" y="168"/>
                  </a:lnTo>
                  <a:lnTo>
                    <a:pt x="160" y="176"/>
                  </a:lnTo>
                  <a:lnTo>
                    <a:pt x="160" y="184"/>
                  </a:lnTo>
                  <a:lnTo>
                    <a:pt x="160" y="184"/>
                  </a:lnTo>
                  <a:lnTo>
                    <a:pt x="168" y="184"/>
                  </a:lnTo>
                  <a:lnTo>
                    <a:pt x="176" y="184"/>
                  </a:lnTo>
                  <a:lnTo>
                    <a:pt x="176" y="184"/>
                  </a:lnTo>
                  <a:lnTo>
                    <a:pt x="176" y="192"/>
                  </a:lnTo>
                  <a:lnTo>
                    <a:pt x="152" y="200"/>
                  </a:lnTo>
                  <a:lnTo>
                    <a:pt x="136" y="200"/>
                  </a:lnTo>
                  <a:lnTo>
                    <a:pt x="136" y="192"/>
                  </a:lnTo>
                  <a:lnTo>
                    <a:pt x="128" y="192"/>
                  </a:lnTo>
                  <a:lnTo>
                    <a:pt x="96" y="192"/>
                  </a:lnTo>
                  <a:lnTo>
                    <a:pt x="96" y="192"/>
                  </a:lnTo>
                  <a:lnTo>
                    <a:pt x="88" y="200"/>
                  </a:lnTo>
                  <a:lnTo>
                    <a:pt x="72" y="200"/>
                  </a:lnTo>
                  <a:lnTo>
                    <a:pt x="48" y="192"/>
                  </a:lnTo>
                  <a:lnTo>
                    <a:pt x="40" y="192"/>
                  </a:lnTo>
                  <a:lnTo>
                    <a:pt x="40" y="192"/>
                  </a:lnTo>
                  <a:lnTo>
                    <a:pt x="40" y="192"/>
                  </a:lnTo>
                  <a:lnTo>
                    <a:pt x="32" y="192"/>
                  </a:lnTo>
                  <a:lnTo>
                    <a:pt x="32" y="184"/>
                  </a:lnTo>
                  <a:lnTo>
                    <a:pt x="64" y="176"/>
                  </a:lnTo>
                  <a:lnTo>
                    <a:pt x="48" y="160"/>
                  </a:lnTo>
                  <a:lnTo>
                    <a:pt x="48" y="152"/>
                  </a:lnTo>
                  <a:lnTo>
                    <a:pt x="56" y="152"/>
                  </a:lnTo>
                  <a:lnTo>
                    <a:pt x="56" y="152"/>
                  </a:lnTo>
                  <a:lnTo>
                    <a:pt x="72" y="152"/>
                  </a:lnTo>
                  <a:lnTo>
                    <a:pt x="80" y="168"/>
                  </a:lnTo>
                  <a:lnTo>
                    <a:pt x="88" y="168"/>
                  </a:lnTo>
                  <a:lnTo>
                    <a:pt x="96" y="168"/>
                  </a:lnTo>
                  <a:lnTo>
                    <a:pt x="96" y="168"/>
                  </a:lnTo>
                  <a:lnTo>
                    <a:pt x="88" y="160"/>
                  </a:lnTo>
                  <a:lnTo>
                    <a:pt x="72" y="152"/>
                  </a:lnTo>
                  <a:lnTo>
                    <a:pt x="72" y="144"/>
                  </a:lnTo>
                  <a:lnTo>
                    <a:pt x="72" y="144"/>
                  </a:lnTo>
                  <a:lnTo>
                    <a:pt x="72" y="144"/>
                  </a:lnTo>
                  <a:lnTo>
                    <a:pt x="64" y="144"/>
                  </a:lnTo>
                  <a:lnTo>
                    <a:pt x="64" y="152"/>
                  </a:lnTo>
                  <a:lnTo>
                    <a:pt x="56" y="152"/>
                  </a:lnTo>
                  <a:lnTo>
                    <a:pt x="56" y="152"/>
                  </a:lnTo>
                  <a:lnTo>
                    <a:pt x="56" y="144"/>
                  </a:lnTo>
                  <a:lnTo>
                    <a:pt x="64" y="128"/>
                  </a:lnTo>
                  <a:lnTo>
                    <a:pt x="80" y="128"/>
                  </a:lnTo>
                  <a:lnTo>
                    <a:pt x="96" y="128"/>
                  </a:lnTo>
                  <a:lnTo>
                    <a:pt x="96" y="112"/>
                  </a:lnTo>
                  <a:lnTo>
                    <a:pt x="64" y="96"/>
                  </a:lnTo>
                  <a:lnTo>
                    <a:pt x="64" y="96"/>
                  </a:lnTo>
                  <a:lnTo>
                    <a:pt x="72" y="96"/>
                  </a:lnTo>
                  <a:lnTo>
                    <a:pt x="72" y="96"/>
                  </a:lnTo>
                  <a:lnTo>
                    <a:pt x="72" y="96"/>
                  </a:lnTo>
                  <a:lnTo>
                    <a:pt x="72" y="88"/>
                  </a:lnTo>
                  <a:lnTo>
                    <a:pt x="72" y="88"/>
                  </a:lnTo>
                  <a:lnTo>
                    <a:pt x="72" y="88"/>
                  </a:lnTo>
                  <a:lnTo>
                    <a:pt x="72" y="88"/>
                  </a:lnTo>
                  <a:lnTo>
                    <a:pt x="80" y="88"/>
                  </a:lnTo>
                  <a:lnTo>
                    <a:pt x="96" y="88"/>
                  </a:lnTo>
                  <a:lnTo>
                    <a:pt x="104" y="88"/>
                  </a:lnTo>
                  <a:lnTo>
                    <a:pt x="120" y="104"/>
                  </a:lnTo>
                  <a:lnTo>
                    <a:pt x="120" y="104"/>
                  </a:lnTo>
                  <a:lnTo>
                    <a:pt x="128" y="104"/>
                  </a:lnTo>
                  <a:lnTo>
                    <a:pt x="120" y="96"/>
                  </a:lnTo>
                  <a:lnTo>
                    <a:pt x="112" y="88"/>
                  </a:lnTo>
                  <a:lnTo>
                    <a:pt x="112" y="88"/>
                  </a:lnTo>
                  <a:lnTo>
                    <a:pt x="112" y="88"/>
                  </a:lnTo>
                  <a:lnTo>
                    <a:pt x="136" y="88"/>
                  </a:lnTo>
                  <a:lnTo>
                    <a:pt x="136" y="88"/>
                  </a:lnTo>
                  <a:lnTo>
                    <a:pt x="152" y="80"/>
                  </a:lnTo>
                  <a:lnTo>
                    <a:pt x="160" y="72"/>
                  </a:lnTo>
                  <a:lnTo>
                    <a:pt x="160" y="72"/>
                  </a:lnTo>
                  <a:lnTo>
                    <a:pt x="152" y="72"/>
                  </a:lnTo>
                  <a:lnTo>
                    <a:pt x="152" y="72"/>
                  </a:lnTo>
                  <a:lnTo>
                    <a:pt x="136" y="80"/>
                  </a:lnTo>
                  <a:lnTo>
                    <a:pt x="104" y="80"/>
                  </a:lnTo>
                  <a:lnTo>
                    <a:pt x="96" y="80"/>
                  </a:lnTo>
                  <a:lnTo>
                    <a:pt x="88" y="80"/>
                  </a:lnTo>
                  <a:lnTo>
                    <a:pt x="72" y="80"/>
                  </a:lnTo>
                  <a:lnTo>
                    <a:pt x="72" y="80"/>
                  </a:lnTo>
                  <a:lnTo>
                    <a:pt x="72" y="72"/>
                  </a:lnTo>
                  <a:lnTo>
                    <a:pt x="72" y="72"/>
                  </a:lnTo>
                  <a:lnTo>
                    <a:pt x="72" y="72"/>
                  </a:lnTo>
                  <a:lnTo>
                    <a:pt x="64" y="80"/>
                  </a:lnTo>
                  <a:lnTo>
                    <a:pt x="40" y="80"/>
                  </a:lnTo>
                  <a:lnTo>
                    <a:pt x="32" y="72"/>
                  </a:lnTo>
                  <a:lnTo>
                    <a:pt x="32" y="72"/>
                  </a:lnTo>
                  <a:lnTo>
                    <a:pt x="40" y="64"/>
                  </a:lnTo>
                  <a:lnTo>
                    <a:pt x="40" y="64"/>
                  </a:lnTo>
                  <a:lnTo>
                    <a:pt x="32" y="64"/>
                  </a:lnTo>
                  <a:lnTo>
                    <a:pt x="24" y="64"/>
                  </a:lnTo>
                  <a:lnTo>
                    <a:pt x="24" y="64"/>
                  </a:lnTo>
                  <a:lnTo>
                    <a:pt x="32" y="56"/>
                  </a:lnTo>
                  <a:lnTo>
                    <a:pt x="48" y="56"/>
                  </a:lnTo>
                  <a:lnTo>
                    <a:pt x="56" y="48"/>
                  </a:lnTo>
                  <a:lnTo>
                    <a:pt x="56" y="48"/>
                  </a:lnTo>
                  <a:lnTo>
                    <a:pt x="48" y="48"/>
                  </a:lnTo>
                  <a:lnTo>
                    <a:pt x="40" y="48"/>
                  </a:lnTo>
                  <a:lnTo>
                    <a:pt x="32" y="56"/>
                  </a:lnTo>
                  <a:lnTo>
                    <a:pt x="24" y="56"/>
                  </a:lnTo>
                  <a:lnTo>
                    <a:pt x="16" y="56"/>
                  </a:lnTo>
                  <a:lnTo>
                    <a:pt x="16" y="56"/>
                  </a:lnTo>
                  <a:lnTo>
                    <a:pt x="24" y="48"/>
                  </a:lnTo>
                  <a:lnTo>
                    <a:pt x="32" y="48"/>
                  </a:lnTo>
                  <a:lnTo>
                    <a:pt x="32" y="48"/>
                  </a:lnTo>
                  <a:lnTo>
                    <a:pt x="16" y="48"/>
                  </a:lnTo>
                  <a:lnTo>
                    <a:pt x="16" y="48"/>
                  </a:lnTo>
                  <a:lnTo>
                    <a:pt x="16" y="48"/>
                  </a:lnTo>
                  <a:lnTo>
                    <a:pt x="0" y="48"/>
                  </a:lnTo>
                  <a:lnTo>
                    <a:pt x="0" y="48"/>
                  </a:lnTo>
                  <a:lnTo>
                    <a:pt x="8" y="40"/>
                  </a:lnTo>
                  <a:lnTo>
                    <a:pt x="32" y="32"/>
                  </a:lnTo>
                  <a:lnTo>
                    <a:pt x="48" y="32"/>
                  </a:lnTo>
                  <a:lnTo>
                    <a:pt x="56" y="32"/>
                  </a:lnTo>
                  <a:lnTo>
                    <a:pt x="56" y="32"/>
                  </a:lnTo>
                  <a:lnTo>
                    <a:pt x="64" y="32"/>
                  </a:lnTo>
                  <a:lnTo>
                    <a:pt x="72" y="24"/>
                  </a:lnTo>
                  <a:lnTo>
                    <a:pt x="80" y="24"/>
                  </a:lnTo>
                  <a:lnTo>
                    <a:pt x="96" y="24"/>
                  </a:lnTo>
                  <a:lnTo>
                    <a:pt x="104" y="32"/>
                  </a:lnTo>
                  <a:lnTo>
                    <a:pt x="104" y="32"/>
                  </a:lnTo>
                  <a:lnTo>
                    <a:pt x="112" y="24"/>
                  </a:lnTo>
                  <a:lnTo>
                    <a:pt x="120" y="8"/>
                  </a:lnTo>
                  <a:lnTo>
                    <a:pt x="128" y="8"/>
                  </a:lnTo>
                  <a:lnTo>
                    <a:pt x="136" y="8"/>
                  </a:lnTo>
                  <a:lnTo>
                    <a:pt x="144" y="8"/>
                  </a:lnTo>
                  <a:lnTo>
                    <a:pt x="144" y="8"/>
                  </a:lnTo>
                  <a:lnTo>
                    <a:pt x="200" y="8"/>
                  </a:lnTo>
                  <a:lnTo>
                    <a:pt x="200" y="8"/>
                  </a:lnTo>
                  <a:lnTo>
                    <a:pt x="200" y="0"/>
                  </a:lnTo>
                  <a:lnTo>
                    <a:pt x="208" y="0"/>
                  </a:lnTo>
                  <a:lnTo>
                    <a:pt x="216" y="8"/>
                  </a:lnTo>
                  <a:lnTo>
                    <a:pt x="224" y="0"/>
                  </a:lnTo>
                  <a:lnTo>
                    <a:pt x="240" y="0"/>
                  </a:lnTo>
                  <a:lnTo>
                    <a:pt x="248" y="0"/>
                  </a:lnTo>
                  <a:lnTo>
                    <a:pt x="256" y="0"/>
                  </a:lnTo>
                  <a:lnTo>
                    <a:pt x="264" y="0"/>
                  </a:lnTo>
                  <a:lnTo>
                    <a:pt x="288" y="0"/>
                  </a:lnTo>
                  <a:lnTo>
                    <a:pt x="312" y="8"/>
                  </a:lnTo>
                  <a:lnTo>
                    <a:pt x="312" y="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15" name="Freeform 33"/>
            <p:cNvSpPr>
              <a:spLocks/>
            </p:cNvSpPr>
            <p:nvPr/>
          </p:nvSpPr>
          <p:spPr bwMode="auto">
            <a:xfrm>
              <a:off x="3173408" y="2806659"/>
              <a:ext cx="127000" cy="126998"/>
            </a:xfrm>
            <a:custGeom>
              <a:avLst/>
              <a:gdLst/>
              <a:ahLst/>
              <a:cxnLst>
                <a:cxn ang="0">
                  <a:pos x="0" y="64"/>
                </a:cxn>
                <a:cxn ang="0">
                  <a:pos x="0" y="64"/>
                </a:cxn>
                <a:cxn ang="0">
                  <a:pos x="0" y="64"/>
                </a:cxn>
                <a:cxn ang="0">
                  <a:pos x="8" y="56"/>
                </a:cxn>
                <a:cxn ang="0">
                  <a:pos x="8" y="48"/>
                </a:cxn>
                <a:cxn ang="0">
                  <a:pos x="0" y="48"/>
                </a:cxn>
                <a:cxn ang="0">
                  <a:pos x="0" y="48"/>
                </a:cxn>
                <a:cxn ang="0">
                  <a:pos x="8" y="40"/>
                </a:cxn>
                <a:cxn ang="0">
                  <a:pos x="24" y="24"/>
                </a:cxn>
                <a:cxn ang="0">
                  <a:pos x="32" y="0"/>
                </a:cxn>
                <a:cxn ang="0">
                  <a:pos x="40" y="0"/>
                </a:cxn>
                <a:cxn ang="0">
                  <a:pos x="40" y="8"/>
                </a:cxn>
                <a:cxn ang="0">
                  <a:pos x="32" y="24"/>
                </a:cxn>
                <a:cxn ang="0">
                  <a:pos x="32" y="24"/>
                </a:cxn>
                <a:cxn ang="0">
                  <a:pos x="32" y="32"/>
                </a:cxn>
                <a:cxn ang="0">
                  <a:pos x="32" y="32"/>
                </a:cxn>
                <a:cxn ang="0">
                  <a:pos x="32" y="24"/>
                </a:cxn>
                <a:cxn ang="0">
                  <a:pos x="40" y="24"/>
                </a:cxn>
                <a:cxn ang="0">
                  <a:pos x="40" y="24"/>
                </a:cxn>
                <a:cxn ang="0">
                  <a:pos x="40" y="32"/>
                </a:cxn>
                <a:cxn ang="0">
                  <a:pos x="40" y="32"/>
                </a:cxn>
                <a:cxn ang="0">
                  <a:pos x="40" y="32"/>
                </a:cxn>
                <a:cxn ang="0">
                  <a:pos x="48" y="32"/>
                </a:cxn>
                <a:cxn ang="0">
                  <a:pos x="48" y="32"/>
                </a:cxn>
                <a:cxn ang="0">
                  <a:pos x="56" y="32"/>
                </a:cxn>
                <a:cxn ang="0">
                  <a:pos x="56" y="40"/>
                </a:cxn>
                <a:cxn ang="0">
                  <a:pos x="64" y="32"/>
                </a:cxn>
                <a:cxn ang="0">
                  <a:pos x="64" y="32"/>
                </a:cxn>
                <a:cxn ang="0">
                  <a:pos x="64" y="32"/>
                </a:cxn>
                <a:cxn ang="0">
                  <a:pos x="64" y="48"/>
                </a:cxn>
                <a:cxn ang="0">
                  <a:pos x="64" y="48"/>
                </a:cxn>
                <a:cxn ang="0">
                  <a:pos x="72" y="48"/>
                </a:cxn>
                <a:cxn ang="0">
                  <a:pos x="64" y="56"/>
                </a:cxn>
                <a:cxn ang="0">
                  <a:pos x="64" y="56"/>
                </a:cxn>
                <a:cxn ang="0">
                  <a:pos x="72" y="56"/>
                </a:cxn>
                <a:cxn ang="0">
                  <a:pos x="72" y="64"/>
                </a:cxn>
                <a:cxn ang="0">
                  <a:pos x="72" y="64"/>
                </a:cxn>
                <a:cxn ang="0">
                  <a:pos x="72" y="56"/>
                </a:cxn>
                <a:cxn ang="0">
                  <a:pos x="80" y="64"/>
                </a:cxn>
                <a:cxn ang="0">
                  <a:pos x="80" y="80"/>
                </a:cxn>
                <a:cxn ang="0">
                  <a:pos x="64" y="80"/>
                </a:cxn>
                <a:cxn ang="0">
                  <a:pos x="64" y="72"/>
                </a:cxn>
                <a:cxn ang="0">
                  <a:pos x="64" y="72"/>
                </a:cxn>
                <a:cxn ang="0">
                  <a:pos x="64" y="72"/>
                </a:cxn>
                <a:cxn ang="0">
                  <a:pos x="64" y="64"/>
                </a:cxn>
                <a:cxn ang="0">
                  <a:pos x="56" y="56"/>
                </a:cxn>
                <a:cxn ang="0">
                  <a:pos x="56" y="56"/>
                </a:cxn>
                <a:cxn ang="0">
                  <a:pos x="56" y="72"/>
                </a:cxn>
                <a:cxn ang="0">
                  <a:pos x="48" y="72"/>
                </a:cxn>
                <a:cxn ang="0">
                  <a:pos x="48" y="72"/>
                </a:cxn>
                <a:cxn ang="0">
                  <a:pos x="48" y="64"/>
                </a:cxn>
                <a:cxn ang="0">
                  <a:pos x="48" y="64"/>
                </a:cxn>
                <a:cxn ang="0">
                  <a:pos x="48" y="64"/>
                </a:cxn>
                <a:cxn ang="0">
                  <a:pos x="40" y="64"/>
                </a:cxn>
                <a:cxn ang="0">
                  <a:pos x="40" y="64"/>
                </a:cxn>
                <a:cxn ang="0">
                  <a:pos x="40" y="64"/>
                </a:cxn>
                <a:cxn ang="0">
                  <a:pos x="40" y="64"/>
                </a:cxn>
                <a:cxn ang="0">
                  <a:pos x="32" y="64"/>
                </a:cxn>
                <a:cxn ang="0">
                  <a:pos x="16" y="64"/>
                </a:cxn>
                <a:cxn ang="0">
                  <a:pos x="8" y="64"/>
                </a:cxn>
                <a:cxn ang="0">
                  <a:pos x="0" y="64"/>
                </a:cxn>
              </a:cxnLst>
              <a:rect l="0" t="0" r="r" b="b"/>
              <a:pathLst>
                <a:path w="80" h="80">
                  <a:moveTo>
                    <a:pt x="0" y="64"/>
                  </a:moveTo>
                  <a:lnTo>
                    <a:pt x="0" y="64"/>
                  </a:lnTo>
                  <a:lnTo>
                    <a:pt x="0" y="64"/>
                  </a:lnTo>
                  <a:lnTo>
                    <a:pt x="8" y="56"/>
                  </a:lnTo>
                  <a:lnTo>
                    <a:pt x="8" y="48"/>
                  </a:lnTo>
                  <a:lnTo>
                    <a:pt x="0" y="48"/>
                  </a:lnTo>
                  <a:lnTo>
                    <a:pt x="0" y="48"/>
                  </a:lnTo>
                  <a:lnTo>
                    <a:pt x="8" y="40"/>
                  </a:lnTo>
                  <a:lnTo>
                    <a:pt x="24" y="24"/>
                  </a:lnTo>
                  <a:lnTo>
                    <a:pt x="32" y="0"/>
                  </a:lnTo>
                  <a:lnTo>
                    <a:pt x="40" y="0"/>
                  </a:lnTo>
                  <a:lnTo>
                    <a:pt x="40" y="8"/>
                  </a:lnTo>
                  <a:lnTo>
                    <a:pt x="32" y="24"/>
                  </a:lnTo>
                  <a:lnTo>
                    <a:pt x="32" y="24"/>
                  </a:lnTo>
                  <a:lnTo>
                    <a:pt x="32" y="32"/>
                  </a:lnTo>
                  <a:lnTo>
                    <a:pt x="32" y="32"/>
                  </a:lnTo>
                  <a:lnTo>
                    <a:pt x="32" y="24"/>
                  </a:lnTo>
                  <a:lnTo>
                    <a:pt x="40" y="24"/>
                  </a:lnTo>
                  <a:lnTo>
                    <a:pt x="40" y="24"/>
                  </a:lnTo>
                  <a:lnTo>
                    <a:pt x="40" y="32"/>
                  </a:lnTo>
                  <a:lnTo>
                    <a:pt x="40" y="32"/>
                  </a:lnTo>
                  <a:lnTo>
                    <a:pt x="40" y="32"/>
                  </a:lnTo>
                  <a:lnTo>
                    <a:pt x="48" y="32"/>
                  </a:lnTo>
                  <a:lnTo>
                    <a:pt x="48" y="32"/>
                  </a:lnTo>
                  <a:lnTo>
                    <a:pt x="56" y="32"/>
                  </a:lnTo>
                  <a:lnTo>
                    <a:pt x="56" y="40"/>
                  </a:lnTo>
                  <a:lnTo>
                    <a:pt x="64" y="32"/>
                  </a:lnTo>
                  <a:lnTo>
                    <a:pt x="64" y="32"/>
                  </a:lnTo>
                  <a:lnTo>
                    <a:pt x="64" y="32"/>
                  </a:lnTo>
                  <a:lnTo>
                    <a:pt x="64" y="48"/>
                  </a:lnTo>
                  <a:lnTo>
                    <a:pt x="64" y="48"/>
                  </a:lnTo>
                  <a:lnTo>
                    <a:pt x="72" y="48"/>
                  </a:lnTo>
                  <a:lnTo>
                    <a:pt x="64" y="56"/>
                  </a:lnTo>
                  <a:lnTo>
                    <a:pt x="64" y="56"/>
                  </a:lnTo>
                  <a:lnTo>
                    <a:pt x="72" y="56"/>
                  </a:lnTo>
                  <a:lnTo>
                    <a:pt x="72" y="64"/>
                  </a:lnTo>
                  <a:lnTo>
                    <a:pt x="72" y="64"/>
                  </a:lnTo>
                  <a:lnTo>
                    <a:pt x="72" y="56"/>
                  </a:lnTo>
                  <a:lnTo>
                    <a:pt x="80" y="64"/>
                  </a:lnTo>
                  <a:lnTo>
                    <a:pt x="80" y="80"/>
                  </a:lnTo>
                  <a:lnTo>
                    <a:pt x="64" y="80"/>
                  </a:lnTo>
                  <a:lnTo>
                    <a:pt x="64" y="72"/>
                  </a:lnTo>
                  <a:lnTo>
                    <a:pt x="64" y="72"/>
                  </a:lnTo>
                  <a:lnTo>
                    <a:pt x="64" y="72"/>
                  </a:lnTo>
                  <a:lnTo>
                    <a:pt x="64" y="64"/>
                  </a:lnTo>
                  <a:lnTo>
                    <a:pt x="56" y="56"/>
                  </a:lnTo>
                  <a:lnTo>
                    <a:pt x="56" y="56"/>
                  </a:lnTo>
                  <a:lnTo>
                    <a:pt x="56" y="72"/>
                  </a:lnTo>
                  <a:lnTo>
                    <a:pt x="48" y="72"/>
                  </a:lnTo>
                  <a:lnTo>
                    <a:pt x="48" y="72"/>
                  </a:lnTo>
                  <a:lnTo>
                    <a:pt x="48" y="64"/>
                  </a:lnTo>
                  <a:lnTo>
                    <a:pt x="48" y="64"/>
                  </a:lnTo>
                  <a:lnTo>
                    <a:pt x="48" y="64"/>
                  </a:lnTo>
                  <a:lnTo>
                    <a:pt x="40" y="64"/>
                  </a:lnTo>
                  <a:lnTo>
                    <a:pt x="40" y="64"/>
                  </a:lnTo>
                  <a:lnTo>
                    <a:pt x="40" y="64"/>
                  </a:lnTo>
                  <a:lnTo>
                    <a:pt x="40" y="64"/>
                  </a:lnTo>
                  <a:lnTo>
                    <a:pt x="32" y="64"/>
                  </a:lnTo>
                  <a:lnTo>
                    <a:pt x="16" y="64"/>
                  </a:lnTo>
                  <a:lnTo>
                    <a:pt x="8" y="64"/>
                  </a:lnTo>
                  <a:lnTo>
                    <a:pt x="0" y="6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16" name="Freeform 34"/>
            <p:cNvSpPr>
              <a:spLocks/>
            </p:cNvSpPr>
            <p:nvPr/>
          </p:nvSpPr>
          <p:spPr bwMode="auto">
            <a:xfrm>
              <a:off x="7048489" y="1993871"/>
              <a:ext cx="152400" cy="63499"/>
            </a:xfrm>
            <a:custGeom>
              <a:avLst/>
              <a:gdLst/>
              <a:ahLst/>
              <a:cxnLst>
                <a:cxn ang="0">
                  <a:pos x="72" y="32"/>
                </a:cxn>
                <a:cxn ang="0">
                  <a:pos x="64" y="32"/>
                </a:cxn>
                <a:cxn ang="0">
                  <a:pos x="56" y="32"/>
                </a:cxn>
                <a:cxn ang="0">
                  <a:pos x="48" y="32"/>
                </a:cxn>
                <a:cxn ang="0">
                  <a:pos x="40" y="32"/>
                </a:cxn>
                <a:cxn ang="0">
                  <a:pos x="32" y="32"/>
                </a:cxn>
                <a:cxn ang="0">
                  <a:pos x="32" y="32"/>
                </a:cxn>
                <a:cxn ang="0">
                  <a:pos x="24" y="40"/>
                </a:cxn>
                <a:cxn ang="0">
                  <a:pos x="0" y="40"/>
                </a:cxn>
                <a:cxn ang="0">
                  <a:pos x="0" y="0"/>
                </a:cxn>
                <a:cxn ang="0">
                  <a:pos x="32" y="0"/>
                </a:cxn>
                <a:cxn ang="0">
                  <a:pos x="40" y="16"/>
                </a:cxn>
                <a:cxn ang="0">
                  <a:pos x="48" y="16"/>
                </a:cxn>
                <a:cxn ang="0">
                  <a:pos x="48" y="16"/>
                </a:cxn>
                <a:cxn ang="0">
                  <a:pos x="48" y="0"/>
                </a:cxn>
                <a:cxn ang="0">
                  <a:pos x="64" y="0"/>
                </a:cxn>
                <a:cxn ang="0">
                  <a:pos x="88" y="8"/>
                </a:cxn>
                <a:cxn ang="0">
                  <a:pos x="96" y="16"/>
                </a:cxn>
                <a:cxn ang="0">
                  <a:pos x="96" y="16"/>
                </a:cxn>
                <a:cxn ang="0">
                  <a:pos x="96" y="24"/>
                </a:cxn>
                <a:cxn ang="0">
                  <a:pos x="88" y="32"/>
                </a:cxn>
                <a:cxn ang="0">
                  <a:pos x="88" y="32"/>
                </a:cxn>
                <a:cxn ang="0">
                  <a:pos x="80" y="32"/>
                </a:cxn>
                <a:cxn ang="0">
                  <a:pos x="80" y="32"/>
                </a:cxn>
                <a:cxn ang="0">
                  <a:pos x="72" y="32"/>
                </a:cxn>
              </a:cxnLst>
              <a:rect l="0" t="0" r="r" b="b"/>
              <a:pathLst>
                <a:path w="96" h="40">
                  <a:moveTo>
                    <a:pt x="72" y="32"/>
                  </a:moveTo>
                  <a:lnTo>
                    <a:pt x="64" y="32"/>
                  </a:lnTo>
                  <a:lnTo>
                    <a:pt x="56" y="32"/>
                  </a:lnTo>
                  <a:lnTo>
                    <a:pt x="48" y="32"/>
                  </a:lnTo>
                  <a:lnTo>
                    <a:pt x="40" y="32"/>
                  </a:lnTo>
                  <a:lnTo>
                    <a:pt x="32" y="32"/>
                  </a:lnTo>
                  <a:lnTo>
                    <a:pt x="32" y="32"/>
                  </a:lnTo>
                  <a:lnTo>
                    <a:pt x="24" y="40"/>
                  </a:lnTo>
                  <a:lnTo>
                    <a:pt x="0" y="40"/>
                  </a:lnTo>
                  <a:lnTo>
                    <a:pt x="0" y="0"/>
                  </a:lnTo>
                  <a:lnTo>
                    <a:pt x="32" y="0"/>
                  </a:lnTo>
                  <a:lnTo>
                    <a:pt x="40" y="16"/>
                  </a:lnTo>
                  <a:lnTo>
                    <a:pt x="48" y="16"/>
                  </a:lnTo>
                  <a:lnTo>
                    <a:pt x="48" y="16"/>
                  </a:lnTo>
                  <a:lnTo>
                    <a:pt x="48" y="0"/>
                  </a:lnTo>
                  <a:lnTo>
                    <a:pt x="64" y="0"/>
                  </a:lnTo>
                  <a:lnTo>
                    <a:pt x="88" y="8"/>
                  </a:lnTo>
                  <a:lnTo>
                    <a:pt x="96" y="16"/>
                  </a:lnTo>
                  <a:lnTo>
                    <a:pt x="96" y="16"/>
                  </a:lnTo>
                  <a:lnTo>
                    <a:pt x="96" y="24"/>
                  </a:lnTo>
                  <a:lnTo>
                    <a:pt x="88" y="32"/>
                  </a:lnTo>
                  <a:lnTo>
                    <a:pt x="88" y="32"/>
                  </a:lnTo>
                  <a:lnTo>
                    <a:pt x="80" y="32"/>
                  </a:lnTo>
                  <a:lnTo>
                    <a:pt x="80" y="32"/>
                  </a:lnTo>
                  <a:lnTo>
                    <a:pt x="72"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17" name="Freeform 35"/>
            <p:cNvSpPr>
              <a:spLocks/>
            </p:cNvSpPr>
            <p:nvPr/>
          </p:nvSpPr>
          <p:spPr bwMode="auto">
            <a:xfrm>
              <a:off x="2005010" y="1981172"/>
              <a:ext cx="241300" cy="101598"/>
            </a:xfrm>
            <a:custGeom>
              <a:avLst/>
              <a:gdLst/>
              <a:ahLst/>
              <a:cxnLst>
                <a:cxn ang="0">
                  <a:pos x="40" y="48"/>
                </a:cxn>
                <a:cxn ang="0">
                  <a:pos x="48" y="48"/>
                </a:cxn>
                <a:cxn ang="0">
                  <a:pos x="48" y="40"/>
                </a:cxn>
                <a:cxn ang="0">
                  <a:pos x="40" y="48"/>
                </a:cxn>
                <a:cxn ang="0">
                  <a:pos x="32" y="48"/>
                </a:cxn>
                <a:cxn ang="0">
                  <a:pos x="0" y="48"/>
                </a:cxn>
                <a:cxn ang="0">
                  <a:pos x="0" y="32"/>
                </a:cxn>
                <a:cxn ang="0">
                  <a:pos x="0" y="32"/>
                </a:cxn>
                <a:cxn ang="0">
                  <a:pos x="24" y="32"/>
                </a:cxn>
                <a:cxn ang="0">
                  <a:pos x="16" y="32"/>
                </a:cxn>
                <a:cxn ang="0">
                  <a:pos x="8" y="24"/>
                </a:cxn>
                <a:cxn ang="0">
                  <a:pos x="8" y="24"/>
                </a:cxn>
                <a:cxn ang="0">
                  <a:pos x="16" y="24"/>
                </a:cxn>
                <a:cxn ang="0">
                  <a:pos x="16" y="24"/>
                </a:cxn>
                <a:cxn ang="0">
                  <a:pos x="32" y="24"/>
                </a:cxn>
                <a:cxn ang="0">
                  <a:pos x="16" y="16"/>
                </a:cxn>
                <a:cxn ang="0">
                  <a:pos x="16" y="16"/>
                </a:cxn>
                <a:cxn ang="0">
                  <a:pos x="32" y="16"/>
                </a:cxn>
                <a:cxn ang="0">
                  <a:pos x="32" y="16"/>
                </a:cxn>
                <a:cxn ang="0">
                  <a:pos x="24" y="8"/>
                </a:cxn>
                <a:cxn ang="0">
                  <a:pos x="24" y="8"/>
                </a:cxn>
                <a:cxn ang="0">
                  <a:pos x="40" y="8"/>
                </a:cxn>
                <a:cxn ang="0">
                  <a:pos x="40" y="16"/>
                </a:cxn>
                <a:cxn ang="0">
                  <a:pos x="56" y="16"/>
                </a:cxn>
                <a:cxn ang="0">
                  <a:pos x="104" y="32"/>
                </a:cxn>
                <a:cxn ang="0">
                  <a:pos x="104" y="24"/>
                </a:cxn>
                <a:cxn ang="0">
                  <a:pos x="96" y="24"/>
                </a:cxn>
                <a:cxn ang="0">
                  <a:pos x="104" y="24"/>
                </a:cxn>
                <a:cxn ang="0">
                  <a:pos x="104" y="16"/>
                </a:cxn>
                <a:cxn ang="0">
                  <a:pos x="88" y="8"/>
                </a:cxn>
                <a:cxn ang="0">
                  <a:pos x="112" y="0"/>
                </a:cxn>
                <a:cxn ang="0">
                  <a:pos x="112" y="0"/>
                </a:cxn>
                <a:cxn ang="0">
                  <a:pos x="112" y="8"/>
                </a:cxn>
                <a:cxn ang="0">
                  <a:pos x="128" y="24"/>
                </a:cxn>
                <a:cxn ang="0">
                  <a:pos x="152" y="16"/>
                </a:cxn>
                <a:cxn ang="0">
                  <a:pos x="144" y="48"/>
                </a:cxn>
                <a:cxn ang="0">
                  <a:pos x="136" y="48"/>
                </a:cxn>
                <a:cxn ang="0">
                  <a:pos x="112" y="48"/>
                </a:cxn>
                <a:cxn ang="0">
                  <a:pos x="96" y="48"/>
                </a:cxn>
                <a:cxn ang="0">
                  <a:pos x="64" y="64"/>
                </a:cxn>
              </a:cxnLst>
              <a:rect l="0" t="0" r="r" b="b"/>
              <a:pathLst>
                <a:path w="152" h="64">
                  <a:moveTo>
                    <a:pt x="40" y="64"/>
                  </a:moveTo>
                  <a:lnTo>
                    <a:pt x="40" y="48"/>
                  </a:lnTo>
                  <a:lnTo>
                    <a:pt x="48" y="48"/>
                  </a:lnTo>
                  <a:lnTo>
                    <a:pt x="48" y="48"/>
                  </a:lnTo>
                  <a:lnTo>
                    <a:pt x="48" y="48"/>
                  </a:lnTo>
                  <a:lnTo>
                    <a:pt x="48" y="40"/>
                  </a:lnTo>
                  <a:lnTo>
                    <a:pt x="40" y="40"/>
                  </a:lnTo>
                  <a:lnTo>
                    <a:pt x="40" y="48"/>
                  </a:lnTo>
                  <a:lnTo>
                    <a:pt x="40" y="48"/>
                  </a:lnTo>
                  <a:lnTo>
                    <a:pt x="32" y="48"/>
                  </a:lnTo>
                  <a:lnTo>
                    <a:pt x="8" y="48"/>
                  </a:lnTo>
                  <a:lnTo>
                    <a:pt x="0" y="48"/>
                  </a:lnTo>
                  <a:lnTo>
                    <a:pt x="0" y="40"/>
                  </a:lnTo>
                  <a:lnTo>
                    <a:pt x="0" y="32"/>
                  </a:lnTo>
                  <a:lnTo>
                    <a:pt x="0" y="32"/>
                  </a:lnTo>
                  <a:lnTo>
                    <a:pt x="0" y="32"/>
                  </a:lnTo>
                  <a:lnTo>
                    <a:pt x="16" y="32"/>
                  </a:lnTo>
                  <a:lnTo>
                    <a:pt x="24" y="32"/>
                  </a:lnTo>
                  <a:lnTo>
                    <a:pt x="24" y="32"/>
                  </a:lnTo>
                  <a:lnTo>
                    <a:pt x="16" y="32"/>
                  </a:lnTo>
                  <a:lnTo>
                    <a:pt x="8" y="24"/>
                  </a:lnTo>
                  <a:lnTo>
                    <a:pt x="8" y="24"/>
                  </a:lnTo>
                  <a:lnTo>
                    <a:pt x="8" y="24"/>
                  </a:lnTo>
                  <a:lnTo>
                    <a:pt x="8" y="24"/>
                  </a:lnTo>
                  <a:lnTo>
                    <a:pt x="16" y="24"/>
                  </a:lnTo>
                  <a:lnTo>
                    <a:pt x="16" y="24"/>
                  </a:lnTo>
                  <a:lnTo>
                    <a:pt x="16" y="24"/>
                  </a:lnTo>
                  <a:lnTo>
                    <a:pt x="16" y="24"/>
                  </a:lnTo>
                  <a:lnTo>
                    <a:pt x="24" y="24"/>
                  </a:lnTo>
                  <a:lnTo>
                    <a:pt x="32" y="24"/>
                  </a:lnTo>
                  <a:lnTo>
                    <a:pt x="24" y="24"/>
                  </a:lnTo>
                  <a:lnTo>
                    <a:pt x="16" y="16"/>
                  </a:lnTo>
                  <a:lnTo>
                    <a:pt x="16" y="16"/>
                  </a:lnTo>
                  <a:lnTo>
                    <a:pt x="16" y="16"/>
                  </a:lnTo>
                  <a:lnTo>
                    <a:pt x="24" y="16"/>
                  </a:lnTo>
                  <a:lnTo>
                    <a:pt x="32" y="16"/>
                  </a:lnTo>
                  <a:lnTo>
                    <a:pt x="32" y="16"/>
                  </a:lnTo>
                  <a:lnTo>
                    <a:pt x="32" y="16"/>
                  </a:lnTo>
                  <a:lnTo>
                    <a:pt x="24" y="16"/>
                  </a:lnTo>
                  <a:lnTo>
                    <a:pt x="24" y="8"/>
                  </a:lnTo>
                  <a:lnTo>
                    <a:pt x="24" y="8"/>
                  </a:lnTo>
                  <a:lnTo>
                    <a:pt x="24" y="8"/>
                  </a:lnTo>
                  <a:lnTo>
                    <a:pt x="32" y="8"/>
                  </a:lnTo>
                  <a:lnTo>
                    <a:pt x="40" y="8"/>
                  </a:lnTo>
                  <a:lnTo>
                    <a:pt x="40" y="16"/>
                  </a:lnTo>
                  <a:lnTo>
                    <a:pt x="40" y="16"/>
                  </a:lnTo>
                  <a:lnTo>
                    <a:pt x="56" y="16"/>
                  </a:lnTo>
                  <a:lnTo>
                    <a:pt x="56" y="16"/>
                  </a:lnTo>
                  <a:lnTo>
                    <a:pt x="88" y="32"/>
                  </a:lnTo>
                  <a:lnTo>
                    <a:pt x="104" y="32"/>
                  </a:lnTo>
                  <a:lnTo>
                    <a:pt x="104" y="24"/>
                  </a:lnTo>
                  <a:lnTo>
                    <a:pt x="104" y="24"/>
                  </a:lnTo>
                  <a:lnTo>
                    <a:pt x="96" y="24"/>
                  </a:lnTo>
                  <a:lnTo>
                    <a:pt x="96" y="24"/>
                  </a:lnTo>
                  <a:lnTo>
                    <a:pt x="104" y="24"/>
                  </a:lnTo>
                  <a:lnTo>
                    <a:pt x="104" y="24"/>
                  </a:lnTo>
                  <a:lnTo>
                    <a:pt x="104" y="16"/>
                  </a:lnTo>
                  <a:lnTo>
                    <a:pt x="104" y="16"/>
                  </a:lnTo>
                  <a:lnTo>
                    <a:pt x="88" y="16"/>
                  </a:lnTo>
                  <a:lnTo>
                    <a:pt x="88" y="8"/>
                  </a:lnTo>
                  <a:lnTo>
                    <a:pt x="104" y="0"/>
                  </a:lnTo>
                  <a:lnTo>
                    <a:pt x="112" y="0"/>
                  </a:lnTo>
                  <a:lnTo>
                    <a:pt x="112" y="0"/>
                  </a:lnTo>
                  <a:lnTo>
                    <a:pt x="112" y="0"/>
                  </a:lnTo>
                  <a:lnTo>
                    <a:pt x="112" y="0"/>
                  </a:lnTo>
                  <a:lnTo>
                    <a:pt x="112" y="8"/>
                  </a:lnTo>
                  <a:lnTo>
                    <a:pt x="112" y="8"/>
                  </a:lnTo>
                  <a:lnTo>
                    <a:pt x="128" y="24"/>
                  </a:lnTo>
                  <a:lnTo>
                    <a:pt x="136" y="16"/>
                  </a:lnTo>
                  <a:lnTo>
                    <a:pt x="152" y="16"/>
                  </a:lnTo>
                  <a:lnTo>
                    <a:pt x="152" y="32"/>
                  </a:lnTo>
                  <a:lnTo>
                    <a:pt x="144" y="48"/>
                  </a:lnTo>
                  <a:lnTo>
                    <a:pt x="136" y="48"/>
                  </a:lnTo>
                  <a:lnTo>
                    <a:pt x="136" y="48"/>
                  </a:lnTo>
                  <a:lnTo>
                    <a:pt x="120" y="48"/>
                  </a:lnTo>
                  <a:lnTo>
                    <a:pt x="112" y="48"/>
                  </a:lnTo>
                  <a:lnTo>
                    <a:pt x="112" y="48"/>
                  </a:lnTo>
                  <a:lnTo>
                    <a:pt x="96" y="48"/>
                  </a:lnTo>
                  <a:lnTo>
                    <a:pt x="80" y="56"/>
                  </a:lnTo>
                  <a:lnTo>
                    <a:pt x="64" y="64"/>
                  </a:lnTo>
                  <a:lnTo>
                    <a:pt x="40" y="6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18" name="Freeform 36"/>
            <p:cNvSpPr>
              <a:spLocks/>
            </p:cNvSpPr>
            <p:nvPr/>
          </p:nvSpPr>
          <p:spPr bwMode="auto">
            <a:xfrm>
              <a:off x="1903410" y="1955772"/>
              <a:ext cx="139700" cy="63499"/>
            </a:xfrm>
            <a:custGeom>
              <a:avLst/>
              <a:gdLst/>
              <a:ahLst/>
              <a:cxnLst>
                <a:cxn ang="0">
                  <a:pos x="88" y="8"/>
                </a:cxn>
                <a:cxn ang="0">
                  <a:pos x="80" y="8"/>
                </a:cxn>
                <a:cxn ang="0">
                  <a:pos x="80" y="8"/>
                </a:cxn>
                <a:cxn ang="0">
                  <a:pos x="80" y="16"/>
                </a:cxn>
                <a:cxn ang="0">
                  <a:pos x="80" y="16"/>
                </a:cxn>
                <a:cxn ang="0">
                  <a:pos x="80" y="16"/>
                </a:cxn>
                <a:cxn ang="0">
                  <a:pos x="64" y="32"/>
                </a:cxn>
                <a:cxn ang="0">
                  <a:pos x="64" y="32"/>
                </a:cxn>
                <a:cxn ang="0">
                  <a:pos x="56" y="24"/>
                </a:cxn>
                <a:cxn ang="0">
                  <a:pos x="48" y="32"/>
                </a:cxn>
                <a:cxn ang="0">
                  <a:pos x="40" y="32"/>
                </a:cxn>
                <a:cxn ang="0">
                  <a:pos x="40" y="32"/>
                </a:cxn>
                <a:cxn ang="0">
                  <a:pos x="32" y="40"/>
                </a:cxn>
                <a:cxn ang="0">
                  <a:pos x="24" y="40"/>
                </a:cxn>
                <a:cxn ang="0">
                  <a:pos x="24" y="40"/>
                </a:cxn>
                <a:cxn ang="0">
                  <a:pos x="24" y="40"/>
                </a:cxn>
                <a:cxn ang="0">
                  <a:pos x="8" y="40"/>
                </a:cxn>
                <a:cxn ang="0">
                  <a:pos x="8" y="40"/>
                </a:cxn>
                <a:cxn ang="0">
                  <a:pos x="0" y="40"/>
                </a:cxn>
                <a:cxn ang="0">
                  <a:pos x="0" y="32"/>
                </a:cxn>
                <a:cxn ang="0">
                  <a:pos x="0" y="32"/>
                </a:cxn>
                <a:cxn ang="0">
                  <a:pos x="8" y="24"/>
                </a:cxn>
                <a:cxn ang="0">
                  <a:pos x="24" y="24"/>
                </a:cxn>
                <a:cxn ang="0">
                  <a:pos x="32" y="8"/>
                </a:cxn>
                <a:cxn ang="0">
                  <a:pos x="40" y="0"/>
                </a:cxn>
                <a:cxn ang="0">
                  <a:pos x="48" y="0"/>
                </a:cxn>
                <a:cxn ang="0">
                  <a:pos x="56" y="0"/>
                </a:cxn>
                <a:cxn ang="0">
                  <a:pos x="64" y="0"/>
                </a:cxn>
                <a:cxn ang="0">
                  <a:pos x="72" y="0"/>
                </a:cxn>
                <a:cxn ang="0">
                  <a:pos x="88" y="0"/>
                </a:cxn>
                <a:cxn ang="0">
                  <a:pos x="88" y="8"/>
                </a:cxn>
              </a:cxnLst>
              <a:rect l="0" t="0" r="r" b="b"/>
              <a:pathLst>
                <a:path w="88" h="40">
                  <a:moveTo>
                    <a:pt x="88" y="8"/>
                  </a:moveTo>
                  <a:lnTo>
                    <a:pt x="80" y="8"/>
                  </a:lnTo>
                  <a:lnTo>
                    <a:pt x="80" y="8"/>
                  </a:lnTo>
                  <a:lnTo>
                    <a:pt x="80" y="16"/>
                  </a:lnTo>
                  <a:lnTo>
                    <a:pt x="80" y="16"/>
                  </a:lnTo>
                  <a:lnTo>
                    <a:pt x="80" y="16"/>
                  </a:lnTo>
                  <a:lnTo>
                    <a:pt x="64" y="32"/>
                  </a:lnTo>
                  <a:lnTo>
                    <a:pt x="64" y="32"/>
                  </a:lnTo>
                  <a:lnTo>
                    <a:pt x="56" y="24"/>
                  </a:lnTo>
                  <a:lnTo>
                    <a:pt x="48" y="32"/>
                  </a:lnTo>
                  <a:lnTo>
                    <a:pt x="40" y="32"/>
                  </a:lnTo>
                  <a:lnTo>
                    <a:pt x="40" y="32"/>
                  </a:lnTo>
                  <a:lnTo>
                    <a:pt x="32" y="40"/>
                  </a:lnTo>
                  <a:lnTo>
                    <a:pt x="24" y="40"/>
                  </a:lnTo>
                  <a:lnTo>
                    <a:pt x="24" y="40"/>
                  </a:lnTo>
                  <a:lnTo>
                    <a:pt x="24" y="40"/>
                  </a:lnTo>
                  <a:lnTo>
                    <a:pt x="8" y="40"/>
                  </a:lnTo>
                  <a:lnTo>
                    <a:pt x="8" y="40"/>
                  </a:lnTo>
                  <a:lnTo>
                    <a:pt x="0" y="40"/>
                  </a:lnTo>
                  <a:lnTo>
                    <a:pt x="0" y="32"/>
                  </a:lnTo>
                  <a:lnTo>
                    <a:pt x="0" y="32"/>
                  </a:lnTo>
                  <a:lnTo>
                    <a:pt x="8" y="24"/>
                  </a:lnTo>
                  <a:lnTo>
                    <a:pt x="24" y="24"/>
                  </a:lnTo>
                  <a:lnTo>
                    <a:pt x="32" y="8"/>
                  </a:lnTo>
                  <a:lnTo>
                    <a:pt x="40" y="0"/>
                  </a:lnTo>
                  <a:lnTo>
                    <a:pt x="48" y="0"/>
                  </a:lnTo>
                  <a:lnTo>
                    <a:pt x="56" y="0"/>
                  </a:lnTo>
                  <a:lnTo>
                    <a:pt x="64" y="0"/>
                  </a:lnTo>
                  <a:lnTo>
                    <a:pt x="72" y="0"/>
                  </a:lnTo>
                  <a:lnTo>
                    <a:pt x="88" y="0"/>
                  </a:lnTo>
                  <a:lnTo>
                    <a:pt x="88" y="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19" name="Freeform 37"/>
            <p:cNvSpPr>
              <a:spLocks/>
            </p:cNvSpPr>
            <p:nvPr/>
          </p:nvSpPr>
          <p:spPr bwMode="auto">
            <a:xfrm>
              <a:off x="2309809" y="2108169"/>
              <a:ext cx="114300" cy="88899"/>
            </a:xfrm>
            <a:custGeom>
              <a:avLst/>
              <a:gdLst/>
              <a:ahLst/>
              <a:cxnLst>
                <a:cxn ang="0">
                  <a:pos x="64" y="24"/>
                </a:cxn>
                <a:cxn ang="0">
                  <a:pos x="64" y="24"/>
                </a:cxn>
                <a:cxn ang="0">
                  <a:pos x="64" y="24"/>
                </a:cxn>
                <a:cxn ang="0">
                  <a:pos x="72" y="24"/>
                </a:cxn>
                <a:cxn ang="0">
                  <a:pos x="72" y="40"/>
                </a:cxn>
                <a:cxn ang="0">
                  <a:pos x="72" y="48"/>
                </a:cxn>
                <a:cxn ang="0">
                  <a:pos x="56" y="56"/>
                </a:cxn>
                <a:cxn ang="0">
                  <a:pos x="48" y="56"/>
                </a:cxn>
                <a:cxn ang="0">
                  <a:pos x="40" y="48"/>
                </a:cxn>
                <a:cxn ang="0">
                  <a:pos x="16" y="40"/>
                </a:cxn>
                <a:cxn ang="0">
                  <a:pos x="0" y="24"/>
                </a:cxn>
                <a:cxn ang="0">
                  <a:pos x="0" y="24"/>
                </a:cxn>
                <a:cxn ang="0">
                  <a:pos x="0" y="16"/>
                </a:cxn>
                <a:cxn ang="0">
                  <a:pos x="0" y="16"/>
                </a:cxn>
                <a:cxn ang="0">
                  <a:pos x="16" y="24"/>
                </a:cxn>
                <a:cxn ang="0">
                  <a:pos x="16" y="24"/>
                </a:cxn>
                <a:cxn ang="0">
                  <a:pos x="24" y="24"/>
                </a:cxn>
                <a:cxn ang="0">
                  <a:pos x="24" y="24"/>
                </a:cxn>
                <a:cxn ang="0">
                  <a:pos x="24" y="8"/>
                </a:cxn>
                <a:cxn ang="0">
                  <a:pos x="24" y="8"/>
                </a:cxn>
                <a:cxn ang="0">
                  <a:pos x="16" y="8"/>
                </a:cxn>
                <a:cxn ang="0">
                  <a:pos x="16" y="8"/>
                </a:cxn>
                <a:cxn ang="0">
                  <a:pos x="16" y="0"/>
                </a:cxn>
                <a:cxn ang="0">
                  <a:pos x="24" y="0"/>
                </a:cxn>
                <a:cxn ang="0">
                  <a:pos x="32" y="0"/>
                </a:cxn>
                <a:cxn ang="0">
                  <a:pos x="40" y="0"/>
                </a:cxn>
                <a:cxn ang="0">
                  <a:pos x="48" y="0"/>
                </a:cxn>
                <a:cxn ang="0">
                  <a:pos x="56" y="0"/>
                </a:cxn>
                <a:cxn ang="0">
                  <a:pos x="64" y="0"/>
                </a:cxn>
                <a:cxn ang="0">
                  <a:pos x="64" y="8"/>
                </a:cxn>
                <a:cxn ang="0">
                  <a:pos x="56" y="16"/>
                </a:cxn>
                <a:cxn ang="0">
                  <a:pos x="48" y="16"/>
                </a:cxn>
                <a:cxn ang="0">
                  <a:pos x="48" y="16"/>
                </a:cxn>
                <a:cxn ang="0">
                  <a:pos x="56" y="16"/>
                </a:cxn>
                <a:cxn ang="0">
                  <a:pos x="64" y="16"/>
                </a:cxn>
                <a:cxn ang="0">
                  <a:pos x="64" y="24"/>
                </a:cxn>
              </a:cxnLst>
              <a:rect l="0" t="0" r="r" b="b"/>
              <a:pathLst>
                <a:path w="72" h="56">
                  <a:moveTo>
                    <a:pt x="64" y="24"/>
                  </a:moveTo>
                  <a:lnTo>
                    <a:pt x="64" y="24"/>
                  </a:lnTo>
                  <a:lnTo>
                    <a:pt x="64" y="24"/>
                  </a:lnTo>
                  <a:lnTo>
                    <a:pt x="72" y="24"/>
                  </a:lnTo>
                  <a:lnTo>
                    <a:pt x="72" y="40"/>
                  </a:lnTo>
                  <a:lnTo>
                    <a:pt x="72" y="48"/>
                  </a:lnTo>
                  <a:lnTo>
                    <a:pt x="56" y="56"/>
                  </a:lnTo>
                  <a:lnTo>
                    <a:pt x="48" y="56"/>
                  </a:lnTo>
                  <a:lnTo>
                    <a:pt x="40" y="48"/>
                  </a:lnTo>
                  <a:lnTo>
                    <a:pt x="16" y="40"/>
                  </a:lnTo>
                  <a:lnTo>
                    <a:pt x="0" y="24"/>
                  </a:lnTo>
                  <a:lnTo>
                    <a:pt x="0" y="24"/>
                  </a:lnTo>
                  <a:lnTo>
                    <a:pt x="0" y="16"/>
                  </a:lnTo>
                  <a:lnTo>
                    <a:pt x="0" y="16"/>
                  </a:lnTo>
                  <a:lnTo>
                    <a:pt x="16" y="24"/>
                  </a:lnTo>
                  <a:lnTo>
                    <a:pt x="16" y="24"/>
                  </a:lnTo>
                  <a:lnTo>
                    <a:pt x="24" y="24"/>
                  </a:lnTo>
                  <a:lnTo>
                    <a:pt x="24" y="24"/>
                  </a:lnTo>
                  <a:lnTo>
                    <a:pt x="24" y="8"/>
                  </a:lnTo>
                  <a:lnTo>
                    <a:pt x="24" y="8"/>
                  </a:lnTo>
                  <a:lnTo>
                    <a:pt x="16" y="8"/>
                  </a:lnTo>
                  <a:lnTo>
                    <a:pt x="16" y="8"/>
                  </a:lnTo>
                  <a:lnTo>
                    <a:pt x="16" y="0"/>
                  </a:lnTo>
                  <a:lnTo>
                    <a:pt x="24" y="0"/>
                  </a:lnTo>
                  <a:lnTo>
                    <a:pt x="32" y="0"/>
                  </a:lnTo>
                  <a:lnTo>
                    <a:pt x="40" y="0"/>
                  </a:lnTo>
                  <a:lnTo>
                    <a:pt x="48" y="0"/>
                  </a:lnTo>
                  <a:lnTo>
                    <a:pt x="56" y="0"/>
                  </a:lnTo>
                  <a:lnTo>
                    <a:pt x="64" y="0"/>
                  </a:lnTo>
                  <a:lnTo>
                    <a:pt x="64" y="8"/>
                  </a:lnTo>
                  <a:lnTo>
                    <a:pt x="56" y="16"/>
                  </a:lnTo>
                  <a:lnTo>
                    <a:pt x="48" y="16"/>
                  </a:lnTo>
                  <a:lnTo>
                    <a:pt x="48" y="16"/>
                  </a:lnTo>
                  <a:lnTo>
                    <a:pt x="56" y="16"/>
                  </a:lnTo>
                  <a:lnTo>
                    <a:pt x="64" y="16"/>
                  </a:lnTo>
                  <a:lnTo>
                    <a:pt x="64" y="2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20" name="Freeform 38"/>
            <p:cNvSpPr>
              <a:spLocks/>
            </p:cNvSpPr>
            <p:nvPr/>
          </p:nvSpPr>
          <p:spPr bwMode="auto">
            <a:xfrm>
              <a:off x="2373309" y="2247867"/>
              <a:ext cx="76200" cy="50799"/>
            </a:xfrm>
            <a:custGeom>
              <a:avLst/>
              <a:gdLst/>
              <a:ahLst/>
              <a:cxnLst>
                <a:cxn ang="0">
                  <a:pos x="32" y="32"/>
                </a:cxn>
                <a:cxn ang="0">
                  <a:pos x="8" y="24"/>
                </a:cxn>
                <a:cxn ang="0">
                  <a:pos x="0" y="16"/>
                </a:cxn>
                <a:cxn ang="0">
                  <a:pos x="0" y="16"/>
                </a:cxn>
                <a:cxn ang="0">
                  <a:pos x="8" y="16"/>
                </a:cxn>
                <a:cxn ang="0">
                  <a:pos x="8" y="16"/>
                </a:cxn>
                <a:cxn ang="0">
                  <a:pos x="16" y="0"/>
                </a:cxn>
                <a:cxn ang="0">
                  <a:pos x="24" y="0"/>
                </a:cxn>
                <a:cxn ang="0">
                  <a:pos x="40" y="16"/>
                </a:cxn>
                <a:cxn ang="0">
                  <a:pos x="48" y="24"/>
                </a:cxn>
                <a:cxn ang="0">
                  <a:pos x="48" y="24"/>
                </a:cxn>
                <a:cxn ang="0">
                  <a:pos x="40" y="32"/>
                </a:cxn>
                <a:cxn ang="0">
                  <a:pos x="32" y="32"/>
                </a:cxn>
              </a:cxnLst>
              <a:rect l="0" t="0" r="r" b="b"/>
              <a:pathLst>
                <a:path w="48" h="32">
                  <a:moveTo>
                    <a:pt x="32" y="32"/>
                  </a:moveTo>
                  <a:lnTo>
                    <a:pt x="8" y="24"/>
                  </a:lnTo>
                  <a:lnTo>
                    <a:pt x="0" y="16"/>
                  </a:lnTo>
                  <a:lnTo>
                    <a:pt x="0" y="16"/>
                  </a:lnTo>
                  <a:lnTo>
                    <a:pt x="8" y="16"/>
                  </a:lnTo>
                  <a:lnTo>
                    <a:pt x="8" y="16"/>
                  </a:lnTo>
                  <a:lnTo>
                    <a:pt x="16" y="0"/>
                  </a:lnTo>
                  <a:lnTo>
                    <a:pt x="24" y="0"/>
                  </a:lnTo>
                  <a:lnTo>
                    <a:pt x="40" y="16"/>
                  </a:lnTo>
                  <a:lnTo>
                    <a:pt x="48" y="24"/>
                  </a:lnTo>
                  <a:lnTo>
                    <a:pt x="48" y="24"/>
                  </a:lnTo>
                  <a:lnTo>
                    <a:pt x="40" y="32"/>
                  </a:lnTo>
                  <a:lnTo>
                    <a:pt x="32"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21" name="Freeform 39"/>
            <p:cNvSpPr>
              <a:spLocks/>
            </p:cNvSpPr>
            <p:nvPr/>
          </p:nvSpPr>
          <p:spPr bwMode="auto">
            <a:xfrm>
              <a:off x="2436809" y="2082770"/>
              <a:ext cx="114300" cy="88899"/>
            </a:xfrm>
            <a:custGeom>
              <a:avLst/>
              <a:gdLst/>
              <a:ahLst/>
              <a:cxnLst>
                <a:cxn ang="0">
                  <a:pos x="64" y="24"/>
                </a:cxn>
                <a:cxn ang="0">
                  <a:pos x="48" y="32"/>
                </a:cxn>
                <a:cxn ang="0">
                  <a:pos x="48" y="40"/>
                </a:cxn>
                <a:cxn ang="0">
                  <a:pos x="24" y="40"/>
                </a:cxn>
                <a:cxn ang="0">
                  <a:pos x="24" y="40"/>
                </a:cxn>
                <a:cxn ang="0">
                  <a:pos x="24" y="40"/>
                </a:cxn>
                <a:cxn ang="0">
                  <a:pos x="24" y="40"/>
                </a:cxn>
                <a:cxn ang="0">
                  <a:pos x="32" y="40"/>
                </a:cxn>
                <a:cxn ang="0">
                  <a:pos x="32" y="40"/>
                </a:cxn>
                <a:cxn ang="0">
                  <a:pos x="24" y="48"/>
                </a:cxn>
                <a:cxn ang="0">
                  <a:pos x="24" y="56"/>
                </a:cxn>
                <a:cxn ang="0">
                  <a:pos x="16" y="56"/>
                </a:cxn>
                <a:cxn ang="0">
                  <a:pos x="8" y="56"/>
                </a:cxn>
                <a:cxn ang="0">
                  <a:pos x="8" y="56"/>
                </a:cxn>
                <a:cxn ang="0">
                  <a:pos x="8" y="40"/>
                </a:cxn>
                <a:cxn ang="0">
                  <a:pos x="8" y="32"/>
                </a:cxn>
                <a:cxn ang="0">
                  <a:pos x="0" y="24"/>
                </a:cxn>
                <a:cxn ang="0">
                  <a:pos x="0" y="16"/>
                </a:cxn>
                <a:cxn ang="0">
                  <a:pos x="0" y="16"/>
                </a:cxn>
                <a:cxn ang="0">
                  <a:pos x="16" y="16"/>
                </a:cxn>
                <a:cxn ang="0">
                  <a:pos x="16" y="16"/>
                </a:cxn>
                <a:cxn ang="0">
                  <a:pos x="16" y="16"/>
                </a:cxn>
                <a:cxn ang="0">
                  <a:pos x="16" y="0"/>
                </a:cxn>
                <a:cxn ang="0">
                  <a:pos x="32" y="0"/>
                </a:cxn>
                <a:cxn ang="0">
                  <a:pos x="64" y="8"/>
                </a:cxn>
                <a:cxn ang="0">
                  <a:pos x="72" y="8"/>
                </a:cxn>
                <a:cxn ang="0">
                  <a:pos x="72" y="8"/>
                </a:cxn>
                <a:cxn ang="0">
                  <a:pos x="72" y="16"/>
                </a:cxn>
                <a:cxn ang="0">
                  <a:pos x="72" y="16"/>
                </a:cxn>
                <a:cxn ang="0">
                  <a:pos x="64" y="24"/>
                </a:cxn>
              </a:cxnLst>
              <a:rect l="0" t="0" r="r" b="b"/>
              <a:pathLst>
                <a:path w="72" h="56">
                  <a:moveTo>
                    <a:pt x="64" y="24"/>
                  </a:moveTo>
                  <a:lnTo>
                    <a:pt x="48" y="32"/>
                  </a:lnTo>
                  <a:lnTo>
                    <a:pt x="48" y="40"/>
                  </a:lnTo>
                  <a:lnTo>
                    <a:pt x="24" y="40"/>
                  </a:lnTo>
                  <a:lnTo>
                    <a:pt x="24" y="40"/>
                  </a:lnTo>
                  <a:lnTo>
                    <a:pt x="24" y="40"/>
                  </a:lnTo>
                  <a:lnTo>
                    <a:pt x="24" y="40"/>
                  </a:lnTo>
                  <a:lnTo>
                    <a:pt x="32" y="40"/>
                  </a:lnTo>
                  <a:lnTo>
                    <a:pt x="32" y="40"/>
                  </a:lnTo>
                  <a:lnTo>
                    <a:pt x="24" y="48"/>
                  </a:lnTo>
                  <a:lnTo>
                    <a:pt x="24" y="56"/>
                  </a:lnTo>
                  <a:lnTo>
                    <a:pt x="16" y="56"/>
                  </a:lnTo>
                  <a:lnTo>
                    <a:pt x="8" y="56"/>
                  </a:lnTo>
                  <a:lnTo>
                    <a:pt x="8" y="56"/>
                  </a:lnTo>
                  <a:lnTo>
                    <a:pt x="8" y="40"/>
                  </a:lnTo>
                  <a:lnTo>
                    <a:pt x="8" y="32"/>
                  </a:lnTo>
                  <a:lnTo>
                    <a:pt x="0" y="24"/>
                  </a:lnTo>
                  <a:lnTo>
                    <a:pt x="0" y="16"/>
                  </a:lnTo>
                  <a:lnTo>
                    <a:pt x="0" y="16"/>
                  </a:lnTo>
                  <a:lnTo>
                    <a:pt x="16" y="16"/>
                  </a:lnTo>
                  <a:lnTo>
                    <a:pt x="16" y="16"/>
                  </a:lnTo>
                  <a:lnTo>
                    <a:pt x="16" y="16"/>
                  </a:lnTo>
                  <a:lnTo>
                    <a:pt x="16" y="0"/>
                  </a:lnTo>
                  <a:lnTo>
                    <a:pt x="32" y="0"/>
                  </a:lnTo>
                  <a:lnTo>
                    <a:pt x="64" y="8"/>
                  </a:lnTo>
                  <a:lnTo>
                    <a:pt x="72" y="8"/>
                  </a:lnTo>
                  <a:lnTo>
                    <a:pt x="72" y="8"/>
                  </a:lnTo>
                  <a:lnTo>
                    <a:pt x="72" y="16"/>
                  </a:lnTo>
                  <a:lnTo>
                    <a:pt x="72" y="16"/>
                  </a:lnTo>
                  <a:lnTo>
                    <a:pt x="64" y="2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22" name="Freeform 40"/>
            <p:cNvSpPr>
              <a:spLocks/>
            </p:cNvSpPr>
            <p:nvPr/>
          </p:nvSpPr>
          <p:spPr bwMode="auto">
            <a:xfrm>
              <a:off x="2246310" y="1866873"/>
              <a:ext cx="127000" cy="76199"/>
            </a:xfrm>
            <a:custGeom>
              <a:avLst/>
              <a:gdLst/>
              <a:ahLst/>
              <a:cxnLst>
                <a:cxn ang="0">
                  <a:pos x="40" y="32"/>
                </a:cxn>
                <a:cxn ang="0">
                  <a:pos x="32" y="32"/>
                </a:cxn>
                <a:cxn ang="0">
                  <a:pos x="32" y="32"/>
                </a:cxn>
                <a:cxn ang="0">
                  <a:pos x="32" y="32"/>
                </a:cxn>
                <a:cxn ang="0">
                  <a:pos x="24" y="32"/>
                </a:cxn>
                <a:cxn ang="0">
                  <a:pos x="16" y="32"/>
                </a:cxn>
                <a:cxn ang="0">
                  <a:pos x="8" y="32"/>
                </a:cxn>
                <a:cxn ang="0">
                  <a:pos x="8" y="32"/>
                </a:cxn>
                <a:cxn ang="0">
                  <a:pos x="8" y="24"/>
                </a:cxn>
                <a:cxn ang="0">
                  <a:pos x="8" y="24"/>
                </a:cxn>
                <a:cxn ang="0">
                  <a:pos x="8" y="24"/>
                </a:cxn>
                <a:cxn ang="0">
                  <a:pos x="16" y="24"/>
                </a:cxn>
                <a:cxn ang="0">
                  <a:pos x="16" y="16"/>
                </a:cxn>
                <a:cxn ang="0">
                  <a:pos x="16" y="16"/>
                </a:cxn>
                <a:cxn ang="0">
                  <a:pos x="16" y="16"/>
                </a:cxn>
                <a:cxn ang="0">
                  <a:pos x="8" y="16"/>
                </a:cxn>
                <a:cxn ang="0">
                  <a:pos x="0" y="16"/>
                </a:cxn>
                <a:cxn ang="0">
                  <a:pos x="0" y="16"/>
                </a:cxn>
                <a:cxn ang="0">
                  <a:pos x="8" y="16"/>
                </a:cxn>
                <a:cxn ang="0">
                  <a:pos x="8" y="16"/>
                </a:cxn>
                <a:cxn ang="0">
                  <a:pos x="0" y="16"/>
                </a:cxn>
                <a:cxn ang="0">
                  <a:pos x="0" y="8"/>
                </a:cxn>
                <a:cxn ang="0">
                  <a:pos x="0" y="8"/>
                </a:cxn>
                <a:cxn ang="0">
                  <a:pos x="8" y="8"/>
                </a:cxn>
                <a:cxn ang="0">
                  <a:pos x="8" y="0"/>
                </a:cxn>
                <a:cxn ang="0">
                  <a:pos x="8" y="0"/>
                </a:cxn>
                <a:cxn ang="0">
                  <a:pos x="24" y="8"/>
                </a:cxn>
                <a:cxn ang="0">
                  <a:pos x="32" y="8"/>
                </a:cxn>
                <a:cxn ang="0">
                  <a:pos x="40" y="8"/>
                </a:cxn>
                <a:cxn ang="0">
                  <a:pos x="48" y="16"/>
                </a:cxn>
                <a:cxn ang="0">
                  <a:pos x="56" y="16"/>
                </a:cxn>
                <a:cxn ang="0">
                  <a:pos x="64" y="16"/>
                </a:cxn>
                <a:cxn ang="0">
                  <a:pos x="64" y="24"/>
                </a:cxn>
                <a:cxn ang="0">
                  <a:pos x="72" y="24"/>
                </a:cxn>
                <a:cxn ang="0">
                  <a:pos x="72" y="24"/>
                </a:cxn>
                <a:cxn ang="0">
                  <a:pos x="64" y="24"/>
                </a:cxn>
                <a:cxn ang="0">
                  <a:pos x="64" y="24"/>
                </a:cxn>
                <a:cxn ang="0">
                  <a:pos x="72" y="32"/>
                </a:cxn>
                <a:cxn ang="0">
                  <a:pos x="80" y="40"/>
                </a:cxn>
                <a:cxn ang="0">
                  <a:pos x="80" y="48"/>
                </a:cxn>
                <a:cxn ang="0">
                  <a:pos x="64" y="48"/>
                </a:cxn>
                <a:cxn ang="0">
                  <a:pos x="56" y="32"/>
                </a:cxn>
                <a:cxn ang="0">
                  <a:pos x="40" y="32"/>
                </a:cxn>
              </a:cxnLst>
              <a:rect l="0" t="0" r="r" b="b"/>
              <a:pathLst>
                <a:path w="80" h="48">
                  <a:moveTo>
                    <a:pt x="40" y="32"/>
                  </a:moveTo>
                  <a:lnTo>
                    <a:pt x="32" y="32"/>
                  </a:lnTo>
                  <a:lnTo>
                    <a:pt x="32" y="32"/>
                  </a:lnTo>
                  <a:lnTo>
                    <a:pt x="32" y="32"/>
                  </a:lnTo>
                  <a:lnTo>
                    <a:pt x="24" y="32"/>
                  </a:lnTo>
                  <a:lnTo>
                    <a:pt x="16" y="32"/>
                  </a:lnTo>
                  <a:lnTo>
                    <a:pt x="8" y="32"/>
                  </a:lnTo>
                  <a:lnTo>
                    <a:pt x="8" y="32"/>
                  </a:lnTo>
                  <a:lnTo>
                    <a:pt x="8" y="24"/>
                  </a:lnTo>
                  <a:lnTo>
                    <a:pt x="8" y="24"/>
                  </a:lnTo>
                  <a:lnTo>
                    <a:pt x="8" y="24"/>
                  </a:lnTo>
                  <a:lnTo>
                    <a:pt x="16" y="24"/>
                  </a:lnTo>
                  <a:lnTo>
                    <a:pt x="16" y="16"/>
                  </a:lnTo>
                  <a:lnTo>
                    <a:pt x="16" y="16"/>
                  </a:lnTo>
                  <a:lnTo>
                    <a:pt x="16" y="16"/>
                  </a:lnTo>
                  <a:lnTo>
                    <a:pt x="8" y="16"/>
                  </a:lnTo>
                  <a:lnTo>
                    <a:pt x="0" y="16"/>
                  </a:lnTo>
                  <a:lnTo>
                    <a:pt x="0" y="16"/>
                  </a:lnTo>
                  <a:lnTo>
                    <a:pt x="8" y="16"/>
                  </a:lnTo>
                  <a:lnTo>
                    <a:pt x="8" y="16"/>
                  </a:lnTo>
                  <a:lnTo>
                    <a:pt x="0" y="16"/>
                  </a:lnTo>
                  <a:lnTo>
                    <a:pt x="0" y="8"/>
                  </a:lnTo>
                  <a:lnTo>
                    <a:pt x="0" y="8"/>
                  </a:lnTo>
                  <a:lnTo>
                    <a:pt x="8" y="8"/>
                  </a:lnTo>
                  <a:lnTo>
                    <a:pt x="8" y="0"/>
                  </a:lnTo>
                  <a:lnTo>
                    <a:pt x="8" y="0"/>
                  </a:lnTo>
                  <a:lnTo>
                    <a:pt x="24" y="8"/>
                  </a:lnTo>
                  <a:lnTo>
                    <a:pt x="32" y="8"/>
                  </a:lnTo>
                  <a:lnTo>
                    <a:pt x="40" y="8"/>
                  </a:lnTo>
                  <a:lnTo>
                    <a:pt x="48" y="16"/>
                  </a:lnTo>
                  <a:lnTo>
                    <a:pt x="56" y="16"/>
                  </a:lnTo>
                  <a:lnTo>
                    <a:pt x="64" y="16"/>
                  </a:lnTo>
                  <a:lnTo>
                    <a:pt x="64" y="24"/>
                  </a:lnTo>
                  <a:lnTo>
                    <a:pt x="72" y="24"/>
                  </a:lnTo>
                  <a:lnTo>
                    <a:pt x="72" y="24"/>
                  </a:lnTo>
                  <a:lnTo>
                    <a:pt x="64" y="24"/>
                  </a:lnTo>
                  <a:lnTo>
                    <a:pt x="64" y="24"/>
                  </a:lnTo>
                  <a:lnTo>
                    <a:pt x="72" y="32"/>
                  </a:lnTo>
                  <a:lnTo>
                    <a:pt x="80" y="40"/>
                  </a:lnTo>
                  <a:lnTo>
                    <a:pt x="80" y="48"/>
                  </a:lnTo>
                  <a:lnTo>
                    <a:pt x="64" y="48"/>
                  </a:lnTo>
                  <a:lnTo>
                    <a:pt x="56" y="32"/>
                  </a:lnTo>
                  <a:lnTo>
                    <a:pt x="40"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23" name="Freeform 41"/>
            <p:cNvSpPr>
              <a:spLocks/>
            </p:cNvSpPr>
            <p:nvPr/>
          </p:nvSpPr>
          <p:spPr bwMode="auto">
            <a:xfrm>
              <a:off x="2424109" y="1968471"/>
              <a:ext cx="342899" cy="101598"/>
            </a:xfrm>
            <a:custGeom>
              <a:avLst/>
              <a:gdLst/>
              <a:ahLst/>
              <a:cxnLst>
                <a:cxn ang="0">
                  <a:pos x="208" y="48"/>
                </a:cxn>
                <a:cxn ang="0">
                  <a:pos x="208" y="56"/>
                </a:cxn>
                <a:cxn ang="0">
                  <a:pos x="208" y="56"/>
                </a:cxn>
                <a:cxn ang="0">
                  <a:pos x="216" y="56"/>
                </a:cxn>
                <a:cxn ang="0">
                  <a:pos x="208" y="64"/>
                </a:cxn>
                <a:cxn ang="0">
                  <a:pos x="192" y="64"/>
                </a:cxn>
                <a:cxn ang="0">
                  <a:pos x="168" y="64"/>
                </a:cxn>
                <a:cxn ang="0">
                  <a:pos x="168" y="64"/>
                </a:cxn>
                <a:cxn ang="0">
                  <a:pos x="168" y="64"/>
                </a:cxn>
                <a:cxn ang="0">
                  <a:pos x="160" y="64"/>
                </a:cxn>
                <a:cxn ang="0">
                  <a:pos x="160" y="64"/>
                </a:cxn>
                <a:cxn ang="0">
                  <a:pos x="160" y="64"/>
                </a:cxn>
                <a:cxn ang="0">
                  <a:pos x="120" y="64"/>
                </a:cxn>
                <a:cxn ang="0">
                  <a:pos x="120" y="64"/>
                </a:cxn>
                <a:cxn ang="0">
                  <a:pos x="96" y="64"/>
                </a:cxn>
                <a:cxn ang="0">
                  <a:pos x="96" y="64"/>
                </a:cxn>
                <a:cxn ang="0">
                  <a:pos x="96" y="64"/>
                </a:cxn>
                <a:cxn ang="0">
                  <a:pos x="96" y="64"/>
                </a:cxn>
                <a:cxn ang="0">
                  <a:pos x="96" y="64"/>
                </a:cxn>
                <a:cxn ang="0">
                  <a:pos x="88" y="64"/>
                </a:cxn>
                <a:cxn ang="0">
                  <a:pos x="72" y="64"/>
                </a:cxn>
                <a:cxn ang="0">
                  <a:pos x="48" y="56"/>
                </a:cxn>
                <a:cxn ang="0">
                  <a:pos x="48" y="40"/>
                </a:cxn>
                <a:cxn ang="0">
                  <a:pos x="56" y="40"/>
                </a:cxn>
                <a:cxn ang="0">
                  <a:pos x="56" y="40"/>
                </a:cxn>
                <a:cxn ang="0">
                  <a:pos x="48" y="32"/>
                </a:cxn>
                <a:cxn ang="0">
                  <a:pos x="40" y="16"/>
                </a:cxn>
                <a:cxn ang="0">
                  <a:pos x="40" y="16"/>
                </a:cxn>
                <a:cxn ang="0">
                  <a:pos x="32" y="24"/>
                </a:cxn>
                <a:cxn ang="0">
                  <a:pos x="24" y="24"/>
                </a:cxn>
                <a:cxn ang="0">
                  <a:pos x="0" y="8"/>
                </a:cxn>
                <a:cxn ang="0">
                  <a:pos x="0" y="0"/>
                </a:cxn>
                <a:cxn ang="0">
                  <a:pos x="24" y="0"/>
                </a:cxn>
                <a:cxn ang="0">
                  <a:pos x="40" y="16"/>
                </a:cxn>
                <a:cxn ang="0">
                  <a:pos x="56" y="16"/>
                </a:cxn>
                <a:cxn ang="0">
                  <a:pos x="56" y="16"/>
                </a:cxn>
                <a:cxn ang="0">
                  <a:pos x="64" y="16"/>
                </a:cxn>
                <a:cxn ang="0">
                  <a:pos x="64" y="16"/>
                </a:cxn>
                <a:cxn ang="0">
                  <a:pos x="64" y="16"/>
                </a:cxn>
                <a:cxn ang="0">
                  <a:pos x="64" y="16"/>
                </a:cxn>
                <a:cxn ang="0">
                  <a:pos x="88" y="24"/>
                </a:cxn>
                <a:cxn ang="0">
                  <a:pos x="88" y="24"/>
                </a:cxn>
                <a:cxn ang="0">
                  <a:pos x="72" y="24"/>
                </a:cxn>
                <a:cxn ang="0">
                  <a:pos x="72" y="24"/>
                </a:cxn>
                <a:cxn ang="0">
                  <a:pos x="72" y="32"/>
                </a:cxn>
                <a:cxn ang="0">
                  <a:pos x="88" y="32"/>
                </a:cxn>
                <a:cxn ang="0">
                  <a:pos x="88" y="40"/>
                </a:cxn>
                <a:cxn ang="0">
                  <a:pos x="88" y="40"/>
                </a:cxn>
                <a:cxn ang="0">
                  <a:pos x="88" y="40"/>
                </a:cxn>
                <a:cxn ang="0">
                  <a:pos x="104" y="48"/>
                </a:cxn>
                <a:cxn ang="0">
                  <a:pos x="112" y="48"/>
                </a:cxn>
                <a:cxn ang="0">
                  <a:pos x="136" y="48"/>
                </a:cxn>
                <a:cxn ang="0">
                  <a:pos x="168" y="32"/>
                </a:cxn>
                <a:cxn ang="0">
                  <a:pos x="192" y="32"/>
                </a:cxn>
                <a:cxn ang="0">
                  <a:pos x="208" y="40"/>
                </a:cxn>
                <a:cxn ang="0">
                  <a:pos x="208" y="48"/>
                </a:cxn>
                <a:cxn ang="0">
                  <a:pos x="208" y="48"/>
                </a:cxn>
                <a:cxn ang="0">
                  <a:pos x="208" y="48"/>
                </a:cxn>
                <a:cxn ang="0">
                  <a:pos x="208" y="48"/>
                </a:cxn>
                <a:cxn ang="0">
                  <a:pos x="208" y="48"/>
                </a:cxn>
              </a:cxnLst>
              <a:rect l="0" t="0" r="r" b="b"/>
              <a:pathLst>
                <a:path w="216" h="64">
                  <a:moveTo>
                    <a:pt x="208" y="48"/>
                  </a:moveTo>
                  <a:lnTo>
                    <a:pt x="208" y="56"/>
                  </a:lnTo>
                  <a:lnTo>
                    <a:pt x="208" y="56"/>
                  </a:lnTo>
                  <a:lnTo>
                    <a:pt x="216" y="56"/>
                  </a:lnTo>
                  <a:lnTo>
                    <a:pt x="208" y="64"/>
                  </a:lnTo>
                  <a:lnTo>
                    <a:pt x="192" y="64"/>
                  </a:lnTo>
                  <a:lnTo>
                    <a:pt x="168" y="64"/>
                  </a:lnTo>
                  <a:lnTo>
                    <a:pt x="168" y="64"/>
                  </a:lnTo>
                  <a:lnTo>
                    <a:pt x="168" y="64"/>
                  </a:lnTo>
                  <a:lnTo>
                    <a:pt x="160" y="64"/>
                  </a:lnTo>
                  <a:lnTo>
                    <a:pt x="160" y="64"/>
                  </a:lnTo>
                  <a:lnTo>
                    <a:pt x="160" y="64"/>
                  </a:lnTo>
                  <a:lnTo>
                    <a:pt x="120" y="64"/>
                  </a:lnTo>
                  <a:lnTo>
                    <a:pt x="120" y="64"/>
                  </a:lnTo>
                  <a:lnTo>
                    <a:pt x="96" y="64"/>
                  </a:lnTo>
                  <a:lnTo>
                    <a:pt x="96" y="64"/>
                  </a:lnTo>
                  <a:lnTo>
                    <a:pt x="96" y="64"/>
                  </a:lnTo>
                  <a:lnTo>
                    <a:pt x="96" y="64"/>
                  </a:lnTo>
                  <a:lnTo>
                    <a:pt x="96" y="64"/>
                  </a:lnTo>
                  <a:lnTo>
                    <a:pt x="88" y="64"/>
                  </a:lnTo>
                  <a:lnTo>
                    <a:pt x="72" y="64"/>
                  </a:lnTo>
                  <a:lnTo>
                    <a:pt x="48" y="56"/>
                  </a:lnTo>
                  <a:lnTo>
                    <a:pt x="48" y="40"/>
                  </a:lnTo>
                  <a:lnTo>
                    <a:pt x="56" y="40"/>
                  </a:lnTo>
                  <a:lnTo>
                    <a:pt x="56" y="40"/>
                  </a:lnTo>
                  <a:lnTo>
                    <a:pt x="48" y="32"/>
                  </a:lnTo>
                  <a:lnTo>
                    <a:pt x="40" y="16"/>
                  </a:lnTo>
                  <a:lnTo>
                    <a:pt x="40" y="16"/>
                  </a:lnTo>
                  <a:lnTo>
                    <a:pt x="32" y="24"/>
                  </a:lnTo>
                  <a:lnTo>
                    <a:pt x="24" y="24"/>
                  </a:lnTo>
                  <a:lnTo>
                    <a:pt x="0" y="8"/>
                  </a:lnTo>
                  <a:lnTo>
                    <a:pt x="0" y="0"/>
                  </a:lnTo>
                  <a:lnTo>
                    <a:pt x="24" y="0"/>
                  </a:lnTo>
                  <a:lnTo>
                    <a:pt x="40" y="16"/>
                  </a:lnTo>
                  <a:lnTo>
                    <a:pt x="56" y="16"/>
                  </a:lnTo>
                  <a:lnTo>
                    <a:pt x="56" y="16"/>
                  </a:lnTo>
                  <a:lnTo>
                    <a:pt x="64" y="16"/>
                  </a:lnTo>
                  <a:lnTo>
                    <a:pt x="64" y="16"/>
                  </a:lnTo>
                  <a:lnTo>
                    <a:pt x="64" y="16"/>
                  </a:lnTo>
                  <a:lnTo>
                    <a:pt x="64" y="16"/>
                  </a:lnTo>
                  <a:lnTo>
                    <a:pt x="88" y="24"/>
                  </a:lnTo>
                  <a:lnTo>
                    <a:pt x="88" y="24"/>
                  </a:lnTo>
                  <a:lnTo>
                    <a:pt x="72" y="24"/>
                  </a:lnTo>
                  <a:lnTo>
                    <a:pt x="72" y="24"/>
                  </a:lnTo>
                  <a:lnTo>
                    <a:pt x="72" y="32"/>
                  </a:lnTo>
                  <a:lnTo>
                    <a:pt x="88" y="32"/>
                  </a:lnTo>
                  <a:lnTo>
                    <a:pt x="88" y="40"/>
                  </a:lnTo>
                  <a:lnTo>
                    <a:pt x="88" y="40"/>
                  </a:lnTo>
                  <a:lnTo>
                    <a:pt x="88" y="40"/>
                  </a:lnTo>
                  <a:lnTo>
                    <a:pt x="104" y="48"/>
                  </a:lnTo>
                  <a:lnTo>
                    <a:pt x="112" y="48"/>
                  </a:lnTo>
                  <a:lnTo>
                    <a:pt x="136" y="48"/>
                  </a:lnTo>
                  <a:lnTo>
                    <a:pt x="168" y="32"/>
                  </a:lnTo>
                  <a:lnTo>
                    <a:pt x="192" y="32"/>
                  </a:lnTo>
                  <a:lnTo>
                    <a:pt x="208" y="40"/>
                  </a:lnTo>
                  <a:lnTo>
                    <a:pt x="208" y="48"/>
                  </a:lnTo>
                  <a:lnTo>
                    <a:pt x="208" y="48"/>
                  </a:lnTo>
                  <a:lnTo>
                    <a:pt x="208" y="48"/>
                  </a:lnTo>
                  <a:lnTo>
                    <a:pt x="208" y="48"/>
                  </a:lnTo>
                  <a:lnTo>
                    <a:pt x="208" y="4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24" name="Freeform 42"/>
            <p:cNvSpPr>
              <a:spLocks/>
            </p:cNvSpPr>
            <p:nvPr/>
          </p:nvSpPr>
          <p:spPr bwMode="auto">
            <a:xfrm>
              <a:off x="2436809" y="1777974"/>
              <a:ext cx="215900" cy="152398"/>
            </a:xfrm>
            <a:custGeom>
              <a:avLst/>
              <a:gdLst/>
              <a:ahLst/>
              <a:cxnLst>
                <a:cxn ang="0">
                  <a:pos x="96" y="40"/>
                </a:cxn>
                <a:cxn ang="0">
                  <a:pos x="96" y="32"/>
                </a:cxn>
                <a:cxn ang="0">
                  <a:pos x="96" y="32"/>
                </a:cxn>
                <a:cxn ang="0">
                  <a:pos x="104" y="40"/>
                </a:cxn>
                <a:cxn ang="0">
                  <a:pos x="112" y="40"/>
                </a:cxn>
                <a:cxn ang="0">
                  <a:pos x="104" y="48"/>
                </a:cxn>
                <a:cxn ang="0">
                  <a:pos x="112" y="48"/>
                </a:cxn>
                <a:cxn ang="0">
                  <a:pos x="128" y="56"/>
                </a:cxn>
                <a:cxn ang="0">
                  <a:pos x="136" y="56"/>
                </a:cxn>
                <a:cxn ang="0">
                  <a:pos x="128" y="64"/>
                </a:cxn>
                <a:cxn ang="0">
                  <a:pos x="104" y="80"/>
                </a:cxn>
                <a:cxn ang="0">
                  <a:pos x="96" y="72"/>
                </a:cxn>
                <a:cxn ang="0">
                  <a:pos x="88" y="72"/>
                </a:cxn>
                <a:cxn ang="0">
                  <a:pos x="96" y="80"/>
                </a:cxn>
                <a:cxn ang="0">
                  <a:pos x="96" y="88"/>
                </a:cxn>
                <a:cxn ang="0">
                  <a:pos x="88" y="88"/>
                </a:cxn>
                <a:cxn ang="0">
                  <a:pos x="88" y="88"/>
                </a:cxn>
                <a:cxn ang="0">
                  <a:pos x="72" y="80"/>
                </a:cxn>
                <a:cxn ang="0">
                  <a:pos x="72" y="96"/>
                </a:cxn>
                <a:cxn ang="0">
                  <a:pos x="48" y="88"/>
                </a:cxn>
                <a:cxn ang="0">
                  <a:pos x="48" y="80"/>
                </a:cxn>
                <a:cxn ang="0">
                  <a:pos x="32" y="72"/>
                </a:cxn>
                <a:cxn ang="0">
                  <a:pos x="56" y="64"/>
                </a:cxn>
                <a:cxn ang="0">
                  <a:pos x="64" y="64"/>
                </a:cxn>
                <a:cxn ang="0">
                  <a:pos x="48" y="56"/>
                </a:cxn>
                <a:cxn ang="0">
                  <a:pos x="40" y="64"/>
                </a:cxn>
                <a:cxn ang="0">
                  <a:pos x="24" y="56"/>
                </a:cxn>
                <a:cxn ang="0">
                  <a:pos x="24" y="56"/>
                </a:cxn>
                <a:cxn ang="0">
                  <a:pos x="16" y="56"/>
                </a:cxn>
                <a:cxn ang="0">
                  <a:pos x="24" y="48"/>
                </a:cxn>
                <a:cxn ang="0">
                  <a:pos x="0" y="40"/>
                </a:cxn>
                <a:cxn ang="0">
                  <a:pos x="0" y="32"/>
                </a:cxn>
                <a:cxn ang="0">
                  <a:pos x="8" y="40"/>
                </a:cxn>
                <a:cxn ang="0">
                  <a:pos x="24" y="40"/>
                </a:cxn>
                <a:cxn ang="0">
                  <a:pos x="16" y="32"/>
                </a:cxn>
                <a:cxn ang="0">
                  <a:pos x="0" y="24"/>
                </a:cxn>
                <a:cxn ang="0">
                  <a:pos x="32" y="24"/>
                </a:cxn>
                <a:cxn ang="0">
                  <a:pos x="16" y="24"/>
                </a:cxn>
                <a:cxn ang="0">
                  <a:pos x="16" y="16"/>
                </a:cxn>
                <a:cxn ang="0">
                  <a:pos x="24" y="8"/>
                </a:cxn>
                <a:cxn ang="0">
                  <a:pos x="32" y="8"/>
                </a:cxn>
                <a:cxn ang="0">
                  <a:pos x="40" y="8"/>
                </a:cxn>
                <a:cxn ang="0">
                  <a:pos x="40" y="0"/>
                </a:cxn>
                <a:cxn ang="0">
                  <a:pos x="64" y="24"/>
                </a:cxn>
                <a:cxn ang="0">
                  <a:pos x="72" y="24"/>
                </a:cxn>
                <a:cxn ang="0">
                  <a:pos x="80" y="24"/>
                </a:cxn>
                <a:cxn ang="0">
                  <a:pos x="88" y="40"/>
                </a:cxn>
              </a:cxnLst>
              <a:rect l="0" t="0" r="r" b="b"/>
              <a:pathLst>
                <a:path w="136" h="96">
                  <a:moveTo>
                    <a:pt x="96" y="40"/>
                  </a:moveTo>
                  <a:lnTo>
                    <a:pt x="96" y="40"/>
                  </a:lnTo>
                  <a:lnTo>
                    <a:pt x="96" y="32"/>
                  </a:lnTo>
                  <a:lnTo>
                    <a:pt x="96" y="32"/>
                  </a:lnTo>
                  <a:lnTo>
                    <a:pt x="96" y="32"/>
                  </a:lnTo>
                  <a:lnTo>
                    <a:pt x="96" y="32"/>
                  </a:lnTo>
                  <a:lnTo>
                    <a:pt x="104" y="32"/>
                  </a:lnTo>
                  <a:lnTo>
                    <a:pt x="104" y="40"/>
                  </a:lnTo>
                  <a:lnTo>
                    <a:pt x="104" y="40"/>
                  </a:lnTo>
                  <a:lnTo>
                    <a:pt x="112" y="40"/>
                  </a:lnTo>
                  <a:lnTo>
                    <a:pt x="104" y="48"/>
                  </a:lnTo>
                  <a:lnTo>
                    <a:pt x="104" y="48"/>
                  </a:lnTo>
                  <a:lnTo>
                    <a:pt x="104" y="48"/>
                  </a:lnTo>
                  <a:lnTo>
                    <a:pt x="112" y="48"/>
                  </a:lnTo>
                  <a:lnTo>
                    <a:pt x="112" y="48"/>
                  </a:lnTo>
                  <a:lnTo>
                    <a:pt x="128" y="56"/>
                  </a:lnTo>
                  <a:lnTo>
                    <a:pt x="136" y="56"/>
                  </a:lnTo>
                  <a:lnTo>
                    <a:pt x="136" y="56"/>
                  </a:lnTo>
                  <a:lnTo>
                    <a:pt x="136" y="64"/>
                  </a:lnTo>
                  <a:lnTo>
                    <a:pt x="128" y="64"/>
                  </a:lnTo>
                  <a:lnTo>
                    <a:pt x="120" y="64"/>
                  </a:lnTo>
                  <a:lnTo>
                    <a:pt x="104" y="80"/>
                  </a:lnTo>
                  <a:lnTo>
                    <a:pt x="96" y="80"/>
                  </a:lnTo>
                  <a:lnTo>
                    <a:pt x="96" y="72"/>
                  </a:lnTo>
                  <a:lnTo>
                    <a:pt x="96" y="72"/>
                  </a:lnTo>
                  <a:lnTo>
                    <a:pt x="88" y="72"/>
                  </a:lnTo>
                  <a:lnTo>
                    <a:pt x="88" y="72"/>
                  </a:lnTo>
                  <a:lnTo>
                    <a:pt x="96" y="80"/>
                  </a:lnTo>
                  <a:lnTo>
                    <a:pt x="96" y="88"/>
                  </a:lnTo>
                  <a:lnTo>
                    <a:pt x="96" y="88"/>
                  </a:lnTo>
                  <a:lnTo>
                    <a:pt x="88" y="88"/>
                  </a:lnTo>
                  <a:lnTo>
                    <a:pt x="88" y="88"/>
                  </a:lnTo>
                  <a:lnTo>
                    <a:pt x="88" y="88"/>
                  </a:lnTo>
                  <a:lnTo>
                    <a:pt x="88" y="88"/>
                  </a:lnTo>
                  <a:lnTo>
                    <a:pt x="88" y="88"/>
                  </a:lnTo>
                  <a:lnTo>
                    <a:pt x="72" y="80"/>
                  </a:lnTo>
                  <a:lnTo>
                    <a:pt x="72" y="80"/>
                  </a:lnTo>
                  <a:lnTo>
                    <a:pt x="72" y="96"/>
                  </a:lnTo>
                  <a:lnTo>
                    <a:pt x="48" y="96"/>
                  </a:lnTo>
                  <a:lnTo>
                    <a:pt x="48" y="88"/>
                  </a:lnTo>
                  <a:lnTo>
                    <a:pt x="48" y="80"/>
                  </a:lnTo>
                  <a:lnTo>
                    <a:pt x="48" y="80"/>
                  </a:lnTo>
                  <a:lnTo>
                    <a:pt x="48" y="80"/>
                  </a:lnTo>
                  <a:lnTo>
                    <a:pt x="32" y="72"/>
                  </a:lnTo>
                  <a:lnTo>
                    <a:pt x="32" y="64"/>
                  </a:lnTo>
                  <a:lnTo>
                    <a:pt x="56" y="64"/>
                  </a:lnTo>
                  <a:lnTo>
                    <a:pt x="64" y="64"/>
                  </a:lnTo>
                  <a:lnTo>
                    <a:pt x="64" y="64"/>
                  </a:lnTo>
                  <a:lnTo>
                    <a:pt x="56" y="64"/>
                  </a:lnTo>
                  <a:lnTo>
                    <a:pt x="48" y="56"/>
                  </a:lnTo>
                  <a:lnTo>
                    <a:pt x="48" y="56"/>
                  </a:lnTo>
                  <a:lnTo>
                    <a:pt x="40" y="64"/>
                  </a:lnTo>
                  <a:lnTo>
                    <a:pt x="32" y="64"/>
                  </a:lnTo>
                  <a:lnTo>
                    <a:pt x="24" y="56"/>
                  </a:lnTo>
                  <a:lnTo>
                    <a:pt x="24" y="56"/>
                  </a:lnTo>
                  <a:lnTo>
                    <a:pt x="24" y="56"/>
                  </a:lnTo>
                  <a:lnTo>
                    <a:pt x="16" y="56"/>
                  </a:lnTo>
                  <a:lnTo>
                    <a:pt x="16" y="56"/>
                  </a:lnTo>
                  <a:lnTo>
                    <a:pt x="16" y="56"/>
                  </a:lnTo>
                  <a:lnTo>
                    <a:pt x="24" y="48"/>
                  </a:lnTo>
                  <a:lnTo>
                    <a:pt x="8" y="48"/>
                  </a:lnTo>
                  <a:lnTo>
                    <a:pt x="0" y="40"/>
                  </a:lnTo>
                  <a:lnTo>
                    <a:pt x="0" y="32"/>
                  </a:lnTo>
                  <a:lnTo>
                    <a:pt x="0" y="32"/>
                  </a:lnTo>
                  <a:lnTo>
                    <a:pt x="8" y="32"/>
                  </a:lnTo>
                  <a:lnTo>
                    <a:pt x="8" y="40"/>
                  </a:lnTo>
                  <a:lnTo>
                    <a:pt x="16" y="40"/>
                  </a:lnTo>
                  <a:lnTo>
                    <a:pt x="24" y="40"/>
                  </a:lnTo>
                  <a:lnTo>
                    <a:pt x="24" y="40"/>
                  </a:lnTo>
                  <a:lnTo>
                    <a:pt x="16" y="32"/>
                  </a:lnTo>
                  <a:lnTo>
                    <a:pt x="0" y="32"/>
                  </a:lnTo>
                  <a:lnTo>
                    <a:pt x="0" y="24"/>
                  </a:lnTo>
                  <a:lnTo>
                    <a:pt x="24" y="24"/>
                  </a:lnTo>
                  <a:lnTo>
                    <a:pt x="32" y="24"/>
                  </a:lnTo>
                  <a:lnTo>
                    <a:pt x="32" y="24"/>
                  </a:lnTo>
                  <a:lnTo>
                    <a:pt x="16" y="24"/>
                  </a:lnTo>
                  <a:lnTo>
                    <a:pt x="16" y="24"/>
                  </a:lnTo>
                  <a:lnTo>
                    <a:pt x="16" y="16"/>
                  </a:lnTo>
                  <a:lnTo>
                    <a:pt x="16" y="16"/>
                  </a:lnTo>
                  <a:lnTo>
                    <a:pt x="24" y="8"/>
                  </a:lnTo>
                  <a:lnTo>
                    <a:pt x="24" y="8"/>
                  </a:lnTo>
                  <a:lnTo>
                    <a:pt x="32" y="8"/>
                  </a:lnTo>
                  <a:lnTo>
                    <a:pt x="40" y="8"/>
                  </a:lnTo>
                  <a:lnTo>
                    <a:pt x="40" y="8"/>
                  </a:lnTo>
                  <a:lnTo>
                    <a:pt x="24" y="0"/>
                  </a:lnTo>
                  <a:lnTo>
                    <a:pt x="40" y="0"/>
                  </a:lnTo>
                  <a:lnTo>
                    <a:pt x="56" y="8"/>
                  </a:lnTo>
                  <a:lnTo>
                    <a:pt x="64" y="24"/>
                  </a:lnTo>
                  <a:lnTo>
                    <a:pt x="64" y="24"/>
                  </a:lnTo>
                  <a:lnTo>
                    <a:pt x="72" y="24"/>
                  </a:lnTo>
                  <a:lnTo>
                    <a:pt x="80" y="24"/>
                  </a:lnTo>
                  <a:lnTo>
                    <a:pt x="80" y="24"/>
                  </a:lnTo>
                  <a:lnTo>
                    <a:pt x="88" y="32"/>
                  </a:lnTo>
                  <a:lnTo>
                    <a:pt x="88" y="40"/>
                  </a:lnTo>
                  <a:lnTo>
                    <a:pt x="96" y="4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25" name="Freeform 43"/>
            <p:cNvSpPr>
              <a:spLocks/>
            </p:cNvSpPr>
            <p:nvPr/>
          </p:nvSpPr>
          <p:spPr bwMode="auto">
            <a:xfrm>
              <a:off x="2614609" y="2387565"/>
              <a:ext cx="139700" cy="88899"/>
            </a:xfrm>
            <a:custGeom>
              <a:avLst/>
              <a:gdLst/>
              <a:ahLst/>
              <a:cxnLst>
                <a:cxn ang="0">
                  <a:pos x="8" y="32"/>
                </a:cxn>
                <a:cxn ang="0">
                  <a:pos x="8" y="32"/>
                </a:cxn>
                <a:cxn ang="0">
                  <a:pos x="8" y="24"/>
                </a:cxn>
                <a:cxn ang="0">
                  <a:pos x="8" y="0"/>
                </a:cxn>
                <a:cxn ang="0">
                  <a:pos x="24" y="0"/>
                </a:cxn>
                <a:cxn ang="0">
                  <a:pos x="24" y="0"/>
                </a:cxn>
                <a:cxn ang="0">
                  <a:pos x="24" y="8"/>
                </a:cxn>
                <a:cxn ang="0">
                  <a:pos x="32" y="8"/>
                </a:cxn>
                <a:cxn ang="0">
                  <a:pos x="32" y="8"/>
                </a:cxn>
                <a:cxn ang="0">
                  <a:pos x="32" y="8"/>
                </a:cxn>
                <a:cxn ang="0">
                  <a:pos x="40" y="16"/>
                </a:cxn>
                <a:cxn ang="0">
                  <a:pos x="56" y="16"/>
                </a:cxn>
                <a:cxn ang="0">
                  <a:pos x="64" y="32"/>
                </a:cxn>
                <a:cxn ang="0">
                  <a:pos x="72" y="32"/>
                </a:cxn>
                <a:cxn ang="0">
                  <a:pos x="80" y="40"/>
                </a:cxn>
                <a:cxn ang="0">
                  <a:pos x="88" y="40"/>
                </a:cxn>
                <a:cxn ang="0">
                  <a:pos x="88" y="40"/>
                </a:cxn>
                <a:cxn ang="0">
                  <a:pos x="80" y="48"/>
                </a:cxn>
                <a:cxn ang="0">
                  <a:pos x="72" y="48"/>
                </a:cxn>
                <a:cxn ang="0">
                  <a:pos x="56" y="48"/>
                </a:cxn>
                <a:cxn ang="0">
                  <a:pos x="56" y="48"/>
                </a:cxn>
                <a:cxn ang="0">
                  <a:pos x="56" y="40"/>
                </a:cxn>
                <a:cxn ang="0">
                  <a:pos x="48" y="32"/>
                </a:cxn>
                <a:cxn ang="0">
                  <a:pos x="40" y="32"/>
                </a:cxn>
                <a:cxn ang="0">
                  <a:pos x="40" y="32"/>
                </a:cxn>
                <a:cxn ang="0">
                  <a:pos x="40" y="40"/>
                </a:cxn>
                <a:cxn ang="0">
                  <a:pos x="32" y="48"/>
                </a:cxn>
                <a:cxn ang="0">
                  <a:pos x="24" y="48"/>
                </a:cxn>
                <a:cxn ang="0">
                  <a:pos x="24" y="48"/>
                </a:cxn>
                <a:cxn ang="0">
                  <a:pos x="16" y="56"/>
                </a:cxn>
                <a:cxn ang="0">
                  <a:pos x="16" y="56"/>
                </a:cxn>
                <a:cxn ang="0">
                  <a:pos x="16" y="48"/>
                </a:cxn>
                <a:cxn ang="0">
                  <a:pos x="16" y="48"/>
                </a:cxn>
                <a:cxn ang="0">
                  <a:pos x="16" y="48"/>
                </a:cxn>
                <a:cxn ang="0">
                  <a:pos x="8" y="48"/>
                </a:cxn>
                <a:cxn ang="0">
                  <a:pos x="0" y="48"/>
                </a:cxn>
                <a:cxn ang="0">
                  <a:pos x="0" y="48"/>
                </a:cxn>
                <a:cxn ang="0">
                  <a:pos x="0" y="48"/>
                </a:cxn>
                <a:cxn ang="0">
                  <a:pos x="0" y="40"/>
                </a:cxn>
                <a:cxn ang="0">
                  <a:pos x="0" y="40"/>
                </a:cxn>
                <a:cxn ang="0">
                  <a:pos x="8" y="32"/>
                </a:cxn>
              </a:cxnLst>
              <a:rect l="0" t="0" r="r" b="b"/>
              <a:pathLst>
                <a:path w="88" h="56">
                  <a:moveTo>
                    <a:pt x="8" y="32"/>
                  </a:moveTo>
                  <a:lnTo>
                    <a:pt x="8" y="32"/>
                  </a:lnTo>
                  <a:lnTo>
                    <a:pt x="8" y="24"/>
                  </a:lnTo>
                  <a:lnTo>
                    <a:pt x="8" y="0"/>
                  </a:lnTo>
                  <a:lnTo>
                    <a:pt x="24" y="0"/>
                  </a:lnTo>
                  <a:lnTo>
                    <a:pt x="24" y="0"/>
                  </a:lnTo>
                  <a:lnTo>
                    <a:pt x="24" y="8"/>
                  </a:lnTo>
                  <a:lnTo>
                    <a:pt x="32" y="8"/>
                  </a:lnTo>
                  <a:lnTo>
                    <a:pt x="32" y="8"/>
                  </a:lnTo>
                  <a:lnTo>
                    <a:pt x="32" y="8"/>
                  </a:lnTo>
                  <a:lnTo>
                    <a:pt x="40" y="16"/>
                  </a:lnTo>
                  <a:lnTo>
                    <a:pt x="56" y="16"/>
                  </a:lnTo>
                  <a:lnTo>
                    <a:pt x="64" y="32"/>
                  </a:lnTo>
                  <a:lnTo>
                    <a:pt x="72" y="32"/>
                  </a:lnTo>
                  <a:lnTo>
                    <a:pt x="80" y="40"/>
                  </a:lnTo>
                  <a:lnTo>
                    <a:pt x="88" y="40"/>
                  </a:lnTo>
                  <a:lnTo>
                    <a:pt x="88" y="40"/>
                  </a:lnTo>
                  <a:lnTo>
                    <a:pt x="80" y="48"/>
                  </a:lnTo>
                  <a:lnTo>
                    <a:pt x="72" y="48"/>
                  </a:lnTo>
                  <a:lnTo>
                    <a:pt x="56" y="48"/>
                  </a:lnTo>
                  <a:lnTo>
                    <a:pt x="56" y="48"/>
                  </a:lnTo>
                  <a:lnTo>
                    <a:pt x="56" y="40"/>
                  </a:lnTo>
                  <a:lnTo>
                    <a:pt x="48" y="32"/>
                  </a:lnTo>
                  <a:lnTo>
                    <a:pt x="40" y="32"/>
                  </a:lnTo>
                  <a:lnTo>
                    <a:pt x="40" y="32"/>
                  </a:lnTo>
                  <a:lnTo>
                    <a:pt x="40" y="40"/>
                  </a:lnTo>
                  <a:lnTo>
                    <a:pt x="32" y="48"/>
                  </a:lnTo>
                  <a:lnTo>
                    <a:pt x="24" y="48"/>
                  </a:lnTo>
                  <a:lnTo>
                    <a:pt x="24" y="48"/>
                  </a:lnTo>
                  <a:lnTo>
                    <a:pt x="16" y="56"/>
                  </a:lnTo>
                  <a:lnTo>
                    <a:pt x="16" y="56"/>
                  </a:lnTo>
                  <a:lnTo>
                    <a:pt x="16" y="48"/>
                  </a:lnTo>
                  <a:lnTo>
                    <a:pt x="16" y="48"/>
                  </a:lnTo>
                  <a:lnTo>
                    <a:pt x="16" y="48"/>
                  </a:lnTo>
                  <a:lnTo>
                    <a:pt x="8" y="48"/>
                  </a:lnTo>
                  <a:lnTo>
                    <a:pt x="0" y="48"/>
                  </a:lnTo>
                  <a:lnTo>
                    <a:pt x="0" y="48"/>
                  </a:lnTo>
                  <a:lnTo>
                    <a:pt x="0" y="48"/>
                  </a:lnTo>
                  <a:lnTo>
                    <a:pt x="0" y="40"/>
                  </a:lnTo>
                  <a:lnTo>
                    <a:pt x="0" y="40"/>
                  </a:lnTo>
                  <a:lnTo>
                    <a:pt x="8"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26" name="Rectangle 44"/>
            <p:cNvSpPr>
              <a:spLocks noChangeArrowheads="1"/>
            </p:cNvSpPr>
            <p:nvPr/>
          </p:nvSpPr>
          <p:spPr bwMode="auto">
            <a:xfrm>
              <a:off x="2805109" y="2298666"/>
              <a:ext cx="50800" cy="38100"/>
            </a:xfrm>
            <a:prstGeom prst="rect">
              <a:avLst/>
            </a:prstGeom>
            <a:grpFill/>
            <a:ln w="6350">
              <a:solidFill>
                <a:schemeClr val="bg2">
                  <a:lumMod val="50000"/>
                </a:schemeClr>
              </a:solidFill>
              <a:miter lim="800000"/>
              <a:headEnd/>
              <a:tailEnd/>
            </a:ln>
          </p:spPr>
          <p:txBody>
            <a:bodyPr vert="horz" wrap="square" lIns="91373" tIns="45686" rIns="91373" bIns="45686" numCol="1" anchor="t" anchorCtr="0" compatLnSpc="1">
              <a:prstTxWarp prst="textNoShape">
                <a:avLst/>
              </a:prstTxWarp>
            </a:bodyPr>
            <a:lstStyle/>
            <a:p>
              <a:endParaRPr lang="en-GB" sz="1800"/>
            </a:p>
          </p:txBody>
        </p:sp>
        <p:sp>
          <p:nvSpPr>
            <p:cNvPr id="127" name="Freeform 45"/>
            <p:cNvSpPr>
              <a:spLocks/>
            </p:cNvSpPr>
            <p:nvPr/>
          </p:nvSpPr>
          <p:spPr bwMode="auto">
            <a:xfrm>
              <a:off x="2741609" y="2108169"/>
              <a:ext cx="88900" cy="38100"/>
            </a:xfrm>
            <a:custGeom>
              <a:avLst/>
              <a:gdLst/>
              <a:ahLst/>
              <a:cxnLst>
                <a:cxn ang="0">
                  <a:pos x="8" y="24"/>
                </a:cxn>
                <a:cxn ang="0">
                  <a:pos x="8" y="16"/>
                </a:cxn>
                <a:cxn ang="0">
                  <a:pos x="0" y="8"/>
                </a:cxn>
                <a:cxn ang="0">
                  <a:pos x="0" y="0"/>
                </a:cxn>
                <a:cxn ang="0">
                  <a:pos x="8" y="0"/>
                </a:cxn>
                <a:cxn ang="0">
                  <a:pos x="24" y="0"/>
                </a:cxn>
                <a:cxn ang="0">
                  <a:pos x="32" y="0"/>
                </a:cxn>
                <a:cxn ang="0">
                  <a:pos x="48" y="8"/>
                </a:cxn>
                <a:cxn ang="0">
                  <a:pos x="56" y="16"/>
                </a:cxn>
                <a:cxn ang="0">
                  <a:pos x="56" y="16"/>
                </a:cxn>
                <a:cxn ang="0">
                  <a:pos x="56" y="24"/>
                </a:cxn>
                <a:cxn ang="0">
                  <a:pos x="40" y="16"/>
                </a:cxn>
                <a:cxn ang="0">
                  <a:pos x="24" y="24"/>
                </a:cxn>
                <a:cxn ang="0">
                  <a:pos x="8" y="24"/>
                </a:cxn>
              </a:cxnLst>
              <a:rect l="0" t="0" r="r" b="b"/>
              <a:pathLst>
                <a:path w="56" h="24">
                  <a:moveTo>
                    <a:pt x="8" y="24"/>
                  </a:moveTo>
                  <a:lnTo>
                    <a:pt x="8" y="16"/>
                  </a:lnTo>
                  <a:lnTo>
                    <a:pt x="0" y="8"/>
                  </a:lnTo>
                  <a:lnTo>
                    <a:pt x="0" y="0"/>
                  </a:lnTo>
                  <a:lnTo>
                    <a:pt x="8" y="0"/>
                  </a:lnTo>
                  <a:lnTo>
                    <a:pt x="24" y="0"/>
                  </a:lnTo>
                  <a:lnTo>
                    <a:pt x="32" y="0"/>
                  </a:lnTo>
                  <a:lnTo>
                    <a:pt x="48" y="8"/>
                  </a:lnTo>
                  <a:lnTo>
                    <a:pt x="56" y="16"/>
                  </a:lnTo>
                  <a:lnTo>
                    <a:pt x="56" y="16"/>
                  </a:lnTo>
                  <a:lnTo>
                    <a:pt x="56" y="24"/>
                  </a:lnTo>
                  <a:lnTo>
                    <a:pt x="40" y="16"/>
                  </a:lnTo>
                  <a:lnTo>
                    <a:pt x="24" y="24"/>
                  </a:lnTo>
                  <a:lnTo>
                    <a:pt x="8" y="2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28" name="Freeform 46"/>
            <p:cNvSpPr>
              <a:spLocks/>
            </p:cNvSpPr>
            <p:nvPr/>
          </p:nvSpPr>
          <p:spPr bwMode="auto">
            <a:xfrm>
              <a:off x="3249608" y="2222468"/>
              <a:ext cx="63500" cy="50799"/>
            </a:xfrm>
            <a:custGeom>
              <a:avLst/>
              <a:gdLst/>
              <a:ahLst/>
              <a:cxnLst>
                <a:cxn ang="0">
                  <a:pos x="8" y="24"/>
                </a:cxn>
                <a:cxn ang="0">
                  <a:pos x="0" y="16"/>
                </a:cxn>
                <a:cxn ang="0">
                  <a:pos x="0" y="0"/>
                </a:cxn>
                <a:cxn ang="0">
                  <a:pos x="16" y="0"/>
                </a:cxn>
                <a:cxn ang="0">
                  <a:pos x="32" y="16"/>
                </a:cxn>
                <a:cxn ang="0">
                  <a:pos x="40" y="16"/>
                </a:cxn>
                <a:cxn ang="0">
                  <a:pos x="40" y="16"/>
                </a:cxn>
                <a:cxn ang="0">
                  <a:pos x="40" y="24"/>
                </a:cxn>
                <a:cxn ang="0">
                  <a:pos x="24" y="32"/>
                </a:cxn>
                <a:cxn ang="0">
                  <a:pos x="24" y="32"/>
                </a:cxn>
                <a:cxn ang="0">
                  <a:pos x="8" y="32"/>
                </a:cxn>
                <a:cxn ang="0">
                  <a:pos x="8" y="24"/>
                </a:cxn>
              </a:cxnLst>
              <a:rect l="0" t="0" r="r" b="b"/>
              <a:pathLst>
                <a:path w="40" h="32">
                  <a:moveTo>
                    <a:pt x="8" y="24"/>
                  </a:moveTo>
                  <a:lnTo>
                    <a:pt x="0" y="16"/>
                  </a:lnTo>
                  <a:lnTo>
                    <a:pt x="0" y="0"/>
                  </a:lnTo>
                  <a:lnTo>
                    <a:pt x="16" y="0"/>
                  </a:lnTo>
                  <a:lnTo>
                    <a:pt x="32" y="16"/>
                  </a:lnTo>
                  <a:lnTo>
                    <a:pt x="40" y="16"/>
                  </a:lnTo>
                  <a:lnTo>
                    <a:pt x="40" y="16"/>
                  </a:lnTo>
                  <a:lnTo>
                    <a:pt x="40" y="24"/>
                  </a:lnTo>
                  <a:lnTo>
                    <a:pt x="24" y="32"/>
                  </a:lnTo>
                  <a:lnTo>
                    <a:pt x="24" y="32"/>
                  </a:lnTo>
                  <a:lnTo>
                    <a:pt x="8" y="32"/>
                  </a:lnTo>
                  <a:lnTo>
                    <a:pt x="8" y="2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29" name="Freeform 47"/>
            <p:cNvSpPr>
              <a:spLocks/>
            </p:cNvSpPr>
            <p:nvPr/>
          </p:nvSpPr>
          <p:spPr bwMode="auto">
            <a:xfrm>
              <a:off x="2081210" y="1892273"/>
              <a:ext cx="88900" cy="25400"/>
            </a:xfrm>
            <a:custGeom>
              <a:avLst/>
              <a:gdLst/>
              <a:ahLst/>
              <a:cxnLst>
                <a:cxn ang="0">
                  <a:pos x="16" y="16"/>
                </a:cxn>
                <a:cxn ang="0">
                  <a:pos x="8" y="16"/>
                </a:cxn>
                <a:cxn ang="0">
                  <a:pos x="0" y="16"/>
                </a:cxn>
                <a:cxn ang="0">
                  <a:pos x="0" y="16"/>
                </a:cxn>
                <a:cxn ang="0">
                  <a:pos x="0" y="16"/>
                </a:cxn>
                <a:cxn ang="0">
                  <a:pos x="32" y="0"/>
                </a:cxn>
                <a:cxn ang="0">
                  <a:pos x="48" y="0"/>
                </a:cxn>
                <a:cxn ang="0">
                  <a:pos x="56" y="16"/>
                </a:cxn>
                <a:cxn ang="0">
                  <a:pos x="56" y="16"/>
                </a:cxn>
                <a:cxn ang="0">
                  <a:pos x="40" y="16"/>
                </a:cxn>
                <a:cxn ang="0">
                  <a:pos x="40" y="16"/>
                </a:cxn>
                <a:cxn ang="0">
                  <a:pos x="24" y="16"/>
                </a:cxn>
                <a:cxn ang="0">
                  <a:pos x="24" y="16"/>
                </a:cxn>
                <a:cxn ang="0">
                  <a:pos x="16" y="16"/>
                </a:cxn>
              </a:cxnLst>
              <a:rect l="0" t="0" r="r" b="b"/>
              <a:pathLst>
                <a:path w="56" h="16">
                  <a:moveTo>
                    <a:pt x="16" y="16"/>
                  </a:moveTo>
                  <a:lnTo>
                    <a:pt x="8" y="16"/>
                  </a:lnTo>
                  <a:lnTo>
                    <a:pt x="0" y="16"/>
                  </a:lnTo>
                  <a:lnTo>
                    <a:pt x="0" y="16"/>
                  </a:lnTo>
                  <a:lnTo>
                    <a:pt x="0" y="16"/>
                  </a:lnTo>
                  <a:lnTo>
                    <a:pt x="32" y="0"/>
                  </a:lnTo>
                  <a:lnTo>
                    <a:pt x="48" y="0"/>
                  </a:lnTo>
                  <a:lnTo>
                    <a:pt x="56" y="16"/>
                  </a:lnTo>
                  <a:lnTo>
                    <a:pt x="56" y="16"/>
                  </a:lnTo>
                  <a:lnTo>
                    <a:pt x="40" y="16"/>
                  </a:lnTo>
                  <a:lnTo>
                    <a:pt x="40" y="16"/>
                  </a:lnTo>
                  <a:lnTo>
                    <a:pt x="24" y="16"/>
                  </a:lnTo>
                  <a:lnTo>
                    <a:pt x="24" y="16"/>
                  </a:lnTo>
                  <a:lnTo>
                    <a:pt x="16" y="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30" name="Freeform 48"/>
            <p:cNvSpPr>
              <a:spLocks/>
            </p:cNvSpPr>
            <p:nvPr/>
          </p:nvSpPr>
          <p:spPr bwMode="auto">
            <a:xfrm>
              <a:off x="2081210" y="1930373"/>
              <a:ext cx="76200" cy="25400"/>
            </a:xfrm>
            <a:custGeom>
              <a:avLst/>
              <a:gdLst/>
              <a:ahLst/>
              <a:cxnLst>
                <a:cxn ang="0">
                  <a:pos x="40" y="8"/>
                </a:cxn>
                <a:cxn ang="0">
                  <a:pos x="32" y="16"/>
                </a:cxn>
                <a:cxn ang="0">
                  <a:pos x="0" y="16"/>
                </a:cxn>
                <a:cxn ang="0">
                  <a:pos x="0" y="0"/>
                </a:cxn>
                <a:cxn ang="0">
                  <a:pos x="32" y="0"/>
                </a:cxn>
                <a:cxn ang="0">
                  <a:pos x="40" y="0"/>
                </a:cxn>
                <a:cxn ang="0">
                  <a:pos x="48" y="0"/>
                </a:cxn>
                <a:cxn ang="0">
                  <a:pos x="48" y="0"/>
                </a:cxn>
                <a:cxn ang="0">
                  <a:pos x="40" y="8"/>
                </a:cxn>
                <a:cxn ang="0">
                  <a:pos x="32" y="8"/>
                </a:cxn>
                <a:cxn ang="0">
                  <a:pos x="40" y="8"/>
                </a:cxn>
                <a:cxn ang="0">
                  <a:pos x="40" y="8"/>
                </a:cxn>
              </a:cxnLst>
              <a:rect l="0" t="0" r="r" b="b"/>
              <a:pathLst>
                <a:path w="48" h="16">
                  <a:moveTo>
                    <a:pt x="40" y="8"/>
                  </a:moveTo>
                  <a:lnTo>
                    <a:pt x="32" y="16"/>
                  </a:lnTo>
                  <a:lnTo>
                    <a:pt x="0" y="16"/>
                  </a:lnTo>
                  <a:lnTo>
                    <a:pt x="0" y="0"/>
                  </a:lnTo>
                  <a:lnTo>
                    <a:pt x="32" y="0"/>
                  </a:lnTo>
                  <a:lnTo>
                    <a:pt x="40" y="0"/>
                  </a:lnTo>
                  <a:lnTo>
                    <a:pt x="48" y="0"/>
                  </a:lnTo>
                  <a:lnTo>
                    <a:pt x="48" y="0"/>
                  </a:lnTo>
                  <a:lnTo>
                    <a:pt x="40" y="8"/>
                  </a:lnTo>
                  <a:lnTo>
                    <a:pt x="32" y="8"/>
                  </a:lnTo>
                  <a:lnTo>
                    <a:pt x="40" y="8"/>
                  </a:lnTo>
                  <a:lnTo>
                    <a:pt x="40" y="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31" name="Freeform 49"/>
            <p:cNvSpPr>
              <a:spLocks/>
            </p:cNvSpPr>
            <p:nvPr/>
          </p:nvSpPr>
          <p:spPr bwMode="auto">
            <a:xfrm>
              <a:off x="2271709" y="1981172"/>
              <a:ext cx="127000" cy="76199"/>
            </a:xfrm>
            <a:custGeom>
              <a:avLst/>
              <a:gdLst/>
              <a:ahLst/>
              <a:cxnLst>
                <a:cxn ang="0">
                  <a:pos x="0" y="8"/>
                </a:cxn>
                <a:cxn ang="0">
                  <a:pos x="0" y="8"/>
                </a:cxn>
                <a:cxn ang="0">
                  <a:pos x="0" y="8"/>
                </a:cxn>
                <a:cxn ang="0">
                  <a:pos x="0" y="8"/>
                </a:cxn>
                <a:cxn ang="0">
                  <a:pos x="8" y="8"/>
                </a:cxn>
                <a:cxn ang="0">
                  <a:pos x="24" y="24"/>
                </a:cxn>
                <a:cxn ang="0">
                  <a:pos x="32" y="24"/>
                </a:cxn>
                <a:cxn ang="0">
                  <a:pos x="32" y="24"/>
                </a:cxn>
                <a:cxn ang="0">
                  <a:pos x="32" y="24"/>
                </a:cxn>
                <a:cxn ang="0">
                  <a:pos x="24" y="16"/>
                </a:cxn>
                <a:cxn ang="0">
                  <a:pos x="24" y="16"/>
                </a:cxn>
                <a:cxn ang="0">
                  <a:pos x="24" y="8"/>
                </a:cxn>
                <a:cxn ang="0">
                  <a:pos x="24" y="8"/>
                </a:cxn>
                <a:cxn ang="0">
                  <a:pos x="32" y="8"/>
                </a:cxn>
                <a:cxn ang="0">
                  <a:pos x="48" y="24"/>
                </a:cxn>
                <a:cxn ang="0">
                  <a:pos x="48" y="24"/>
                </a:cxn>
                <a:cxn ang="0">
                  <a:pos x="48" y="24"/>
                </a:cxn>
                <a:cxn ang="0">
                  <a:pos x="48" y="8"/>
                </a:cxn>
                <a:cxn ang="0">
                  <a:pos x="48" y="8"/>
                </a:cxn>
                <a:cxn ang="0">
                  <a:pos x="40" y="8"/>
                </a:cxn>
                <a:cxn ang="0">
                  <a:pos x="32" y="8"/>
                </a:cxn>
                <a:cxn ang="0">
                  <a:pos x="32" y="8"/>
                </a:cxn>
                <a:cxn ang="0">
                  <a:pos x="40" y="0"/>
                </a:cxn>
                <a:cxn ang="0">
                  <a:pos x="48" y="0"/>
                </a:cxn>
                <a:cxn ang="0">
                  <a:pos x="56" y="8"/>
                </a:cxn>
                <a:cxn ang="0">
                  <a:pos x="72" y="8"/>
                </a:cxn>
                <a:cxn ang="0">
                  <a:pos x="80" y="8"/>
                </a:cxn>
                <a:cxn ang="0">
                  <a:pos x="80" y="32"/>
                </a:cxn>
                <a:cxn ang="0">
                  <a:pos x="80" y="40"/>
                </a:cxn>
                <a:cxn ang="0">
                  <a:pos x="80" y="40"/>
                </a:cxn>
                <a:cxn ang="0">
                  <a:pos x="72" y="48"/>
                </a:cxn>
                <a:cxn ang="0">
                  <a:pos x="64" y="48"/>
                </a:cxn>
                <a:cxn ang="0">
                  <a:pos x="56" y="48"/>
                </a:cxn>
                <a:cxn ang="0">
                  <a:pos x="48" y="48"/>
                </a:cxn>
                <a:cxn ang="0">
                  <a:pos x="48" y="40"/>
                </a:cxn>
                <a:cxn ang="0">
                  <a:pos x="48" y="40"/>
                </a:cxn>
                <a:cxn ang="0">
                  <a:pos x="48" y="32"/>
                </a:cxn>
                <a:cxn ang="0">
                  <a:pos x="48" y="32"/>
                </a:cxn>
                <a:cxn ang="0">
                  <a:pos x="56" y="32"/>
                </a:cxn>
                <a:cxn ang="0">
                  <a:pos x="56" y="32"/>
                </a:cxn>
                <a:cxn ang="0">
                  <a:pos x="56" y="24"/>
                </a:cxn>
                <a:cxn ang="0">
                  <a:pos x="48" y="24"/>
                </a:cxn>
                <a:cxn ang="0">
                  <a:pos x="32" y="32"/>
                </a:cxn>
                <a:cxn ang="0">
                  <a:pos x="16" y="32"/>
                </a:cxn>
                <a:cxn ang="0">
                  <a:pos x="16" y="24"/>
                </a:cxn>
                <a:cxn ang="0">
                  <a:pos x="16" y="24"/>
                </a:cxn>
                <a:cxn ang="0">
                  <a:pos x="8" y="24"/>
                </a:cxn>
                <a:cxn ang="0">
                  <a:pos x="8" y="24"/>
                </a:cxn>
                <a:cxn ang="0">
                  <a:pos x="8" y="24"/>
                </a:cxn>
                <a:cxn ang="0">
                  <a:pos x="8" y="24"/>
                </a:cxn>
                <a:cxn ang="0">
                  <a:pos x="8" y="24"/>
                </a:cxn>
                <a:cxn ang="0">
                  <a:pos x="0" y="16"/>
                </a:cxn>
                <a:cxn ang="0">
                  <a:pos x="0" y="16"/>
                </a:cxn>
                <a:cxn ang="0">
                  <a:pos x="0" y="8"/>
                </a:cxn>
                <a:cxn ang="0">
                  <a:pos x="0" y="8"/>
                </a:cxn>
                <a:cxn ang="0">
                  <a:pos x="0" y="16"/>
                </a:cxn>
                <a:cxn ang="0">
                  <a:pos x="0" y="16"/>
                </a:cxn>
                <a:cxn ang="0">
                  <a:pos x="0" y="8"/>
                </a:cxn>
              </a:cxnLst>
              <a:rect l="0" t="0" r="r" b="b"/>
              <a:pathLst>
                <a:path w="80" h="48">
                  <a:moveTo>
                    <a:pt x="0" y="8"/>
                  </a:moveTo>
                  <a:lnTo>
                    <a:pt x="0" y="8"/>
                  </a:lnTo>
                  <a:lnTo>
                    <a:pt x="0" y="8"/>
                  </a:lnTo>
                  <a:lnTo>
                    <a:pt x="0" y="8"/>
                  </a:lnTo>
                  <a:lnTo>
                    <a:pt x="8" y="8"/>
                  </a:lnTo>
                  <a:lnTo>
                    <a:pt x="24" y="24"/>
                  </a:lnTo>
                  <a:lnTo>
                    <a:pt x="32" y="24"/>
                  </a:lnTo>
                  <a:lnTo>
                    <a:pt x="32" y="24"/>
                  </a:lnTo>
                  <a:lnTo>
                    <a:pt x="32" y="24"/>
                  </a:lnTo>
                  <a:lnTo>
                    <a:pt x="24" y="16"/>
                  </a:lnTo>
                  <a:lnTo>
                    <a:pt x="24" y="16"/>
                  </a:lnTo>
                  <a:lnTo>
                    <a:pt x="24" y="8"/>
                  </a:lnTo>
                  <a:lnTo>
                    <a:pt x="24" y="8"/>
                  </a:lnTo>
                  <a:lnTo>
                    <a:pt x="32" y="8"/>
                  </a:lnTo>
                  <a:lnTo>
                    <a:pt x="48" y="24"/>
                  </a:lnTo>
                  <a:lnTo>
                    <a:pt x="48" y="24"/>
                  </a:lnTo>
                  <a:lnTo>
                    <a:pt x="48" y="24"/>
                  </a:lnTo>
                  <a:lnTo>
                    <a:pt x="48" y="8"/>
                  </a:lnTo>
                  <a:lnTo>
                    <a:pt x="48" y="8"/>
                  </a:lnTo>
                  <a:lnTo>
                    <a:pt x="40" y="8"/>
                  </a:lnTo>
                  <a:lnTo>
                    <a:pt x="32" y="8"/>
                  </a:lnTo>
                  <a:lnTo>
                    <a:pt x="32" y="8"/>
                  </a:lnTo>
                  <a:lnTo>
                    <a:pt x="40" y="0"/>
                  </a:lnTo>
                  <a:lnTo>
                    <a:pt x="48" y="0"/>
                  </a:lnTo>
                  <a:lnTo>
                    <a:pt x="56" y="8"/>
                  </a:lnTo>
                  <a:lnTo>
                    <a:pt x="72" y="8"/>
                  </a:lnTo>
                  <a:lnTo>
                    <a:pt x="80" y="8"/>
                  </a:lnTo>
                  <a:lnTo>
                    <a:pt x="80" y="32"/>
                  </a:lnTo>
                  <a:lnTo>
                    <a:pt x="80" y="40"/>
                  </a:lnTo>
                  <a:lnTo>
                    <a:pt x="80" y="40"/>
                  </a:lnTo>
                  <a:lnTo>
                    <a:pt x="72" y="48"/>
                  </a:lnTo>
                  <a:lnTo>
                    <a:pt x="64" y="48"/>
                  </a:lnTo>
                  <a:lnTo>
                    <a:pt x="56" y="48"/>
                  </a:lnTo>
                  <a:lnTo>
                    <a:pt x="48" y="48"/>
                  </a:lnTo>
                  <a:lnTo>
                    <a:pt x="48" y="40"/>
                  </a:lnTo>
                  <a:lnTo>
                    <a:pt x="48" y="40"/>
                  </a:lnTo>
                  <a:lnTo>
                    <a:pt x="48" y="32"/>
                  </a:lnTo>
                  <a:lnTo>
                    <a:pt x="48" y="32"/>
                  </a:lnTo>
                  <a:lnTo>
                    <a:pt x="56" y="32"/>
                  </a:lnTo>
                  <a:lnTo>
                    <a:pt x="56" y="32"/>
                  </a:lnTo>
                  <a:lnTo>
                    <a:pt x="56" y="24"/>
                  </a:lnTo>
                  <a:lnTo>
                    <a:pt x="48" y="24"/>
                  </a:lnTo>
                  <a:lnTo>
                    <a:pt x="32" y="32"/>
                  </a:lnTo>
                  <a:lnTo>
                    <a:pt x="16" y="32"/>
                  </a:lnTo>
                  <a:lnTo>
                    <a:pt x="16" y="24"/>
                  </a:lnTo>
                  <a:lnTo>
                    <a:pt x="16" y="24"/>
                  </a:lnTo>
                  <a:lnTo>
                    <a:pt x="8" y="24"/>
                  </a:lnTo>
                  <a:lnTo>
                    <a:pt x="8" y="24"/>
                  </a:lnTo>
                  <a:lnTo>
                    <a:pt x="8" y="24"/>
                  </a:lnTo>
                  <a:lnTo>
                    <a:pt x="8" y="24"/>
                  </a:lnTo>
                  <a:lnTo>
                    <a:pt x="8" y="24"/>
                  </a:lnTo>
                  <a:lnTo>
                    <a:pt x="0" y="16"/>
                  </a:lnTo>
                  <a:lnTo>
                    <a:pt x="0" y="16"/>
                  </a:lnTo>
                  <a:lnTo>
                    <a:pt x="0" y="8"/>
                  </a:lnTo>
                  <a:lnTo>
                    <a:pt x="0" y="8"/>
                  </a:lnTo>
                  <a:lnTo>
                    <a:pt x="0" y="16"/>
                  </a:lnTo>
                  <a:lnTo>
                    <a:pt x="0" y="16"/>
                  </a:lnTo>
                  <a:lnTo>
                    <a:pt x="0" y="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32" name="Freeform 50"/>
            <p:cNvSpPr>
              <a:spLocks/>
            </p:cNvSpPr>
            <p:nvPr/>
          </p:nvSpPr>
          <p:spPr bwMode="auto">
            <a:xfrm>
              <a:off x="2233610" y="1943072"/>
              <a:ext cx="38100" cy="25400"/>
            </a:xfrm>
            <a:custGeom>
              <a:avLst/>
              <a:gdLst/>
              <a:ahLst/>
              <a:cxnLst>
                <a:cxn ang="0">
                  <a:pos x="24" y="8"/>
                </a:cxn>
                <a:cxn ang="0">
                  <a:pos x="24" y="16"/>
                </a:cxn>
                <a:cxn ang="0">
                  <a:pos x="8" y="16"/>
                </a:cxn>
                <a:cxn ang="0">
                  <a:pos x="0" y="0"/>
                </a:cxn>
                <a:cxn ang="0">
                  <a:pos x="0" y="0"/>
                </a:cxn>
                <a:cxn ang="0">
                  <a:pos x="0" y="0"/>
                </a:cxn>
                <a:cxn ang="0">
                  <a:pos x="8" y="0"/>
                </a:cxn>
                <a:cxn ang="0">
                  <a:pos x="16" y="8"/>
                </a:cxn>
                <a:cxn ang="0">
                  <a:pos x="24" y="8"/>
                </a:cxn>
              </a:cxnLst>
              <a:rect l="0" t="0" r="r" b="b"/>
              <a:pathLst>
                <a:path w="24" h="16">
                  <a:moveTo>
                    <a:pt x="24" y="8"/>
                  </a:moveTo>
                  <a:lnTo>
                    <a:pt x="24" y="16"/>
                  </a:lnTo>
                  <a:lnTo>
                    <a:pt x="8" y="16"/>
                  </a:lnTo>
                  <a:lnTo>
                    <a:pt x="0" y="0"/>
                  </a:lnTo>
                  <a:lnTo>
                    <a:pt x="0" y="0"/>
                  </a:lnTo>
                  <a:lnTo>
                    <a:pt x="0" y="0"/>
                  </a:lnTo>
                  <a:lnTo>
                    <a:pt x="8" y="0"/>
                  </a:lnTo>
                  <a:lnTo>
                    <a:pt x="16" y="8"/>
                  </a:lnTo>
                  <a:lnTo>
                    <a:pt x="24" y="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33" name="Freeform 51"/>
            <p:cNvSpPr>
              <a:spLocks/>
            </p:cNvSpPr>
            <p:nvPr/>
          </p:nvSpPr>
          <p:spPr bwMode="auto">
            <a:xfrm>
              <a:off x="2424109" y="2031971"/>
              <a:ext cx="63500" cy="38100"/>
            </a:xfrm>
            <a:custGeom>
              <a:avLst/>
              <a:gdLst/>
              <a:ahLst/>
              <a:cxnLst>
                <a:cxn ang="0">
                  <a:pos x="8" y="8"/>
                </a:cxn>
                <a:cxn ang="0">
                  <a:pos x="16" y="0"/>
                </a:cxn>
                <a:cxn ang="0">
                  <a:pos x="24" y="0"/>
                </a:cxn>
                <a:cxn ang="0">
                  <a:pos x="40" y="8"/>
                </a:cxn>
                <a:cxn ang="0">
                  <a:pos x="40" y="24"/>
                </a:cxn>
                <a:cxn ang="0">
                  <a:pos x="32" y="24"/>
                </a:cxn>
                <a:cxn ang="0">
                  <a:pos x="8" y="16"/>
                </a:cxn>
                <a:cxn ang="0">
                  <a:pos x="0" y="8"/>
                </a:cxn>
                <a:cxn ang="0">
                  <a:pos x="8" y="8"/>
                </a:cxn>
              </a:cxnLst>
              <a:rect l="0" t="0" r="r" b="b"/>
              <a:pathLst>
                <a:path w="40" h="24">
                  <a:moveTo>
                    <a:pt x="8" y="8"/>
                  </a:moveTo>
                  <a:lnTo>
                    <a:pt x="16" y="0"/>
                  </a:lnTo>
                  <a:lnTo>
                    <a:pt x="24" y="0"/>
                  </a:lnTo>
                  <a:lnTo>
                    <a:pt x="40" y="8"/>
                  </a:lnTo>
                  <a:lnTo>
                    <a:pt x="40" y="24"/>
                  </a:lnTo>
                  <a:lnTo>
                    <a:pt x="32" y="24"/>
                  </a:lnTo>
                  <a:lnTo>
                    <a:pt x="8" y="16"/>
                  </a:lnTo>
                  <a:lnTo>
                    <a:pt x="0" y="8"/>
                  </a:lnTo>
                  <a:lnTo>
                    <a:pt x="8" y="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34" name="Freeform 52"/>
            <p:cNvSpPr>
              <a:spLocks/>
            </p:cNvSpPr>
            <p:nvPr/>
          </p:nvSpPr>
          <p:spPr bwMode="auto">
            <a:xfrm>
              <a:off x="2386009" y="1892273"/>
              <a:ext cx="63500" cy="50799"/>
            </a:xfrm>
            <a:custGeom>
              <a:avLst/>
              <a:gdLst/>
              <a:ahLst/>
              <a:cxnLst>
                <a:cxn ang="0">
                  <a:pos x="16" y="24"/>
                </a:cxn>
                <a:cxn ang="0">
                  <a:pos x="16" y="24"/>
                </a:cxn>
                <a:cxn ang="0">
                  <a:pos x="16" y="24"/>
                </a:cxn>
                <a:cxn ang="0">
                  <a:pos x="8" y="16"/>
                </a:cxn>
                <a:cxn ang="0">
                  <a:pos x="0" y="8"/>
                </a:cxn>
                <a:cxn ang="0">
                  <a:pos x="0" y="0"/>
                </a:cxn>
                <a:cxn ang="0">
                  <a:pos x="16" y="0"/>
                </a:cxn>
                <a:cxn ang="0">
                  <a:pos x="16" y="0"/>
                </a:cxn>
                <a:cxn ang="0">
                  <a:pos x="16" y="0"/>
                </a:cxn>
                <a:cxn ang="0">
                  <a:pos x="32" y="0"/>
                </a:cxn>
                <a:cxn ang="0">
                  <a:pos x="32" y="0"/>
                </a:cxn>
                <a:cxn ang="0">
                  <a:pos x="32" y="8"/>
                </a:cxn>
                <a:cxn ang="0">
                  <a:pos x="40" y="8"/>
                </a:cxn>
                <a:cxn ang="0">
                  <a:pos x="40" y="8"/>
                </a:cxn>
                <a:cxn ang="0">
                  <a:pos x="40" y="16"/>
                </a:cxn>
                <a:cxn ang="0">
                  <a:pos x="40" y="24"/>
                </a:cxn>
                <a:cxn ang="0">
                  <a:pos x="40" y="24"/>
                </a:cxn>
                <a:cxn ang="0">
                  <a:pos x="40" y="24"/>
                </a:cxn>
                <a:cxn ang="0">
                  <a:pos x="24" y="32"/>
                </a:cxn>
                <a:cxn ang="0">
                  <a:pos x="16" y="32"/>
                </a:cxn>
                <a:cxn ang="0">
                  <a:pos x="16" y="24"/>
                </a:cxn>
              </a:cxnLst>
              <a:rect l="0" t="0" r="r" b="b"/>
              <a:pathLst>
                <a:path w="40" h="32">
                  <a:moveTo>
                    <a:pt x="16" y="24"/>
                  </a:moveTo>
                  <a:lnTo>
                    <a:pt x="16" y="24"/>
                  </a:lnTo>
                  <a:lnTo>
                    <a:pt x="16" y="24"/>
                  </a:lnTo>
                  <a:lnTo>
                    <a:pt x="8" y="16"/>
                  </a:lnTo>
                  <a:lnTo>
                    <a:pt x="0" y="8"/>
                  </a:lnTo>
                  <a:lnTo>
                    <a:pt x="0" y="0"/>
                  </a:lnTo>
                  <a:lnTo>
                    <a:pt x="16" y="0"/>
                  </a:lnTo>
                  <a:lnTo>
                    <a:pt x="16" y="0"/>
                  </a:lnTo>
                  <a:lnTo>
                    <a:pt x="16" y="0"/>
                  </a:lnTo>
                  <a:lnTo>
                    <a:pt x="32" y="0"/>
                  </a:lnTo>
                  <a:lnTo>
                    <a:pt x="32" y="0"/>
                  </a:lnTo>
                  <a:lnTo>
                    <a:pt x="32" y="8"/>
                  </a:lnTo>
                  <a:lnTo>
                    <a:pt x="40" y="8"/>
                  </a:lnTo>
                  <a:lnTo>
                    <a:pt x="40" y="8"/>
                  </a:lnTo>
                  <a:lnTo>
                    <a:pt x="40" y="16"/>
                  </a:lnTo>
                  <a:lnTo>
                    <a:pt x="40" y="24"/>
                  </a:lnTo>
                  <a:lnTo>
                    <a:pt x="40" y="24"/>
                  </a:lnTo>
                  <a:lnTo>
                    <a:pt x="40" y="24"/>
                  </a:lnTo>
                  <a:lnTo>
                    <a:pt x="24" y="32"/>
                  </a:lnTo>
                  <a:lnTo>
                    <a:pt x="16" y="32"/>
                  </a:lnTo>
                  <a:lnTo>
                    <a:pt x="16" y="2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35" name="Freeform 53"/>
            <p:cNvSpPr>
              <a:spLocks/>
            </p:cNvSpPr>
            <p:nvPr/>
          </p:nvSpPr>
          <p:spPr bwMode="auto">
            <a:xfrm>
              <a:off x="2665410" y="3467049"/>
              <a:ext cx="203200" cy="76199"/>
            </a:xfrm>
            <a:custGeom>
              <a:avLst/>
              <a:gdLst/>
              <a:ahLst/>
              <a:cxnLst>
                <a:cxn ang="0">
                  <a:pos x="128" y="40"/>
                </a:cxn>
                <a:cxn ang="0">
                  <a:pos x="128" y="48"/>
                </a:cxn>
                <a:cxn ang="0">
                  <a:pos x="96" y="40"/>
                </a:cxn>
                <a:cxn ang="0">
                  <a:pos x="88" y="40"/>
                </a:cxn>
                <a:cxn ang="0">
                  <a:pos x="88" y="40"/>
                </a:cxn>
                <a:cxn ang="0">
                  <a:pos x="88" y="40"/>
                </a:cxn>
                <a:cxn ang="0">
                  <a:pos x="88" y="40"/>
                </a:cxn>
                <a:cxn ang="0">
                  <a:pos x="88" y="32"/>
                </a:cxn>
                <a:cxn ang="0">
                  <a:pos x="88" y="32"/>
                </a:cxn>
                <a:cxn ang="0">
                  <a:pos x="80" y="24"/>
                </a:cxn>
                <a:cxn ang="0">
                  <a:pos x="72" y="24"/>
                </a:cxn>
                <a:cxn ang="0">
                  <a:pos x="72" y="24"/>
                </a:cxn>
                <a:cxn ang="0">
                  <a:pos x="64" y="24"/>
                </a:cxn>
                <a:cxn ang="0">
                  <a:pos x="56" y="16"/>
                </a:cxn>
                <a:cxn ang="0">
                  <a:pos x="48" y="16"/>
                </a:cxn>
                <a:cxn ang="0">
                  <a:pos x="32" y="16"/>
                </a:cxn>
                <a:cxn ang="0">
                  <a:pos x="32" y="16"/>
                </a:cxn>
                <a:cxn ang="0">
                  <a:pos x="32" y="8"/>
                </a:cxn>
                <a:cxn ang="0">
                  <a:pos x="32" y="8"/>
                </a:cxn>
                <a:cxn ang="0">
                  <a:pos x="32" y="8"/>
                </a:cxn>
                <a:cxn ang="0">
                  <a:pos x="32" y="8"/>
                </a:cxn>
                <a:cxn ang="0">
                  <a:pos x="24" y="8"/>
                </a:cxn>
                <a:cxn ang="0">
                  <a:pos x="16" y="8"/>
                </a:cxn>
                <a:cxn ang="0">
                  <a:pos x="0" y="16"/>
                </a:cxn>
                <a:cxn ang="0">
                  <a:pos x="0" y="16"/>
                </a:cxn>
                <a:cxn ang="0">
                  <a:pos x="0" y="16"/>
                </a:cxn>
                <a:cxn ang="0">
                  <a:pos x="8" y="0"/>
                </a:cxn>
                <a:cxn ang="0">
                  <a:pos x="48" y="0"/>
                </a:cxn>
                <a:cxn ang="0">
                  <a:pos x="72" y="8"/>
                </a:cxn>
                <a:cxn ang="0">
                  <a:pos x="80" y="8"/>
                </a:cxn>
                <a:cxn ang="0">
                  <a:pos x="80" y="16"/>
                </a:cxn>
                <a:cxn ang="0">
                  <a:pos x="96" y="24"/>
                </a:cxn>
                <a:cxn ang="0">
                  <a:pos x="112" y="24"/>
                </a:cxn>
                <a:cxn ang="0">
                  <a:pos x="112" y="24"/>
                </a:cxn>
                <a:cxn ang="0">
                  <a:pos x="112" y="32"/>
                </a:cxn>
                <a:cxn ang="0">
                  <a:pos x="112" y="32"/>
                </a:cxn>
                <a:cxn ang="0">
                  <a:pos x="120" y="32"/>
                </a:cxn>
                <a:cxn ang="0">
                  <a:pos x="120" y="32"/>
                </a:cxn>
                <a:cxn ang="0">
                  <a:pos x="128" y="40"/>
                </a:cxn>
                <a:cxn ang="0">
                  <a:pos x="128" y="40"/>
                </a:cxn>
              </a:cxnLst>
              <a:rect l="0" t="0" r="r" b="b"/>
              <a:pathLst>
                <a:path w="128" h="48">
                  <a:moveTo>
                    <a:pt x="128" y="40"/>
                  </a:moveTo>
                  <a:lnTo>
                    <a:pt x="128" y="48"/>
                  </a:lnTo>
                  <a:lnTo>
                    <a:pt x="96" y="40"/>
                  </a:lnTo>
                  <a:lnTo>
                    <a:pt x="88" y="40"/>
                  </a:lnTo>
                  <a:lnTo>
                    <a:pt x="88" y="40"/>
                  </a:lnTo>
                  <a:lnTo>
                    <a:pt x="88" y="40"/>
                  </a:lnTo>
                  <a:lnTo>
                    <a:pt x="88" y="40"/>
                  </a:lnTo>
                  <a:lnTo>
                    <a:pt x="88" y="32"/>
                  </a:lnTo>
                  <a:lnTo>
                    <a:pt x="88" y="32"/>
                  </a:lnTo>
                  <a:lnTo>
                    <a:pt x="80" y="24"/>
                  </a:lnTo>
                  <a:lnTo>
                    <a:pt x="72" y="24"/>
                  </a:lnTo>
                  <a:lnTo>
                    <a:pt x="72" y="24"/>
                  </a:lnTo>
                  <a:lnTo>
                    <a:pt x="64" y="24"/>
                  </a:lnTo>
                  <a:lnTo>
                    <a:pt x="56" y="16"/>
                  </a:lnTo>
                  <a:lnTo>
                    <a:pt x="48" y="16"/>
                  </a:lnTo>
                  <a:lnTo>
                    <a:pt x="32" y="16"/>
                  </a:lnTo>
                  <a:lnTo>
                    <a:pt x="32" y="16"/>
                  </a:lnTo>
                  <a:lnTo>
                    <a:pt x="32" y="8"/>
                  </a:lnTo>
                  <a:lnTo>
                    <a:pt x="32" y="8"/>
                  </a:lnTo>
                  <a:lnTo>
                    <a:pt x="32" y="8"/>
                  </a:lnTo>
                  <a:lnTo>
                    <a:pt x="32" y="8"/>
                  </a:lnTo>
                  <a:lnTo>
                    <a:pt x="24" y="8"/>
                  </a:lnTo>
                  <a:lnTo>
                    <a:pt x="16" y="8"/>
                  </a:lnTo>
                  <a:lnTo>
                    <a:pt x="0" y="16"/>
                  </a:lnTo>
                  <a:lnTo>
                    <a:pt x="0" y="16"/>
                  </a:lnTo>
                  <a:lnTo>
                    <a:pt x="0" y="16"/>
                  </a:lnTo>
                  <a:lnTo>
                    <a:pt x="8" y="0"/>
                  </a:lnTo>
                  <a:lnTo>
                    <a:pt x="48" y="0"/>
                  </a:lnTo>
                  <a:lnTo>
                    <a:pt x="72" y="8"/>
                  </a:lnTo>
                  <a:lnTo>
                    <a:pt x="80" y="8"/>
                  </a:lnTo>
                  <a:lnTo>
                    <a:pt x="80" y="16"/>
                  </a:lnTo>
                  <a:lnTo>
                    <a:pt x="96" y="24"/>
                  </a:lnTo>
                  <a:lnTo>
                    <a:pt x="112" y="24"/>
                  </a:lnTo>
                  <a:lnTo>
                    <a:pt x="112" y="24"/>
                  </a:lnTo>
                  <a:lnTo>
                    <a:pt x="112" y="32"/>
                  </a:lnTo>
                  <a:lnTo>
                    <a:pt x="112" y="32"/>
                  </a:lnTo>
                  <a:lnTo>
                    <a:pt x="120" y="32"/>
                  </a:lnTo>
                  <a:lnTo>
                    <a:pt x="120" y="32"/>
                  </a:lnTo>
                  <a:lnTo>
                    <a:pt x="128" y="40"/>
                  </a:lnTo>
                  <a:lnTo>
                    <a:pt x="128" y="4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36" name="Freeform 54"/>
            <p:cNvSpPr>
              <a:spLocks/>
            </p:cNvSpPr>
            <p:nvPr/>
          </p:nvSpPr>
          <p:spPr bwMode="auto">
            <a:xfrm>
              <a:off x="2868609" y="3530548"/>
              <a:ext cx="127000" cy="50799"/>
            </a:xfrm>
            <a:custGeom>
              <a:avLst/>
              <a:gdLst/>
              <a:ahLst/>
              <a:cxnLst>
                <a:cxn ang="0">
                  <a:pos x="72" y="16"/>
                </a:cxn>
                <a:cxn ang="0">
                  <a:pos x="80" y="24"/>
                </a:cxn>
                <a:cxn ang="0">
                  <a:pos x="80" y="24"/>
                </a:cxn>
                <a:cxn ang="0">
                  <a:pos x="64" y="24"/>
                </a:cxn>
                <a:cxn ang="0">
                  <a:pos x="64" y="24"/>
                </a:cxn>
                <a:cxn ang="0">
                  <a:pos x="56" y="24"/>
                </a:cxn>
                <a:cxn ang="0">
                  <a:pos x="48" y="24"/>
                </a:cxn>
                <a:cxn ang="0">
                  <a:pos x="48" y="24"/>
                </a:cxn>
                <a:cxn ang="0">
                  <a:pos x="40" y="32"/>
                </a:cxn>
                <a:cxn ang="0">
                  <a:pos x="32" y="24"/>
                </a:cxn>
                <a:cxn ang="0">
                  <a:pos x="32" y="24"/>
                </a:cxn>
                <a:cxn ang="0">
                  <a:pos x="24" y="24"/>
                </a:cxn>
                <a:cxn ang="0">
                  <a:pos x="16" y="24"/>
                </a:cxn>
                <a:cxn ang="0">
                  <a:pos x="16" y="24"/>
                </a:cxn>
                <a:cxn ang="0">
                  <a:pos x="8" y="24"/>
                </a:cxn>
                <a:cxn ang="0">
                  <a:pos x="8" y="24"/>
                </a:cxn>
                <a:cxn ang="0">
                  <a:pos x="8" y="24"/>
                </a:cxn>
                <a:cxn ang="0">
                  <a:pos x="8" y="24"/>
                </a:cxn>
                <a:cxn ang="0">
                  <a:pos x="0" y="24"/>
                </a:cxn>
                <a:cxn ang="0">
                  <a:pos x="0" y="24"/>
                </a:cxn>
                <a:cxn ang="0">
                  <a:pos x="8" y="16"/>
                </a:cxn>
                <a:cxn ang="0">
                  <a:pos x="16" y="16"/>
                </a:cxn>
                <a:cxn ang="0">
                  <a:pos x="24" y="16"/>
                </a:cxn>
                <a:cxn ang="0">
                  <a:pos x="24" y="16"/>
                </a:cxn>
                <a:cxn ang="0">
                  <a:pos x="24" y="8"/>
                </a:cxn>
                <a:cxn ang="0">
                  <a:pos x="24" y="8"/>
                </a:cxn>
                <a:cxn ang="0">
                  <a:pos x="16" y="8"/>
                </a:cxn>
                <a:cxn ang="0">
                  <a:pos x="16" y="0"/>
                </a:cxn>
                <a:cxn ang="0">
                  <a:pos x="16" y="0"/>
                </a:cxn>
                <a:cxn ang="0">
                  <a:pos x="24" y="8"/>
                </a:cxn>
                <a:cxn ang="0">
                  <a:pos x="40" y="0"/>
                </a:cxn>
                <a:cxn ang="0">
                  <a:pos x="48" y="0"/>
                </a:cxn>
                <a:cxn ang="0">
                  <a:pos x="64" y="8"/>
                </a:cxn>
                <a:cxn ang="0">
                  <a:pos x="64" y="16"/>
                </a:cxn>
                <a:cxn ang="0">
                  <a:pos x="64" y="16"/>
                </a:cxn>
                <a:cxn ang="0">
                  <a:pos x="72" y="16"/>
                </a:cxn>
              </a:cxnLst>
              <a:rect l="0" t="0" r="r" b="b"/>
              <a:pathLst>
                <a:path w="80" h="32">
                  <a:moveTo>
                    <a:pt x="72" y="16"/>
                  </a:moveTo>
                  <a:lnTo>
                    <a:pt x="80" y="24"/>
                  </a:lnTo>
                  <a:lnTo>
                    <a:pt x="80" y="24"/>
                  </a:lnTo>
                  <a:lnTo>
                    <a:pt x="64" y="24"/>
                  </a:lnTo>
                  <a:lnTo>
                    <a:pt x="64" y="24"/>
                  </a:lnTo>
                  <a:lnTo>
                    <a:pt x="56" y="24"/>
                  </a:lnTo>
                  <a:lnTo>
                    <a:pt x="48" y="24"/>
                  </a:lnTo>
                  <a:lnTo>
                    <a:pt x="48" y="24"/>
                  </a:lnTo>
                  <a:lnTo>
                    <a:pt x="40" y="32"/>
                  </a:lnTo>
                  <a:lnTo>
                    <a:pt x="32" y="24"/>
                  </a:lnTo>
                  <a:lnTo>
                    <a:pt x="32" y="24"/>
                  </a:lnTo>
                  <a:lnTo>
                    <a:pt x="24" y="24"/>
                  </a:lnTo>
                  <a:lnTo>
                    <a:pt x="16" y="24"/>
                  </a:lnTo>
                  <a:lnTo>
                    <a:pt x="16" y="24"/>
                  </a:lnTo>
                  <a:lnTo>
                    <a:pt x="8" y="24"/>
                  </a:lnTo>
                  <a:lnTo>
                    <a:pt x="8" y="24"/>
                  </a:lnTo>
                  <a:lnTo>
                    <a:pt x="8" y="24"/>
                  </a:lnTo>
                  <a:lnTo>
                    <a:pt x="8" y="24"/>
                  </a:lnTo>
                  <a:lnTo>
                    <a:pt x="0" y="24"/>
                  </a:lnTo>
                  <a:lnTo>
                    <a:pt x="0" y="24"/>
                  </a:lnTo>
                  <a:lnTo>
                    <a:pt x="8" y="16"/>
                  </a:lnTo>
                  <a:lnTo>
                    <a:pt x="16" y="16"/>
                  </a:lnTo>
                  <a:lnTo>
                    <a:pt x="24" y="16"/>
                  </a:lnTo>
                  <a:lnTo>
                    <a:pt x="24" y="16"/>
                  </a:lnTo>
                  <a:lnTo>
                    <a:pt x="24" y="8"/>
                  </a:lnTo>
                  <a:lnTo>
                    <a:pt x="24" y="8"/>
                  </a:lnTo>
                  <a:lnTo>
                    <a:pt x="16" y="8"/>
                  </a:lnTo>
                  <a:lnTo>
                    <a:pt x="16" y="0"/>
                  </a:lnTo>
                  <a:lnTo>
                    <a:pt x="16" y="0"/>
                  </a:lnTo>
                  <a:lnTo>
                    <a:pt x="24" y="8"/>
                  </a:lnTo>
                  <a:lnTo>
                    <a:pt x="40" y="0"/>
                  </a:lnTo>
                  <a:lnTo>
                    <a:pt x="48" y="0"/>
                  </a:lnTo>
                  <a:lnTo>
                    <a:pt x="64" y="8"/>
                  </a:lnTo>
                  <a:lnTo>
                    <a:pt x="64" y="16"/>
                  </a:lnTo>
                  <a:lnTo>
                    <a:pt x="64" y="16"/>
                  </a:lnTo>
                  <a:lnTo>
                    <a:pt x="72" y="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37" name="Freeform 55"/>
            <p:cNvSpPr>
              <a:spLocks/>
            </p:cNvSpPr>
            <p:nvPr/>
          </p:nvSpPr>
          <p:spPr bwMode="auto">
            <a:xfrm>
              <a:off x="7200890" y="4775129"/>
              <a:ext cx="76200" cy="76199"/>
            </a:xfrm>
            <a:custGeom>
              <a:avLst/>
              <a:gdLst/>
              <a:ahLst/>
              <a:cxnLst>
                <a:cxn ang="0">
                  <a:pos x="32" y="8"/>
                </a:cxn>
                <a:cxn ang="0">
                  <a:pos x="40" y="0"/>
                </a:cxn>
                <a:cxn ang="0">
                  <a:pos x="40" y="0"/>
                </a:cxn>
                <a:cxn ang="0">
                  <a:pos x="48" y="8"/>
                </a:cxn>
                <a:cxn ang="0">
                  <a:pos x="48" y="24"/>
                </a:cxn>
                <a:cxn ang="0">
                  <a:pos x="32" y="48"/>
                </a:cxn>
                <a:cxn ang="0">
                  <a:pos x="16" y="48"/>
                </a:cxn>
                <a:cxn ang="0">
                  <a:pos x="0" y="16"/>
                </a:cxn>
                <a:cxn ang="0">
                  <a:pos x="0" y="8"/>
                </a:cxn>
                <a:cxn ang="0">
                  <a:pos x="8" y="8"/>
                </a:cxn>
                <a:cxn ang="0">
                  <a:pos x="16" y="8"/>
                </a:cxn>
                <a:cxn ang="0">
                  <a:pos x="32" y="8"/>
                </a:cxn>
              </a:cxnLst>
              <a:rect l="0" t="0" r="r" b="b"/>
              <a:pathLst>
                <a:path w="48" h="48">
                  <a:moveTo>
                    <a:pt x="32" y="8"/>
                  </a:moveTo>
                  <a:lnTo>
                    <a:pt x="40" y="0"/>
                  </a:lnTo>
                  <a:lnTo>
                    <a:pt x="40" y="0"/>
                  </a:lnTo>
                  <a:lnTo>
                    <a:pt x="48" y="8"/>
                  </a:lnTo>
                  <a:lnTo>
                    <a:pt x="48" y="24"/>
                  </a:lnTo>
                  <a:lnTo>
                    <a:pt x="32" y="48"/>
                  </a:lnTo>
                  <a:lnTo>
                    <a:pt x="16" y="48"/>
                  </a:lnTo>
                  <a:lnTo>
                    <a:pt x="0" y="16"/>
                  </a:lnTo>
                  <a:lnTo>
                    <a:pt x="0" y="8"/>
                  </a:lnTo>
                  <a:lnTo>
                    <a:pt x="8" y="8"/>
                  </a:lnTo>
                  <a:lnTo>
                    <a:pt x="16" y="8"/>
                  </a:lnTo>
                  <a:lnTo>
                    <a:pt x="32" y="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38" name="Freeform 56"/>
            <p:cNvSpPr>
              <a:spLocks/>
            </p:cNvSpPr>
            <p:nvPr/>
          </p:nvSpPr>
          <p:spPr bwMode="auto">
            <a:xfrm>
              <a:off x="7632689" y="4787829"/>
              <a:ext cx="152400" cy="139698"/>
            </a:xfrm>
            <a:custGeom>
              <a:avLst/>
              <a:gdLst/>
              <a:ahLst/>
              <a:cxnLst>
                <a:cxn ang="0">
                  <a:pos x="56" y="16"/>
                </a:cxn>
                <a:cxn ang="0">
                  <a:pos x="64" y="16"/>
                </a:cxn>
                <a:cxn ang="0">
                  <a:pos x="64" y="16"/>
                </a:cxn>
                <a:cxn ang="0">
                  <a:pos x="64" y="8"/>
                </a:cxn>
                <a:cxn ang="0">
                  <a:pos x="64" y="0"/>
                </a:cxn>
                <a:cxn ang="0">
                  <a:pos x="80" y="0"/>
                </a:cxn>
                <a:cxn ang="0">
                  <a:pos x="80" y="8"/>
                </a:cxn>
                <a:cxn ang="0">
                  <a:pos x="88" y="0"/>
                </a:cxn>
                <a:cxn ang="0">
                  <a:pos x="88" y="0"/>
                </a:cxn>
                <a:cxn ang="0">
                  <a:pos x="96" y="8"/>
                </a:cxn>
                <a:cxn ang="0">
                  <a:pos x="96" y="8"/>
                </a:cxn>
                <a:cxn ang="0">
                  <a:pos x="96" y="8"/>
                </a:cxn>
                <a:cxn ang="0">
                  <a:pos x="88" y="24"/>
                </a:cxn>
                <a:cxn ang="0">
                  <a:pos x="80" y="32"/>
                </a:cxn>
                <a:cxn ang="0">
                  <a:pos x="80" y="32"/>
                </a:cxn>
                <a:cxn ang="0">
                  <a:pos x="80" y="40"/>
                </a:cxn>
                <a:cxn ang="0">
                  <a:pos x="80" y="40"/>
                </a:cxn>
                <a:cxn ang="0">
                  <a:pos x="80" y="48"/>
                </a:cxn>
                <a:cxn ang="0">
                  <a:pos x="64" y="48"/>
                </a:cxn>
                <a:cxn ang="0">
                  <a:pos x="64" y="48"/>
                </a:cxn>
                <a:cxn ang="0">
                  <a:pos x="64" y="48"/>
                </a:cxn>
                <a:cxn ang="0">
                  <a:pos x="56" y="56"/>
                </a:cxn>
                <a:cxn ang="0">
                  <a:pos x="56" y="72"/>
                </a:cxn>
                <a:cxn ang="0">
                  <a:pos x="48" y="80"/>
                </a:cxn>
                <a:cxn ang="0">
                  <a:pos x="48" y="80"/>
                </a:cxn>
                <a:cxn ang="0">
                  <a:pos x="40" y="88"/>
                </a:cxn>
                <a:cxn ang="0">
                  <a:pos x="24" y="88"/>
                </a:cxn>
                <a:cxn ang="0">
                  <a:pos x="16" y="88"/>
                </a:cxn>
                <a:cxn ang="0">
                  <a:pos x="0" y="80"/>
                </a:cxn>
                <a:cxn ang="0">
                  <a:pos x="0" y="80"/>
                </a:cxn>
                <a:cxn ang="0">
                  <a:pos x="0" y="80"/>
                </a:cxn>
                <a:cxn ang="0">
                  <a:pos x="0" y="72"/>
                </a:cxn>
                <a:cxn ang="0">
                  <a:pos x="16" y="56"/>
                </a:cxn>
                <a:cxn ang="0">
                  <a:pos x="24" y="48"/>
                </a:cxn>
                <a:cxn ang="0">
                  <a:pos x="32" y="48"/>
                </a:cxn>
                <a:cxn ang="0">
                  <a:pos x="48" y="32"/>
                </a:cxn>
                <a:cxn ang="0">
                  <a:pos x="56" y="32"/>
                </a:cxn>
                <a:cxn ang="0">
                  <a:pos x="56" y="24"/>
                </a:cxn>
                <a:cxn ang="0">
                  <a:pos x="56" y="24"/>
                </a:cxn>
                <a:cxn ang="0">
                  <a:pos x="56" y="16"/>
                </a:cxn>
              </a:cxnLst>
              <a:rect l="0" t="0" r="r" b="b"/>
              <a:pathLst>
                <a:path w="96" h="88">
                  <a:moveTo>
                    <a:pt x="56" y="16"/>
                  </a:moveTo>
                  <a:lnTo>
                    <a:pt x="64" y="16"/>
                  </a:lnTo>
                  <a:lnTo>
                    <a:pt x="64" y="16"/>
                  </a:lnTo>
                  <a:lnTo>
                    <a:pt x="64" y="8"/>
                  </a:lnTo>
                  <a:lnTo>
                    <a:pt x="64" y="0"/>
                  </a:lnTo>
                  <a:lnTo>
                    <a:pt x="80" y="0"/>
                  </a:lnTo>
                  <a:lnTo>
                    <a:pt x="80" y="8"/>
                  </a:lnTo>
                  <a:lnTo>
                    <a:pt x="88" y="0"/>
                  </a:lnTo>
                  <a:lnTo>
                    <a:pt x="88" y="0"/>
                  </a:lnTo>
                  <a:lnTo>
                    <a:pt x="96" y="8"/>
                  </a:lnTo>
                  <a:lnTo>
                    <a:pt x="96" y="8"/>
                  </a:lnTo>
                  <a:lnTo>
                    <a:pt x="96" y="8"/>
                  </a:lnTo>
                  <a:lnTo>
                    <a:pt x="88" y="24"/>
                  </a:lnTo>
                  <a:lnTo>
                    <a:pt x="80" y="32"/>
                  </a:lnTo>
                  <a:lnTo>
                    <a:pt x="80" y="32"/>
                  </a:lnTo>
                  <a:lnTo>
                    <a:pt x="80" y="40"/>
                  </a:lnTo>
                  <a:lnTo>
                    <a:pt x="80" y="40"/>
                  </a:lnTo>
                  <a:lnTo>
                    <a:pt x="80" y="48"/>
                  </a:lnTo>
                  <a:lnTo>
                    <a:pt x="64" y="48"/>
                  </a:lnTo>
                  <a:lnTo>
                    <a:pt x="64" y="48"/>
                  </a:lnTo>
                  <a:lnTo>
                    <a:pt x="64" y="48"/>
                  </a:lnTo>
                  <a:lnTo>
                    <a:pt x="56" y="56"/>
                  </a:lnTo>
                  <a:lnTo>
                    <a:pt x="56" y="72"/>
                  </a:lnTo>
                  <a:lnTo>
                    <a:pt x="48" y="80"/>
                  </a:lnTo>
                  <a:lnTo>
                    <a:pt x="48" y="80"/>
                  </a:lnTo>
                  <a:lnTo>
                    <a:pt x="40" y="88"/>
                  </a:lnTo>
                  <a:lnTo>
                    <a:pt x="24" y="88"/>
                  </a:lnTo>
                  <a:lnTo>
                    <a:pt x="16" y="88"/>
                  </a:lnTo>
                  <a:lnTo>
                    <a:pt x="0" y="80"/>
                  </a:lnTo>
                  <a:lnTo>
                    <a:pt x="0" y="80"/>
                  </a:lnTo>
                  <a:lnTo>
                    <a:pt x="0" y="80"/>
                  </a:lnTo>
                  <a:lnTo>
                    <a:pt x="0" y="72"/>
                  </a:lnTo>
                  <a:lnTo>
                    <a:pt x="16" y="56"/>
                  </a:lnTo>
                  <a:lnTo>
                    <a:pt x="24" y="48"/>
                  </a:lnTo>
                  <a:lnTo>
                    <a:pt x="32" y="48"/>
                  </a:lnTo>
                  <a:lnTo>
                    <a:pt x="48" y="32"/>
                  </a:lnTo>
                  <a:lnTo>
                    <a:pt x="56" y="32"/>
                  </a:lnTo>
                  <a:lnTo>
                    <a:pt x="56" y="24"/>
                  </a:lnTo>
                  <a:lnTo>
                    <a:pt x="56" y="24"/>
                  </a:lnTo>
                  <a:lnTo>
                    <a:pt x="56" y="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39" name="Freeform 57"/>
            <p:cNvSpPr>
              <a:spLocks/>
            </p:cNvSpPr>
            <p:nvPr/>
          </p:nvSpPr>
          <p:spPr bwMode="auto">
            <a:xfrm>
              <a:off x="7759690" y="4635432"/>
              <a:ext cx="114300" cy="165097"/>
            </a:xfrm>
            <a:custGeom>
              <a:avLst/>
              <a:gdLst/>
              <a:ahLst/>
              <a:cxnLst>
                <a:cxn ang="0">
                  <a:pos x="16" y="40"/>
                </a:cxn>
                <a:cxn ang="0">
                  <a:pos x="16" y="32"/>
                </a:cxn>
                <a:cxn ang="0">
                  <a:pos x="8" y="24"/>
                </a:cxn>
                <a:cxn ang="0">
                  <a:pos x="0" y="16"/>
                </a:cxn>
                <a:cxn ang="0">
                  <a:pos x="0" y="0"/>
                </a:cxn>
                <a:cxn ang="0">
                  <a:pos x="16" y="16"/>
                </a:cxn>
                <a:cxn ang="0">
                  <a:pos x="16" y="16"/>
                </a:cxn>
                <a:cxn ang="0">
                  <a:pos x="16" y="24"/>
                </a:cxn>
                <a:cxn ang="0">
                  <a:pos x="16" y="24"/>
                </a:cxn>
                <a:cxn ang="0">
                  <a:pos x="16" y="24"/>
                </a:cxn>
                <a:cxn ang="0">
                  <a:pos x="16" y="32"/>
                </a:cxn>
                <a:cxn ang="0">
                  <a:pos x="24" y="40"/>
                </a:cxn>
                <a:cxn ang="0">
                  <a:pos x="24" y="40"/>
                </a:cxn>
                <a:cxn ang="0">
                  <a:pos x="24" y="32"/>
                </a:cxn>
                <a:cxn ang="0">
                  <a:pos x="32" y="32"/>
                </a:cxn>
                <a:cxn ang="0">
                  <a:pos x="32" y="32"/>
                </a:cxn>
                <a:cxn ang="0">
                  <a:pos x="32" y="32"/>
                </a:cxn>
                <a:cxn ang="0">
                  <a:pos x="32" y="48"/>
                </a:cxn>
                <a:cxn ang="0">
                  <a:pos x="56" y="48"/>
                </a:cxn>
                <a:cxn ang="0">
                  <a:pos x="64" y="48"/>
                </a:cxn>
                <a:cxn ang="0">
                  <a:pos x="72" y="48"/>
                </a:cxn>
                <a:cxn ang="0">
                  <a:pos x="64" y="56"/>
                </a:cxn>
                <a:cxn ang="0">
                  <a:pos x="64" y="64"/>
                </a:cxn>
                <a:cxn ang="0">
                  <a:pos x="64" y="72"/>
                </a:cxn>
                <a:cxn ang="0">
                  <a:pos x="64" y="72"/>
                </a:cxn>
                <a:cxn ang="0">
                  <a:pos x="56" y="72"/>
                </a:cxn>
                <a:cxn ang="0">
                  <a:pos x="56" y="72"/>
                </a:cxn>
                <a:cxn ang="0">
                  <a:pos x="48" y="72"/>
                </a:cxn>
                <a:cxn ang="0">
                  <a:pos x="48" y="80"/>
                </a:cxn>
                <a:cxn ang="0">
                  <a:pos x="48" y="80"/>
                </a:cxn>
                <a:cxn ang="0">
                  <a:pos x="48" y="80"/>
                </a:cxn>
                <a:cxn ang="0">
                  <a:pos x="48" y="88"/>
                </a:cxn>
                <a:cxn ang="0">
                  <a:pos x="40" y="96"/>
                </a:cxn>
                <a:cxn ang="0">
                  <a:pos x="32" y="104"/>
                </a:cxn>
                <a:cxn ang="0">
                  <a:pos x="24" y="104"/>
                </a:cxn>
                <a:cxn ang="0">
                  <a:pos x="24" y="88"/>
                </a:cxn>
                <a:cxn ang="0">
                  <a:pos x="24" y="80"/>
                </a:cxn>
                <a:cxn ang="0">
                  <a:pos x="8" y="80"/>
                </a:cxn>
                <a:cxn ang="0">
                  <a:pos x="16" y="72"/>
                </a:cxn>
                <a:cxn ang="0">
                  <a:pos x="24" y="64"/>
                </a:cxn>
                <a:cxn ang="0">
                  <a:pos x="24" y="40"/>
                </a:cxn>
                <a:cxn ang="0">
                  <a:pos x="16" y="40"/>
                </a:cxn>
                <a:cxn ang="0">
                  <a:pos x="24" y="40"/>
                </a:cxn>
                <a:cxn ang="0">
                  <a:pos x="24" y="40"/>
                </a:cxn>
                <a:cxn ang="0">
                  <a:pos x="16" y="40"/>
                </a:cxn>
              </a:cxnLst>
              <a:rect l="0" t="0" r="r" b="b"/>
              <a:pathLst>
                <a:path w="72" h="104">
                  <a:moveTo>
                    <a:pt x="16" y="40"/>
                  </a:moveTo>
                  <a:lnTo>
                    <a:pt x="16" y="32"/>
                  </a:lnTo>
                  <a:lnTo>
                    <a:pt x="8" y="24"/>
                  </a:lnTo>
                  <a:lnTo>
                    <a:pt x="0" y="16"/>
                  </a:lnTo>
                  <a:lnTo>
                    <a:pt x="0" y="0"/>
                  </a:lnTo>
                  <a:lnTo>
                    <a:pt x="16" y="16"/>
                  </a:lnTo>
                  <a:lnTo>
                    <a:pt x="16" y="16"/>
                  </a:lnTo>
                  <a:lnTo>
                    <a:pt x="16" y="24"/>
                  </a:lnTo>
                  <a:lnTo>
                    <a:pt x="16" y="24"/>
                  </a:lnTo>
                  <a:lnTo>
                    <a:pt x="16" y="24"/>
                  </a:lnTo>
                  <a:lnTo>
                    <a:pt x="16" y="32"/>
                  </a:lnTo>
                  <a:lnTo>
                    <a:pt x="24" y="40"/>
                  </a:lnTo>
                  <a:lnTo>
                    <a:pt x="24" y="40"/>
                  </a:lnTo>
                  <a:lnTo>
                    <a:pt x="24" y="32"/>
                  </a:lnTo>
                  <a:lnTo>
                    <a:pt x="32" y="32"/>
                  </a:lnTo>
                  <a:lnTo>
                    <a:pt x="32" y="32"/>
                  </a:lnTo>
                  <a:lnTo>
                    <a:pt x="32" y="32"/>
                  </a:lnTo>
                  <a:lnTo>
                    <a:pt x="32" y="48"/>
                  </a:lnTo>
                  <a:lnTo>
                    <a:pt x="56" y="48"/>
                  </a:lnTo>
                  <a:lnTo>
                    <a:pt x="64" y="48"/>
                  </a:lnTo>
                  <a:lnTo>
                    <a:pt x="72" y="48"/>
                  </a:lnTo>
                  <a:lnTo>
                    <a:pt x="64" y="56"/>
                  </a:lnTo>
                  <a:lnTo>
                    <a:pt x="64" y="64"/>
                  </a:lnTo>
                  <a:lnTo>
                    <a:pt x="64" y="72"/>
                  </a:lnTo>
                  <a:lnTo>
                    <a:pt x="64" y="72"/>
                  </a:lnTo>
                  <a:lnTo>
                    <a:pt x="56" y="72"/>
                  </a:lnTo>
                  <a:lnTo>
                    <a:pt x="56" y="72"/>
                  </a:lnTo>
                  <a:lnTo>
                    <a:pt x="48" y="72"/>
                  </a:lnTo>
                  <a:lnTo>
                    <a:pt x="48" y="80"/>
                  </a:lnTo>
                  <a:lnTo>
                    <a:pt x="48" y="80"/>
                  </a:lnTo>
                  <a:lnTo>
                    <a:pt x="48" y="80"/>
                  </a:lnTo>
                  <a:lnTo>
                    <a:pt x="48" y="88"/>
                  </a:lnTo>
                  <a:lnTo>
                    <a:pt x="40" y="96"/>
                  </a:lnTo>
                  <a:lnTo>
                    <a:pt x="32" y="104"/>
                  </a:lnTo>
                  <a:lnTo>
                    <a:pt x="24" y="104"/>
                  </a:lnTo>
                  <a:lnTo>
                    <a:pt x="24" y="88"/>
                  </a:lnTo>
                  <a:lnTo>
                    <a:pt x="24" y="80"/>
                  </a:lnTo>
                  <a:lnTo>
                    <a:pt x="8" y="80"/>
                  </a:lnTo>
                  <a:lnTo>
                    <a:pt x="16" y="72"/>
                  </a:lnTo>
                  <a:lnTo>
                    <a:pt x="24" y="64"/>
                  </a:lnTo>
                  <a:lnTo>
                    <a:pt x="24" y="40"/>
                  </a:lnTo>
                  <a:lnTo>
                    <a:pt x="16" y="40"/>
                  </a:lnTo>
                  <a:lnTo>
                    <a:pt x="24" y="40"/>
                  </a:lnTo>
                  <a:lnTo>
                    <a:pt x="24" y="40"/>
                  </a:lnTo>
                  <a:lnTo>
                    <a:pt x="16" y="4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40" name="Freeform 58"/>
            <p:cNvSpPr>
              <a:spLocks/>
            </p:cNvSpPr>
            <p:nvPr/>
          </p:nvSpPr>
          <p:spPr bwMode="auto">
            <a:xfrm>
              <a:off x="5206993" y="1790675"/>
              <a:ext cx="139700" cy="50799"/>
            </a:xfrm>
            <a:custGeom>
              <a:avLst/>
              <a:gdLst/>
              <a:ahLst/>
              <a:cxnLst>
                <a:cxn ang="0">
                  <a:pos x="72" y="16"/>
                </a:cxn>
                <a:cxn ang="0">
                  <a:pos x="64" y="16"/>
                </a:cxn>
                <a:cxn ang="0">
                  <a:pos x="64" y="16"/>
                </a:cxn>
                <a:cxn ang="0">
                  <a:pos x="56" y="16"/>
                </a:cxn>
                <a:cxn ang="0">
                  <a:pos x="56" y="16"/>
                </a:cxn>
                <a:cxn ang="0">
                  <a:pos x="48" y="32"/>
                </a:cxn>
                <a:cxn ang="0">
                  <a:pos x="48" y="24"/>
                </a:cxn>
                <a:cxn ang="0">
                  <a:pos x="48" y="24"/>
                </a:cxn>
                <a:cxn ang="0">
                  <a:pos x="32" y="24"/>
                </a:cxn>
                <a:cxn ang="0">
                  <a:pos x="32" y="16"/>
                </a:cxn>
                <a:cxn ang="0">
                  <a:pos x="32" y="16"/>
                </a:cxn>
                <a:cxn ang="0">
                  <a:pos x="40" y="16"/>
                </a:cxn>
                <a:cxn ang="0">
                  <a:pos x="40" y="16"/>
                </a:cxn>
                <a:cxn ang="0">
                  <a:pos x="40" y="16"/>
                </a:cxn>
                <a:cxn ang="0">
                  <a:pos x="40" y="8"/>
                </a:cxn>
                <a:cxn ang="0">
                  <a:pos x="40" y="8"/>
                </a:cxn>
                <a:cxn ang="0">
                  <a:pos x="32" y="8"/>
                </a:cxn>
                <a:cxn ang="0">
                  <a:pos x="32" y="8"/>
                </a:cxn>
                <a:cxn ang="0">
                  <a:pos x="16" y="16"/>
                </a:cxn>
                <a:cxn ang="0">
                  <a:pos x="8" y="8"/>
                </a:cxn>
                <a:cxn ang="0">
                  <a:pos x="0" y="8"/>
                </a:cxn>
                <a:cxn ang="0">
                  <a:pos x="0" y="8"/>
                </a:cxn>
                <a:cxn ang="0">
                  <a:pos x="8" y="0"/>
                </a:cxn>
                <a:cxn ang="0">
                  <a:pos x="40" y="0"/>
                </a:cxn>
                <a:cxn ang="0">
                  <a:pos x="56" y="8"/>
                </a:cxn>
                <a:cxn ang="0">
                  <a:pos x="64" y="8"/>
                </a:cxn>
                <a:cxn ang="0">
                  <a:pos x="72" y="0"/>
                </a:cxn>
                <a:cxn ang="0">
                  <a:pos x="80" y="0"/>
                </a:cxn>
                <a:cxn ang="0">
                  <a:pos x="88" y="8"/>
                </a:cxn>
                <a:cxn ang="0">
                  <a:pos x="88" y="8"/>
                </a:cxn>
                <a:cxn ang="0">
                  <a:pos x="80" y="16"/>
                </a:cxn>
                <a:cxn ang="0">
                  <a:pos x="80" y="16"/>
                </a:cxn>
                <a:cxn ang="0">
                  <a:pos x="72" y="16"/>
                </a:cxn>
                <a:cxn ang="0">
                  <a:pos x="72" y="16"/>
                </a:cxn>
                <a:cxn ang="0">
                  <a:pos x="72" y="16"/>
                </a:cxn>
                <a:cxn ang="0">
                  <a:pos x="72" y="16"/>
                </a:cxn>
                <a:cxn ang="0">
                  <a:pos x="80" y="16"/>
                </a:cxn>
                <a:cxn ang="0">
                  <a:pos x="80" y="16"/>
                </a:cxn>
                <a:cxn ang="0">
                  <a:pos x="72" y="16"/>
                </a:cxn>
              </a:cxnLst>
              <a:rect l="0" t="0" r="r" b="b"/>
              <a:pathLst>
                <a:path w="88" h="32">
                  <a:moveTo>
                    <a:pt x="72" y="16"/>
                  </a:moveTo>
                  <a:lnTo>
                    <a:pt x="64" y="16"/>
                  </a:lnTo>
                  <a:lnTo>
                    <a:pt x="64" y="16"/>
                  </a:lnTo>
                  <a:lnTo>
                    <a:pt x="56" y="16"/>
                  </a:lnTo>
                  <a:lnTo>
                    <a:pt x="56" y="16"/>
                  </a:lnTo>
                  <a:lnTo>
                    <a:pt x="48" y="32"/>
                  </a:lnTo>
                  <a:lnTo>
                    <a:pt x="48" y="24"/>
                  </a:lnTo>
                  <a:lnTo>
                    <a:pt x="48" y="24"/>
                  </a:lnTo>
                  <a:lnTo>
                    <a:pt x="32" y="24"/>
                  </a:lnTo>
                  <a:lnTo>
                    <a:pt x="32" y="16"/>
                  </a:lnTo>
                  <a:lnTo>
                    <a:pt x="32" y="16"/>
                  </a:lnTo>
                  <a:lnTo>
                    <a:pt x="40" y="16"/>
                  </a:lnTo>
                  <a:lnTo>
                    <a:pt x="40" y="16"/>
                  </a:lnTo>
                  <a:lnTo>
                    <a:pt x="40" y="16"/>
                  </a:lnTo>
                  <a:lnTo>
                    <a:pt x="40" y="8"/>
                  </a:lnTo>
                  <a:lnTo>
                    <a:pt x="40" y="8"/>
                  </a:lnTo>
                  <a:lnTo>
                    <a:pt x="32" y="8"/>
                  </a:lnTo>
                  <a:lnTo>
                    <a:pt x="32" y="8"/>
                  </a:lnTo>
                  <a:lnTo>
                    <a:pt x="16" y="16"/>
                  </a:lnTo>
                  <a:lnTo>
                    <a:pt x="8" y="8"/>
                  </a:lnTo>
                  <a:lnTo>
                    <a:pt x="0" y="8"/>
                  </a:lnTo>
                  <a:lnTo>
                    <a:pt x="0" y="8"/>
                  </a:lnTo>
                  <a:lnTo>
                    <a:pt x="8" y="0"/>
                  </a:lnTo>
                  <a:lnTo>
                    <a:pt x="40" y="0"/>
                  </a:lnTo>
                  <a:lnTo>
                    <a:pt x="56" y="8"/>
                  </a:lnTo>
                  <a:lnTo>
                    <a:pt x="64" y="8"/>
                  </a:lnTo>
                  <a:lnTo>
                    <a:pt x="72" y="0"/>
                  </a:lnTo>
                  <a:lnTo>
                    <a:pt x="80" y="0"/>
                  </a:lnTo>
                  <a:lnTo>
                    <a:pt x="88" y="8"/>
                  </a:lnTo>
                  <a:lnTo>
                    <a:pt x="88" y="8"/>
                  </a:lnTo>
                  <a:lnTo>
                    <a:pt x="80" y="16"/>
                  </a:lnTo>
                  <a:lnTo>
                    <a:pt x="80" y="16"/>
                  </a:lnTo>
                  <a:lnTo>
                    <a:pt x="72" y="16"/>
                  </a:lnTo>
                  <a:lnTo>
                    <a:pt x="72" y="16"/>
                  </a:lnTo>
                  <a:lnTo>
                    <a:pt x="72" y="16"/>
                  </a:lnTo>
                  <a:lnTo>
                    <a:pt x="72" y="16"/>
                  </a:lnTo>
                  <a:lnTo>
                    <a:pt x="80" y="16"/>
                  </a:lnTo>
                  <a:lnTo>
                    <a:pt x="80" y="16"/>
                  </a:lnTo>
                  <a:lnTo>
                    <a:pt x="72" y="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41" name="Freeform 59"/>
            <p:cNvSpPr>
              <a:spLocks/>
            </p:cNvSpPr>
            <p:nvPr/>
          </p:nvSpPr>
          <p:spPr bwMode="auto">
            <a:xfrm>
              <a:off x="5410193" y="1752575"/>
              <a:ext cx="88900" cy="50799"/>
            </a:xfrm>
            <a:custGeom>
              <a:avLst/>
              <a:gdLst/>
              <a:ahLst/>
              <a:cxnLst>
                <a:cxn ang="0">
                  <a:pos x="32" y="32"/>
                </a:cxn>
                <a:cxn ang="0">
                  <a:pos x="24" y="32"/>
                </a:cxn>
                <a:cxn ang="0">
                  <a:pos x="16" y="32"/>
                </a:cxn>
                <a:cxn ang="0">
                  <a:pos x="0" y="32"/>
                </a:cxn>
                <a:cxn ang="0">
                  <a:pos x="0" y="24"/>
                </a:cxn>
                <a:cxn ang="0">
                  <a:pos x="0" y="24"/>
                </a:cxn>
                <a:cxn ang="0">
                  <a:pos x="8" y="24"/>
                </a:cxn>
                <a:cxn ang="0">
                  <a:pos x="8" y="24"/>
                </a:cxn>
                <a:cxn ang="0">
                  <a:pos x="24" y="24"/>
                </a:cxn>
                <a:cxn ang="0">
                  <a:pos x="24" y="24"/>
                </a:cxn>
                <a:cxn ang="0">
                  <a:pos x="16" y="24"/>
                </a:cxn>
                <a:cxn ang="0">
                  <a:pos x="16" y="16"/>
                </a:cxn>
                <a:cxn ang="0">
                  <a:pos x="16" y="24"/>
                </a:cxn>
                <a:cxn ang="0">
                  <a:pos x="16" y="16"/>
                </a:cxn>
                <a:cxn ang="0">
                  <a:pos x="16" y="16"/>
                </a:cxn>
                <a:cxn ang="0">
                  <a:pos x="24" y="16"/>
                </a:cxn>
                <a:cxn ang="0">
                  <a:pos x="40" y="8"/>
                </a:cxn>
                <a:cxn ang="0">
                  <a:pos x="40" y="8"/>
                </a:cxn>
                <a:cxn ang="0">
                  <a:pos x="40" y="8"/>
                </a:cxn>
                <a:cxn ang="0">
                  <a:pos x="40" y="0"/>
                </a:cxn>
                <a:cxn ang="0">
                  <a:pos x="48" y="0"/>
                </a:cxn>
                <a:cxn ang="0">
                  <a:pos x="48" y="0"/>
                </a:cxn>
                <a:cxn ang="0">
                  <a:pos x="48" y="0"/>
                </a:cxn>
                <a:cxn ang="0">
                  <a:pos x="48" y="8"/>
                </a:cxn>
                <a:cxn ang="0">
                  <a:pos x="40" y="16"/>
                </a:cxn>
                <a:cxn ang="0">
                  <a:pos x="24" y="24"/>
                </a:cxn>
                <a:cxn ang="0">
                  <a:pos x="24" y="24"/>
                </a:cxn>
                <a:cxn ang="0">
                  <a:pos x="48" y="24"/>
                </a:cxn>
                <a:cxn ang="0">
                  <a:pos x="56" y="24"/>
                </a:cxn>
                <a:cxn ang="0">
                  <a:pos x="56" y="24"/>
                </a:cxn>
                <a:cxn ang="0">
                  <a:pos x="48" y="32"/>
                </a:cxn>
                <a:cxn ang="0">
                  <a:pos x="48" y="32"/>
                </a:cxn>
                <a:cxn ang="0">
                  <a:pos x="40" y="32"/>
                </a:cxn>
                <a:cxn ang="0">
                  <a:pos x="32" y="32"/>
                </a:cxn>
              </a:cxnLst>
              <a:rect l="0" t="0" r="r" b="b"/>
              <a:pathLst>
                <a:path w="56" h="32">
                  <a:moveTo>
                    <a:pt x="32" y="32"/>
                  </a:moveTo>
                  <a:lnTo>
                    <a:pt x="24" y="32"/>
                  </a:lnTo>
                  <a:lnTo>
                    <a:pt x="16" y="32"/>
                  </a:lnTo>
                  <a:lnTo>
                    <a:pt x="0" y="32"/>
                  </a:lnTo>
                  <a:lnTo>
                    <a:pt x="0" y="24"/>
                  </a:lnTo>
                  <a:lnTo>
                    <a:pt x="0" y="24"/>
                  </a:lnTo>
                  <a:lnTo>
                    <a:pt x="8" y="24"/>
                  </a:lnTo>
                  <a:lnTo>
                    <a:pt x="8" y="24"/>
                  </a:lnTo>
                  <a:lnTo>
                    <a:pt x="24" y="24"/>
                  </a:lnTo>
                  <a:lnTo>
                    <a:pt x="24" y="24"/>
                  </a:lnTo>
                  <a:lnTo>
                    <a:pt x="16" y="24"/>
                  </a:lnTo>
                  <a:lnTo>
                    <a:pt x="16" y="16"/>
                  </a:lnTo>
                  <a:lnTo>
                    <a:pt x="16" y="24"/>
                  </a:lnTo>
                  <a:lnTo>
                    <a:pt x="16" y="16"/>
                  </a:lnTo>
                  <a:lnTo>
                    <a:pt x="16" y="16"/>
                  </a:lnTo>
                  <a:lnTo>
                    <a:pt x="24" y="16"/>
                  </a:lnTo>
                  <a:lnTo>
                    <a:pt x="40" y="8"/>
                  </a:lnTo>
                  <a:lnTo>
                    <a:pt x="40" y="8"/>
                  </a:lnTo>
                  <a:lnTo>
                    <a:pt x="40" y="8"/>
                  </a:lnTo>
                  <a:lnTo>
                    <a:pt x="40" y="0"/>
                  </a:lnTo>
                  <a:lnTo>
                    <a:pt x="48" y="0"/>
                  </a:lnTo>
                  <a:lnTo>
                    <a:pt x="48" y="0"/>
                  </a:lnTo>
                  <a:lnTo>
                    <a:pt x="48" y="0"/>
                  </a:lnTo>
                  <a:lnTo>
                    <a:pt x="48" y="8"/>
                  </a:lnTo>
                  <a:lnTo>
                    <a:pt x="40" y="16"/>
                  </a:lnTo>
                  <a:lnTo>
                    <a:pt x="24" y="24"/>
                  </a:lnTo>
                  <a:lnTo>
                    <a:pt x="24" y="24"/>
                  </a:lnTo>
                  <a:lnTo>
                    <a:pt x="48" y="24"/>
                  </a:lnTo>
                  <a:lnTo>
                    <a:pt x="56" y="24"/>
                  </a:lnTo>
                  <a:lnTo>
                    <a:pt x="56" y="24"/>
                  </a:lnTo>
                  <a:lnTo>
                    <a:pt x="48" y="32"/>
                  </a:lnTo>
                  <a:lnTo>
                    <a:pt x="48" y="32"/>
                  </a:lnTo>
                  <a:lnTo>
                    <a:pt x="40" y="32"/>
                  </a:lnTo>
                  <a:lnTo>
                    <a:pt x="32"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42" name="Freeform 60"/>
            <p:cNvSpPr>
              <a:spLocks/>
            </p:cNvSpPr>
            <p:nvPr/>
          </p:nvSpPr>
          <p:spPr bwMode="auto">
            <a:xfrm>
              <a:off x="5283192" y="2247868"/>
              <a:ext cx="38100" cy="38100"/>
            </a:xfrm>
            <a:custGeom>
              <a:avLst/>
              <a:gdLst/>
              <a:ahLst/>
              <a:cxnLst>
                <a:cxn ang="0">
                  <a:pos x="8" y="0"/>
                </a:cxn>
                <a:cxn ang="0">
                  <a:pos x="24" y="8"/>
                </a:cxn>
                <a:cxn ang="0">
                  <a:pos x="24" y="8"/>
                </a:cxn>
                <a:cxn ang="0">
                  <a:pos x="24" y="8"/>
                </a:cxn>
                <a:cxn ang="0">
                  <a:pos x="24" y="16"/>
                </a:cxn>
                <a:cxn ang="0">
                  <a:pos x="24" y="16"/>
                </a:cxn>
                <a:cxn ang="0">
                  <a:pos x="16" y="24"/>
                </a:cxn>
                <a:cxn ang="0">
                  <a:pos x="0" y="24"/>
                </a:cxn>
                <a:cxn ang="0">
                  <a:pos x="0" y="16"/>
                </a:cxn>
                <a:cxn ang="0">
                  <a:pos x="0" y="8"/>
                </a:cxn>
                <a:cxn ang="0">
                  <a:pos x="8" y="0"/>
                </a:cxn>
              </a:cxnLst>
              <a:rect l="0" t="0" r="r" b="b"/>
              <a:pathLst>
                <a:path w="24" h="24">
                  <a:moveTo>
                    <a:pt x="8" y="0"/>
                  </a:moveTo>
                  <a:lnTo>
                    <a:pt x="24" y="8"/>
                  </a:lnTo>
                  <a:lnTo>
                    <a:pt x="24" y="8"/>
                  </a:lnTo>
                  <a:lnTo>
                    <a:pt x="24" y="8"/>
                  </a:lnTo>
                  <a:lnTo>
                    <a:pt x="24" y="16"/>
                  </a:lnTo>
                  <a:lnTo>
                    <a:pt x="24" y="16"/>
                  </a:lnTo>
                  <a:lnTo>
                    <a:pt x="16" y="24"/>
                  </a:lnTo>
                  <a:lnTo>
                    <a:pt x="0" y="24"/>
                  </a:lnTo>
                  <a:lnTo>
                    <a:pt x="0" y="16"/>
                  </a:lnTo>
                  <a:lnTo>
                    <a:pt x="0" y="8"/>
                  </a:lnTo>
                  <a:lnTo>
                    <a:pt x="8" y="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43" name="Freeform 61"/>
            <p:cNvSpPr>
              <a:spLocks/>
            </p:cNvSpPr>
            <p:nvPr/>
          </p:nvSpPr>
          <p:spPr bwMode="auto">
            <a:xfrm>
              <a:off x="5575293" y="1765275"/>
              <a:ext cx="50800" cy="38100"/>
            </a:xfrm>
            <a:custGeom>
              <a:avLst/>
              <a:gdLst/>
              <a:ahLst/>
              <a:cxnLst>
                <a:cxn ang="0">
                  <a:pos x="0" y="24"/>
                </a:cxn>
                <a:cxn ang="0">
                  <a:pos x="0" y="8"/>
                </a:cxn>
                <a:cxn ang="0">
                  <a:pos x="16" y="0"/>
                </a:cxn>
                <a:cxn ang="0">
                  <a:pos x="24" y="0"/>
                </a:cxn>
                <a:cxn ang="0">
                  <a:pos x="24" y="0"/>
                </a:cxn>
                <a:cxn ang="0">
                  <a:pos x="32" y="16"/>
                </a:cxn>
                <a:cxn ang="0">
                  <a:pos x="32" y="16"/>
                </a:cxn>
                <a:cxn ang="0">
                  <a:pos x="16" y="16"/>
                </a:cxn>
                <a:cxn ang="0">
                  <a:pos x="0" y="24"/>
                </a:cxn>
              </a:cxnLst>
              <a:rect l="0" t="0" r="r" b="b"/>
              <a:pathLst>
                <a:path w="32" h="24">
                  <a:moveTo>
                    <a:pt x="0" y="24"/>
                  </a:moveTo>
                  <a:lnTo>
                    <a:pt x="0" y="8"/>
                  </a:lnTo>
                  <a:lnTo>
                    <a:pt x="16" y="0"/>
                  </a:lnTo>
                  <a:lnTo>
                    <a:pt x="24" y="0"/>
                  </a:lnTo>
                  <a:lnTo>
                    <a:pt x="24" y="0"/>
                  </a:lnTo>
                  <a:lnTo>
                    <a:pt x="32" y="16"/>
                  </a:lnTo>
                  <a:lnTo>
                    <a:pt x="32" y="16"/>
                  </a:lnTo>
                  <a:lnTo>
                    <a:pt x="16" y="16"/>
                  </a:lnTo>
                  <a:lnTo>
                    <a:pt x="0" y="2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44" name="Freeform 62"/>
            <p:cNvSpPr>
              <a:spLocks/>
            </p:cNvSpPr>
            <p:nvPr/>
          </p:nvSpPr>
          <p:spPr bwMode="auto">
            <a:xfrm>
              <a:off x="5511793" y="1790675"/>
              <a:ext cx="50800" cy="25400"/>
            </a:xfrm>
            <a:custGeom>
              <a:avLst/>
              <a:gdLst/>
              <a:ahLst/>
              <a:cxnLst>
                <a:cxn ang="0">
                  <a:pos x="32" y="8"/>
                </a:cxn>
                <a:cxn ang="0">
                  <a:pos x="32" y="8"/>
                </a:cxn>
                <a:cxn ang="0">
                  <a:pos x="32" y="8"/>
                </a:cxn>
                <a:cxn ang="0">
                  <a:pos x="24" y="8"/>
                </a:cxn>
                <a:cxn ang="0">
                  <a:pos x="24" y="8"/>
                </a:cxn>
                <a:cxn ang="0">
                  <a:pos x="24" y="8"/>
                </a:cxn>
                <a:cxn ang="0">
                  <a:pos x="24" y="16"/>
                </a:cxn>
                <a:cxn ang="0">
                  <a:pos x="24" y="16"/>
                </a:cxn>
                <a:cxn ang="0">
                  <a:pos x="16" y="16"/>
                </a:cxn>
                <a:cxn ang="0">
                  <a:pos x="8" y="16"/>
                </a:cxn>
                <a:cxn ang="0">
                  <a:pos x="0" y="16"/>
                </a:cxn>
                <a:cxn ang="0">
                  <a:pos x="0" y="16"/>
                </a:cxn>
                <a:cxn ang="0">
                  <a:pos x="0" y="8"/>
                </a:cxn>
                <a:cxn ang="0">
                  <a:pos x="8" y="0"/>
                </a:cxn>
                <a:cxn ang="0">
                  <a:pos x="8" y="0"/>
                </a:cxn>
                <a:cxn ang="0">
                  <a:pos x="8" y="0"/>
                </a:cxn>
                <a:cxn ang="0">
                  <a:pos x="8" y="0"/>
                </a:cxn>
                <a:cxn ang="0">
                  <a:pos x="24" y="0"/>
                </a:cxn>
                <a:cxn ang="0">
                  <a:pos x="24" y="0"/>
                </a:cxn>
                <a:cxn ang="0">
                  <a:pos x="16" y="0"/>
                </a:cxn>
                <a:cxn ang="0">
                  <a:pos x="24" y="0"/>
                </a:cxn>
                <a:cxn ang="0">
                  <a:pos x="24" y="0"/>
                </a:cxn>
                <a:cxn ang="0">
                  <a:pos x="32" y="0"/>
                </a:cxn>
                <a:cxn ang="0">
                  <a:pos x="32" y="0"/>
                </a:cxn>
                <a:cxn ang="0">
                  <a:pos x="32" y="8"/>
                </a:cxn>
              </a:cxnLst>
              <a:rect l="0" t="0" r="r" b="b"/>
              <a:pathLst>
                <a:path w="32" h="16">
                  <a:moveTo>
                    <a:pt x="32" y="8"/>
                  </a:moveTo>
                  <a:lnTo>
                    <a:pt x="32" y="8"/>
                  </a:lnTo>
                  <a:lnTo>
                    <a:pt x="32" y="8"/>
                  </a:lnTo>
                  <a:lnTo>
                    <a:pt x="24" y="8"/>
                  </a:lnTo>
                  <a:lnTo>
                    <a:pt x="24" y="8"/>
                  </a:lnTo>
                  <a:lnTo>
                    <a:pt x="24" y="8"/>
                  </a:lnTo>
                  <a:lnTo>
                    <a:pt x="24" y="16"/>
                  </a:lnTo>
                  <a:lnTo>
                    <a:pt x="24" y="16"/>
                  </a:lnTo>
                  <a:lnTo>
                    <a:pt x="16" y="16"/>
                  </a:lnTo>
                  <a:lnTo>
                    <a:pt x="8" y="16"/>
                  </a:lnTo>
                  <a:lnTo>
                    <a:pt x="0" y="16"/>
                  </a:lnTo>
                  <a:lnTo>
                    <a:pt x="0" y="16"/>
                  </a:lnTo>
                  <a:lnTo>
                    <a:pt x="0" y="8"/>
                  </a:lnTo>
                  <a:lnTo>
                    <a:pt x="8" y="0"/>
                  </a:lnTo>
                  <a:lnTo>
                    <a:pt x="8" y="0"/>
                  </a:lnTo>
                  <a:lnTo>
                    <a:pt x="8" y="0"/>
                  </a:lnTo>
                  <a:lnTo>
                    <a:pt x="8" y="0"/>
                  </a:lnTo>
                  <a:lnTo>
                    <a:pt x="24" y="0"/>
                  </a:lnTo>
                  <a:lnTo>
                    <a:pt x="24" y="0"/>
                  </a:lnTo>
                  <a:lnTo>
                    <a:pt x="16" y="0"/>
                  </a:lnTo>
                  <a:lnTo>
                    <a:pt x="24" y="0"/>
                  </a:lnTo>
                  <a:lnTo>
                    <a:pt x="24" y="0"/>
                  </a:lnTo>
                  <a:lnTo>
                    <a:pt x="32" y="0"/>
                  </a:lnTo>
                  <a:lnTo>
                    <a:pt x="32" y="0"/>
                  </a:lnTo>
                  <a:lnTo>
                    <a:pt x="32" y="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45" name="Freeform 63"/>
            <p:cNvSpPr>
              <a:spLocks/>
            </p:cNvSpPr>
            <p:nvPr/>
          </p:nvSpPr>
          <p:spPr bwMode="auto">
            <a:xfrm>
              <a:off x="4686293" y="1816074"/>
              <a:ext cx="190500" cy="63499"/>
            </a:xfrm>
            <a:custGeom>
              <a:avLst/>
              <a:gdLst/>
              <a:ahLst/>
              <a:cxnLst>
                <a:cxn ang="0">
                  <a:pos x="120" y="16"/>
                </a:cxn>
                <a:cxn ang="0">
                  <a:pos x="104" y="24"/>
                </a:cxn>
                <a:cxn ang="0">
                  <a:pos x="80" y="40"/>
                </a:cxn>
                <a:cxn ang="0">
                  <a:pos x="64" y="40"/>
                </a:cxn>
                <a:cxn ang="0">
                  <a:pos x="56" y="32"/>
                </a:cxn>
                <a:cxn ang="0">
                  <a:pos x="56" y="32"/>
                </a:cxn>
                <a:cxn ang="0">
                  <a:pos x="32" y="32"/>
                </a:cxn>
                <a:cxn ang="0">
                  <a:pos x="24" y="24"/>
                </a:cxn>
                <a:cxn ang="0">
                  <a:pos x="24" y="24"/>
                </a:cxn>
                <a:cxn ang="0">
                  <a:pos x="24" y="24"/>
                </a:cxn>
                <a:cxn ang="0">
                  <a:pos x="32" y="24"/>
                </a:cxn>
                <a:cxn ang="0">
                  <a:pos x="40" y="24"/>
                </a:cxn>
                <a:cxn ang="0">
                  <a:pos x="48" y="24"/>
                </a:cxn>
                <a:cxn ang="0">
                  <a:pos x="24" y="16"/>
                </a:cxn>
                <a:cxn ang="0">
                  <a:pos x="16" y="24"/>
                </a:cxn>
                <a:cxn ang="0">
                  <a:pos x="8" y="24"/>
                </a:cxn>
                <a:cxn ang="0">
                  <a:pos x="8" y="16"/>
                </a:cxn>
                <a:cxn ang="0">
                  <a:pos x="8" y="16"/>
                </a:cxn>
                <a:cxn ang="0">
                  <a:pos x="0" y="8"/>
                </a:cxn>
                <a:cxn ang="0">
                  <a:pos x="0" y="0"/>
                </a:cxn>
                <a:cxn ang="0">
                  <a:pos x="0" y="0"/>
                </a:cxn>
                <a:cxn ang="0">
                  <a:pos x="8" y="0"/>
                </a:cxn>
                <a:cxn ang="0">
                  <a:pos x="16" y="8"/>
                </a:cxn>
                <a:cxn ang="0">
                  <a:pos x="16" y="8"/>
                </a:cxn>
                <a:cxn ang="0">
                  <a:pos x="16" y="8"/>
                </a:cxn>
                <a:cxn ang="0">
                  <a:pos x="16" y="0"/>
                </a:cxn>
                <a:cxn ang="0">
                  <a:pos x="16" y="0"/>
                </a:cxn>
                <a:cxn ang="0">
                  <a:pos x="24" y="0"/>
                </a:cxn>
                <a:cxn ang="0">
                  <a:pos x="24" y="0"/>
                </a:cxn>
                <a:cxn ang="0">
                  <a:pos x="24" y="0"/>
                </a:cxn>
                <a:cxn ang="0">
                  <a:pos x="24" y="0"/>
                </a:cxn>
                <a:cxn ang="0">
                  <a:pos x="40" y="0"/>
                </a:cxn>
                <a:cxn ang="0">
                  <a:pos x="40" y="0"/>
                </a:cxn>
                <a:cxn ang="0">
                  <a:pos x="48" y="8"/>
                </a:cxn>
                <a:cxn ang="0">
                  <a:pos x="56" y="8"/>
                </a:cxn>
                <a:cxn ang="0">
                  <a:pos x="64" y="0"/>
                </a:cxn>
                <a:cxn ang="0">
                  <a:pos x="64" y="0"/>
                </a:cxn>
                <a:cxn ang="0">
                  <a:pos x="72" y="0"/>
                </a:cxn>
                <a:cxn ang="0">
                  <a:pos x="72" y="0"/>
                </a:cxn>
                <a:cxn ang="0">
                  <a:pos x="72" y="0"/>
                </a:cxn>
                <a:cxn ang="0">
                  <a:pos x="72" y="8"/>
                </a:cxn>
                <a:cxn ang="0">
                  <a:pos x="72" y="8"/>
                </a:cxn>
                <a:cxn ang="0">
                  <a:pos x="72" y="8"/>
                </a:cxn>
                <a:cxn ang="0">
                  <a:pos x="80" y="0"/>
                </a:cxn>
                <a:cxn ang="0">
                  <a:pos x="80" y="0"/>
                </a:cxn>
                <a:cxn ang="0">
                  <a:pos x="96" y="0"/>
                </a:cxn>
                <a:cxn ang="0">
                  <a:pos x="104" y="0"/>
                </a:cxn>
                <a:cxn ang="0">
                  <a:pos x="112" y="8"/>
                </a:cxn>
                <a:cxn ang="0">
                  <a:pos x="120" y="16"/>
                </a:cxn>
              </a:cxnLst>
              <a:rect l="0" t="0" r="r" b="b"/>
              <a:pathLst>
                <a:path w="120" h="40">
                  <a:moveTo>
                    <a:pt x="120" y="16"/>
                  </a:moveTo>
                  <a:lnTo>
                    <a:pt x="104" y="24"/>
                  </a:lnTo>
                  <a:lnTo>
                    <a:pt x="80" y="40"/>
                  </a:lnTo>
                  <a:lnTo>
                    <a:pt x="64" y="40"/>
                  </a:lnTo>
                  <a:lnTo>
                    <a:pt x="56" y="32"/>
                  </a:lnTo>
                  <a:lnTo>
                    <a:pt x="56" y="32"/>
                  </a:lnTo>
                  <a:lnTo>
                    <a:pt x="32" y="32"/>
                  </a:lnTo>
                  <a:lnTo>
                    <a:pt x="24" y="24"/>
                  </a:lnTo>
                  <a:lnTo>
                    <a:pt x="24" y="24"/>
                  </a:lnTo>
                  <a:lnTo>
                    <a:pt x="24" y="24"/>
                  </a:lnTo>
                  <a:lnTo>
                    <a:pt x="32" y="24"/>
                  </a:lnTo>
                  <a:lnTo>
                    <a:pt x="40" y="24"/>
                  </a:lnTo>
                  <a:lnTo>
                    <a:pt x="48" y="24"/>
                  </a:lnTo>
                  <a:lnTo>
                    <a:pt x="24" y="16"/>
                  </a:lnTo>
                  <a:lnTo>
                    <a:pt x="16" y="24"/>
                  </a:lnTo>
                  <a:lnTo>
                    <a:pt x="8" y="24"/>
                  </a:lnTo>
                  <a:lnTo>
                    <a:pt x="8" y="16"/>
                  </a:lnTo>
                  <a:lnTo>
                    <a:pt x="8" y="16"/>
                  </a:lnTo>
                  <a:lnTo>
                    <a:pt x="0" y="8"/>
                  </a:lnTo>
                  <a:lnTo>
                    <a:pt x="0" y="0"/>
                  </a:lnTo>
                  <a:lnTo>
                    <a:pt x="0" y="0"/>
                  </a:lnTo>
                  <a:lnTo>
                    <a:pt x="8" y="0"/>
                  </a:lnTo>
                  <a:lnTo>
                    <a:pt x="16" y="8"/>
                  </a:lnTo>
                  <a:lnTo>
                    <a:pt x="16" y="8"/>
                  </a:lnTo>
                  <a:lnTo>
                    <a:pt x="16" y="8"/>
                  </a:lnTo>
                  <a:lnTo>
                    <a:pt x="16" y="0"/>
                  </a:lnTo>
                  <a:lnTo>
                    <a:pt x="16" y="0"/>
                  </a:lnTo>
                  <a:lnTo>
                    <a:pt x="24" y="0"/>
                  </a:lnTo>
                  <a:lnTo>
                    <a:pt x="24" y="0"/>
                  </a:lnTo>
                  <a:lnTo>
                    <a:pt x="24" y="0"/>
                  </a:lnTo>
                  <a:lnTo>
                    <a:pt x="24" y="0"/>
                  </a:lnTo>
                  <a:lnTo>
                    <a:pt x="40" y="0"/>
                  </a:lnTo>
                  <a:lnTo>
                    <a:pt x="40" y="0"/>
                  </a:lnTo>
                  <a:lnTo>
                    <a:pt x="48" y="8"/>
                  </a:lnTo>
                  <a:lnTo>
                    <a:pt x="56" y="8"/>
                  </a:lnTo>
                  <a:lnTo>
                    <a:pt x="64" y="0"/>
                  </a:lnTo>
                  <a:lnTo>
                    <a:pt x="64" y="0"/>
                  </a:lnTo>
                  <a:lnTo>
                    <a:pt x="72" y="0"/>
                  </a:lnTo>
                  <a:lnTo>
                    <a:pt x="72" y="0"/>
                  </a:lnTo>
                  <a:lnTo>
                    <a:pt x="72" y="0"/>
                  </a:lnTo>
                  <a:lnTo>
                    <a:pt x="72" y="8"/>
                  </a:lnTo>
                  <a:lnTo>
                    <a:pt x="72" y="8"/>
                  </a:lnTo>
                  <a:lnTo>
                    <a:pt x="72" y="8"/>
                  </a:lnTo>
                  <a:lnTo>
                    <a:pt x="80" y="0"/>
                  </a:lnTo>
                  <a:lnTo>
                    <a:pt x="80" y="0"/>
                  </a:lnTo>
                  <a:lnTo>
                    <a:pt x="96" y="0"/>
                  </a:lnTo>
                  <a:lnTo>
                    <a:pt x="104" y="0"/>
                  </a:lnTo>
                  <a:lnTo>
                    <a:pt x="112" y="8"/>
                  </a:lnTo>
                  <a:lnTo>
                    <a:pt x="120" y="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46" name="Freeform 64"/>
            <p:cNvSpPr>
              <a:spLocks/>
            </p:cNvSpPr>
            <p:nvPr/>
          </p:nvSpPr>
          <p:spPr bwMode="auto">
            <a:xfrm>
              <a:off x="6692891" y="3886143"/>
              <a:ext cx="114300" cy="152398"/>
            </a:xfrm>
            <a:custGeom>
              <a:avLst/>
              <a:gdLst/>
              <a:ahLst/>
              <a:cxnLst>
                <a:cxn ang="0">
                  <a:pos x="24" y="40"/>
                </a:cxn>
                <a:cxn ang="0">
                  <a:pos x="16" y="40"/>
                </a:cxn>
                <a:cxn ang="0">
                  <a:pos x="16" y="16"/>
                </a:cxn>
                <a:cxn ang="0">
                  <a:pos x="24" y="16"/>
                </a:cxn>
                <a:cxn ang="0">
                  <a:pos x="32" y="16"/>
                </a:cxn>
                <a:cxn ang="0">
                  <a:pos x="40" y="16"/>
                </a:cxn>
                <a:cxn ang="0">
                  <a:pos x="56" y="24"/>
                </a:cxn>
                <a:cxn ang="0">
                  <a:pos x="64" y="24"/>
                </a:cxn>
                <a:cxn ang="0">
                  <a:pos x="72" y="8"/>
                </a:cxn>
                <a:cxn ang="0">
                  <a:pos x="72" y="8"/>
                </a:cxn>
                <a:cxn ang="0">
                  <a:pos x="72" y="0"/>
                </a:cxn>
                <a:cxn ang="0">
                  <a:pos x="72" y="0"/>
                </a:cxn>
                <a:cxn ang="0">
                  <a:pos x="64" y="8"/>
                </a:cxn>
                <a:cxn ang="0">
                  <a:pos x="56" y="16"/>
                </a:cxn>
                <a:cxn ang="0">
                  <a:pos x="56" y="16"/>
                </a:cxn>
                <a:cxn ang="0">
                  <a:pos x="24" y="8"/>
                </a:cxn>
                <a:cxn ang="0">
                  <a:pos x="16" y="8"/>
                </a:cxn>
                <a:cxn ang="0">
                  <a:pos x="8" y="24"/>
                </a:cxn>
                <a:cxn ang="0">
                  <a:pos x="8" y="32"/>
                </a:cxn>
                <a:cxn ang="0">
                  <a:pos x="0" y="48"/>
                </a:cxn>
                <a:cxn ang="0">
                  <a:pos x="0" y="64"/>
                </a:cxn>
                <a:cxn ang="0">
                  <a:pos x="8" y="72"/>
                </a:cxn>
                <a:cxn ang="0">
                  <a:pos x="8" y="72"/>
                </a:cxn>
                <a:cxn ang="0">
                  <a:pos x="8" y="88"/>
                </a:cxn>
                <a:cxn ang="0">
                  <a:pos x="8" y="96"/>
                </a:cxn>
                <a:cxn ang="0">
                  <a:pos x="16" y="96"/>
                </a:cxn>
                <a:cxn ang="0">
                  <a:pos x="16" y="80"/>
                </a:cxn>
                <a:cxn ang="0">
                  <a:pos x="16" y="72"/>
                </a:cxn>
                <a:cxn ang="0">
                  <a:pos x="16" y="56"/>
                </a:cxn>
                <a:cxn ang="0">
                  <a:pos x="24" y="56"/>
                </a:cxn>
                <a:cxn ang="0">
                  <a:pos x="24" y="56"/>
                </a:cxn>
                <a:cxn ang="0">
                  <a:pos x="24" y="64"/>
                </a:cxn>
                <a:cxn ang="0">
                  <a:pos x="24" y="64"/>
                </a:cxn>
                <a:cxn ang="0">
                  <a:pos x="32" y="72"/>
                </a:cxn>
                <a:cxn ang="0">
                  <a:pos x="32" y="80"/>
                </a:cxn>
                <a:cxn ang="0">
                  <a:pos x="32" y="88"/>
                </a:cxn>
                <a:cxn ang="0">
                  <a:pos x="32" y="88"/>
                </a:cxn>
                <a:cxn ang="0">
                  <a:pos x="32" y="88"/>
                </a:cxn>
                <a:cxn ang="0">
                  <a:pos x="32" y="80"/>
                </a:cxn>
                <a:cxn ang="0">
                  <a:pos x="48" y="80"/>
                </a:cxn>
                <a:cxn ang="0">
                  <a:pos x="40" y="72"/>
                </a:cxn>
                <a:cxn ang="0">
                  <a:pos x="40" y="72"/>
                </a:cxn>
                <a:cxn ang="0">
                  <a:pos x="40" y="64"/>
                </a:cxn>
                <a:cxn ang="0">
                  <a:pos x="40" y="64"/>
                </a:cxn>
                <a:cxn ang="0">
                  <a:pos x="40" y="64"/>
                </a:cxn>
                <a:cxn ang="0">
                  <a:pos x="32" y="56"/>
                </a:cxn>
                <a:cxn ang="0">
                  <a:pos x="32" y="48"/>
                </a:cxn>
                <a:cxn ang="0">
                  <a:pos x="32" y="48"/>
                </a:cxn>
                <a:cxn ang="0">
                  <a:pos x="40" y="48"/>
                </a:cxn>
                <a:cxn ang="0">
                  <a:pos x="48" y="32"/>
                </a:cxn>
                <a:cxn ang="0">
                  <a:pos x="56" y="32"/>
                </a:cxn>
                <a:cxn ang="0">
                  <a:pos x="56" y="32"/>
                </a:cxn>
                <a:cxn ang="0">
                  <a:pos x="56" y="32"/>
                </a:cxn>
                <a:cxn ang="0">
                  <a:pos x="48" y="32"/>
                </a:cxn>
                <a:cxn ang="0">
                  <a:pos x="24" y="40"/>
                </a:cxn>
                <a:cxn ang="0">
                  <a:pos x="24" y="40"/>
                </a:cxn>
                <a:cxn ang="0">
                  <a:pos x="32" y="40"/>
                </a:cxn>
                <a:cxn ang="0">
                  <a:pos x="24" y="40"/>
                </a:cxn>
              </a:cxnLst>
              <a:rect l="0" t="0" r="r" b="b"/>
              <a:pathLst>
                <a:path w="72" h="96">
                  <a:moveTo>
                    <a:pt x="24" y="40"/>
                  </a:moveTo>
                  <a:lnTo>
                    <a:pt x="16" y="40"/>
                  </a:lnTo>
                  <a:lnTo>
                    <a:pt x="16" y="16"/>
                  </a:lnTo>
                  <a:lnTo>
                    <a:pt x="24" y="16"/>
                  </a:lnTo>
                  <a:lnTo>
                    <a:pt x="32" y="16"/>
                  </a:lnTo>
                  <a:lnTo>
                    <a:pt x="40" y="16"/>
                  </a:lnTo>
                  <a:lnTo>
                    <a:pt x="56" y="24"/>
                  </a:lnTo>
                  <a:lnTo>
                    <a:pt x="64" y="24"/>
                  </a:lnTo>
                  <a:lnTo>
                    <a:pt x="72" y="8"/>
                  </a:lnTo>
                  <a:lnTo>
                    <a:pt x="72" y="8"/>
                  </a:lnTo>
                  <a:lnTo>
                    <a:pt x="72" y="0"/>
                  </a:lnTo>
                  <a:lnTo>
                    <a:pt x="72" y="0"/>
                  </a:lnTo>
                  <a:lnTo>
                    <a:pt x="64" y="8"/>
                  </a:lnTo>
                  <a:lnTo>
                    <a:pt x="56" y="16"/>
                  </a:lnTo>
                  <a:lnTo>
                    <a:pt x="56" y="16"/>
                  </a:lnTo>
                  <a:lnTo>
                    <a:pt x="24" y="8"/>
                  </a:lnTo>
                  <a:lnTo>
                    <a:pt x="16" y="8"/>
                  </a:lnTo>
                  <a:lnTo>
                    <a:pt x="8" y="24"/>
                  </a:lnTo>
                  <a:lnTo>
                    <a:pt x="8" y="32"/>
                  </a:lnTo>
                  <a:lnTo>
                    <a:pt x="0" y="48"/>
                  </a:lnTo>
                  <a:lnTo>
                    <a:pt x="0" y="64"/>
                  </a:lnTo>
                  <a:lnTo>
                    <a:pt x="8" y="72"/>
                  </a:lnTo>
                  <a:lnTo>
                    <a:pt x="8" y="72"/>
                  </a:lnTo>
                  <a:lnTo>
                    <a:pt x="8" y="88"/>
                  </a:lnTo>
                  <a:lnTo>
                    <a:pt x="8" y="96"/>
                  </a:lnTo>
                  <a:lnTo>
                    <a:pt x="16" y="96"/>
                  </a:lnTo>
                  <a:lnTo>
                    <a:pt x="16" y="80"/>
                  </a:lnTo>
                  <a:lnTo>
                    <a:pt x="16" y="72"/>
                  </a:lnTo>
                  <a:lnTo>
                    <a:pt x="16" y="56"/>
                  </a:lnTo>
                  <a:lnTo>
                    <a:pt x="24" y="56"/>
                  </a:lnTo>
                  <a:lnTo>
                    <a:pt x="24" y="56"/>
                  </a:lnTo>
                  <a:lnTo>
                    <a:pt x="24" y="64"/>
                  </a:lnTo>
                  <a:lnTo>
                    <a:pt x="24" y="64"/>
                  </a:lnTo>
                  <a:lnTo>
                    <a:pt x="32" y="72"/>
                  </a:lnTo>
                  <a:lnTo>
                    <a:pt x="32" y="80"/>
                  </a:lnTo>
                  <a:lnTo>
                    <a:pt x="32" y="88"/>
                  </a:lnTo>
                  <a:lnTo>
                    <a:pt x="32" y="88"/>
                  </a:lnTo>
                  <a:lnTo>
                    <a:pt x="32" y="88"/>
                  </a:lnTo>
                  <a:lnTo>
                    <a:pt x="32" y="80"/>
                  </a:lnTo>
                  <a:lnTo>
                    <a:pt x="48" y="80"/>
                  </a:lnTo>
                  <a:lnTo>
                    <a:pt x="40" y="72"/>
                  </a:lnTo>
                  <a:lnTo>
                    <a:pt x="40" y="72"/>
                  </a:lnTo>
                  <a:lnTo>
                    <a:pt x="40" y="64"/>
                  </a:lnTo>
                  <a:lnTo>
                    <a:pt x="40" y="64"/>
                  </a:lnTo>
                  <a:lnTo>
                    <a:pt x="40" y="64"/>
                  </a:lnTo>
                  <a:lnTo>
                    <a:pt x="32" y="56"/>
                  </a:lnTo>
                  <a:lnTo>
                    <a:pt x="32" y="48"/>
                  </a:lnTo>
                  <a:lnTo>
                    <a:pt x="32" y="48"/>
                  </a:lnTo>
                  <a:lnTo>
                    <a:pt x="40" y="48"/>
                  </a:lnTo>
                  <a:lnTo>
                    <a:pt x="48" y="32"/>
                  </a:lnTo>
                  <a:lnTo>
                    <a:pt x="56" y="32"/>
                  </a:lnTo>
                  <a:lnTo>
                    <a:pt x="56" y="32"/>
                  </a:lnTo>
                  <a:lnTo>
                    <a:pt x="56" y="32"/>
                  </a:lnTo>
                  <a:lnTo>
                    <a:pt x="48" y="32"/>
                  </a:lnTo>
                  <a:lnTo>
                    <a:pt x="24" y="40"/>
                  </a:lnTo>
                  <a:lnTo>
                    <a:pt x="24" y="40"/>
                  </a:lnTo>
                  <a:lnTo>
                    <a:pt x="32" y="40"/>
                  </a:lnTo>
                  <a:lnTo>
                    <a:pt x="24" y="4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47" name="Freeform 65"/>
            <p:cNvSpPr>
              <a:spLocks/>
            </p:cNvSpPr>
            <p:nvPr/>
          </p:nvSpPr>
          <p:spPr bwMode="auto">
            <a:xfrm>
              <a:off x="6756391" y="3733745"/>
              <a:ext cx="88900" cy="76199"/>
            </a:xfrm>
            <a:custGeom>
              <a:avLst/>
              <a:gdLst/>
              <a:ahLst/>
              <a:cxnLst>
                <a:cxn ang="0">
                  <a:pos x="48" y="32"/>
                </a:cxn>
                <a:cxn ang="0">
                  <a:pos x="40" y="32"/>
                </a:cxn>
                <a:cxn ang="0">
                  <a:pos x="40" y="40"/>
                </a:cxn>
                <a:cxn ang="0">
                  <a:pos x="48" y="48"/>
                </a:cxn>
                <a:cxn ang="0">
                  <a:pos x="48" y="48"/>
                </a:cxn>
                <a:cxn ang="0">
                  <a:pos x="40" y="48"/>
                </a:cxn>
                <a:cxn ang="0">
                  <a:pos x="40" y="48"/>
                </a:cxn>
                <a:cxn ang="0">
                  <a:pos x="32" y="48"/>
                </a:cxn>
                <a:cxn ang="0">
                  <a:pos x="24" y="48"/>
                </a:cxn>
                <a:cxn ang="0">
                  <a:pos x="24" y="32"/>
                </a:cxn>
                <a:cxn ang="0">
                  <a:pos x="24" y="24"/>
                </a:cxn>
                <a:cxn ang="0">
                  <a:pos x="24" y="24"/>
                </a:cxn>
                <a:cxn ang="0">
                  <a:pos x="16" y="24"/>
                </a:cxn>
                <a:cxn ang="0">
                  <a:pos x="16" y="24"/>
                </a:cxn>
                <a:cxn ang="0">
                  <a:pos x="16" y="32"/>
                </a:cxn>
                <a:cxn ang="0">
                  <a:pos x="16" y="32"/>
                </a:cxn>
                <a:cxn ang="0">
                  <a:pos x="16" y="24"/>
                </a:cxn>
                <a:cxn ang="0">
                  <a:pos x="16" y="32"/>
                </a:cxn>
                <a:cxn ang="0">
                  <a:pos x="8" y="24"/>
                </a:cxn>
                <a:cxn ang="0">
                  <a:pos x="8" y="24"/>
                </a:cxn>
                <a:cxn ang="0">
                  <a:pos x="8" y="32"/>
                </a:cxn>
                <a:cxn ang="0">
                  <a:pos x="0" y="40"/>
                </a:cxn>
                <a:cxn ang="0">
                  <a:pos x="0" y="40"/>
                </a:cxn>
                <a:cxn ang="0">
                  <a:pos x="0" y="40"/>
                </a:cxn>
                <a:cxn ang="0">
                  <a:pos x="0" y="32"/>
                </a:cxn>
                <a:cxn ang="0">
                  <a:pos x="0" y="24"/>
                </a:cxn>
                <a:cxn ang="0">
                  <a:pos x="8" y="16"/>
                </a:cxn>
                <a:cxn ang="0">
                  <a:pos x="16" y="8"/>
                </a:cxn>
                <a:cxn ang="0">
                  <a:pos x="24" y="16"/>
                </a:cxn>
                <a:cxn ang="0">
                  <a:pos x="24" y="16"/>
                </a:cxn>
                <a:cxn ang="0">
                  <a:pos x="24" y="16"/>
                </a:cxn>
                <a:cxn ang="0">
                  <a:pos x="24" y="16"/>
                </a:cxn>
                <a:cxn ang="0">
                  <a:pos x="40" y="8"/>
                </a:cxn>
                <a:cxn ang="0">
                  <a:pos x="40" y="0"/>
                </a:cxn>
                <a:cxn ang="0">
                  <a:pos x="40" y="0"/>
                </a:cxn>
                <a:cxn ang="0">
                  <a:pos x="40" y="0"/>
                </a:cxn>
                <a:cxn ang="0">
                  <a:pos x="40" y="0"/>
                </a:cxn>
                <a:cxn ang="0">
                  <a:pos x="48" y="0"/>
                </a:cxn>
                <a:cxn ang="0">
                  <a:pos x="56" y="24"/>
                </a:cxn>
                <a:cxn ang="0">
                  <a:pos x="56" y="40"/>
                </a:cxn>
                <a:cxn ang="0">
                  <a:pos x="48" y="40"/>
                </a:cxn>
                <a:cxn ang="0">
                  <a:pos x="48" y="40"/>
                </a:cxn>
                <a:cxn ang="0">
                  <a:pos x="48" y="32"/>
                </a:cxn>
                <a:cxn ang="0">
                  <a:pos x="48" y="32"/>
                </a:cxn>
                <a:cxn ang="0">
                  <a:pos x="48" y="32"/>
                </a:cxn>
              </a:cxnLst>
              <a:rect l="0" t="0" r="r" b="b"/>
              <a:pathLst>
                <a:path w="56" h="48">
                  <a:moveTo>
                    <a:pt x="48" y="32"/>
                  </a:moveTo>
                  <a:lnTo>
                    <a:pt x="40" y="32"/>
                  </a:lnTo>
                  <a:lnTo>
                    <a:pt x="40" y="40"/>
                  </a:lnTo>
                  <a:lnTo>
                    <a:pt x="48" y="48"/>
                  </a:lnTo>
                  <a:lnTo>
                    <a:pt x="48" y="48"/>
                  </a:lnTo>
                  <a:lnTo>
                    <a:pt x="40" y="48"/>
                  </a:lnTo>
                  <a:lnTo>
                    <a:pt x="40" y="48"/>
                  </a:lnTo>
                  <a:lnTo>
                    <a:pt x="32" y="48"/>
                  </a:lnTo>
                  <a:lnTo>
                    <a:pt x="24" y="48"/>
                  </a:lnTo>
                  <a:lnTo>
                    <a:pt x="24" y="32"/>
                  </a:lnTo>
                  <a:lnTo>
                    <a:pt x="24" y="24"/>
                  </a:lnTo>
                  <a:lnTo>
                    <a:pt x="24" y="24"/>
                  </a:lnTo>
                  <a:lnTo>
                    <a:pt x="16" y="24"/>
                  </a:lnTo>
                  <a:lnTo>
                    <a:pt x="16" y="24"/>
                  </a:lnTo>
                  <a:lnTo>
                    <a:pt x="16" y="32"/>
                  </a:lnTo>
                  <a:lnTo>
                    <a:pt x="16" y="32"/>
                  </a:lnTo>
                  <a:lnTo>
                    <a:pt x="16" y="24"/>
                  </a:lnTo>
                  <a:lnTo>
                    <a:pt x="16" y="32"/>
                  </a:lnTo>
                  <a:lnTo>
                    <a:pt x="8" y="24"/>
                  </a:lnTo>
                  <a:lnTo>
                    <a:pt x="8" y="24"/>
                  </a:lnTo>
                  <a:lnTo>
                    <a:pt x="8" y="32"/>
                  </a:lnTo>
                  <a:lnTo>
                    <a:pt x="0" y="40"/>
                  </a:lnTo>
                  <a:lnTo>
                    <a:pt x="0" y="40"/>
                  </a:lnTo>
                  <a:lnTo>
                    <a:pt x="0" y="40"/>
                  </a:lnTo>
                  <a:lnTo>
                    <a:pt x="0" y="32"/>
                  </a:lnTo>
                  <a:lnTo>
                    <a:pt x="0" y="24"/>
                  </a:lnTo>
                  <a:lnTo>
                    <a:pt x="8" y="16"/>
                  </a:lnTo>
                  <a:lnTo>
                    <a:pt x="16" y="8"/>
                  </a:lnTo>
                  <a:lnTo>
                    <a:pt x="24" y="16"/>
                  </a:lnTo>
                  <a:lnTo>
                    <a:pt x="24" y="16"/>
                  </a:lnTo>
                  <a:lnTo>
                    <a:pt x="24" y="16"/>
                  </a:lnTo>
                  <a:lnTo>
                    <a:pt x="24" y="16"/>
                  </a:lnTo>
                  <a:lnTo>
                    <a:pt x="40" y="8"/>
                  </a:lnTo>
                  <a:lnTo>
                    <a:pt x="40" y="0"/>
                  </a:lnTo>
                  <a:lnTo>
                    <a:pt x="40" y="0"/>
                  </a:lnTo>
                  <a:lnTo>
                    <a:pt x="40" y="0"/>
                  </a:lnTo>
                  <a:lnTo>
                    <a:pt x="40" y="0"/>
                  </a:lnTo>
                  <a:lnTo>
                    <a:pt x="48" y="0"/>
                  </a:lnTo>
                  <a:lnTo>
                    <a:pt x="56" y="24"/>
                  </a:lnTo>
                  <a:lnTo>
                    <a:pt x="56" y="40"/>
                  </a:lnTo>
                  <a:lnTo>
                    <a:pt x="48" y="40"/>
                  </a:lnTo>
                  <a:lnTo>
                    <a:pt x="48" y="40"/>
                  </a:lnTo>
                  <a:lnTo>
                    <a:pt x="48" y="32"/>
                  </a:lnTo>
                  <a:lnTo>
                    <a:pt x="48" y="32"/>
                  </a:lnTo>
                  <a:lnTo>
                    <a:pt x="48"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48" name="Freeform 66"/>
            <p:cNvSpPr>
              <a:spLocks/>
            </p:cNvSpPr>
            <p:nvPr/>
          </p:nvSpPr>
          <p:spPr bwMode="auto">
            <a:xfrm>
              <a:off x="6705591" y="3555948"/>
              <a:ext cx="88900" cy="114298"/>
            </a:xfrm>
            <a:custGeom>
              <a:avLst/>
              <a:gdLst/>
              <a:ahLst/>
              <a:cxnLst>
                <a:cxn ang="0">
                  <a:pos x="8" y="24"/>
                </a:cxn>
                <a:cxn ang="0">
                  <a:pos x="8" y="8"/>
                </a:cxn>
                <a:cxn ang="0">
                  <a:pos x="8" y="0"/>
                </a:cxn>
                <a:cxn ang="0">
                  <a:pos x="8" y="0"/>
                </a:cxn>
                <a:cxn ang="0">
                  <a:pos x="8" y="0"/>
                </a:cxn>
                <a:cxn ang="0">
                  <a:pos x="16" y="8"/>
                </a:cxn>
                <a:cxn ang="0">
                  <a:pos x="16" y="8"/>
                </a:cxn>
                <a:cxn ang="0">
                  <a:pos x="24" y="0"/>
                </a:cxn>
                <a:cxn ang="0">
                  <a:pos x="24" y="8"/>
                </a:cxn>
                <a:cxn ang="0">
                  <a:pos x="24" y="8"/>
                </a:cxn>
                <a:cxn ang="0">
                  <a:pos x="24" y="16"/>
                </a:cxn>
                <a:cxn ang="0">
                  <a:pos x="24" y="32"/>
                </a:cxn>
                <a:cxn ang="0">
                  <a:pos x="16" y="40"/>
                </a:cxn>
                <a:cxn ang="0">
                  <a:pos x="16" y="48"/>
                </a:cxn>
                <a:cxn ang="0">
                  <a:pos x="24" y="56"/>
                </a:cxn>
                <a:cxn ang="0">
                  <a:pos x="32" y="56"/>
                </a:cxn>
                <a:cxn ang="0">
                  <a:pos x="32" y="56"/>
                </a:cxn>
                <a:cxn ang="0">
                  <a:pos x="32" y="56"/>
                </a:cxn>
                <a:cxn ang="0">
                  <a:pos x="32" y="56"/>
                </a:cxn>
                <a:cxn ang="0">
                  <a:pos x="32" y="56"/>
                </a:cxn>
                <a:cxn ang="0">
                  <a:pos x="40" y="64"/>
                </a:cxn>
                <a:cxn ang="0">
                  <a:pos x="40" y="64"/>
                </a:cxn>
                <a:cxn ang="0">
                  <a:pos x="48" y="64"/>
                </a:cxn>
                <a:cxn ang="0">
                  <a:pos x="48" y="64"/>
                </a:cxn>
                <a:cxn ang="0">
                  <a:pos x="48" y="64"/>
                </a:cxn>
                <a:cxn ang="0">
                  <a:pos x="48" y="64"/>
                </a:cxn>
                <a:cxn ang="0">
                  <a:pos x="48" y="64"/>
                </a:cxn>
                <a:cxn ang="0">
                  <a:pos x="48" y="64"/>
                </a:cxn>
                <a:cxn ang="0">
                  <a:pos x="48" y="64"/>
                </a:cxn>
                <a:cxn ang="0">
                  <a:pos x="48" y="72"/>
                </a:cxn>
                <a:cxn ang="0">
                  <a:pos x="56" y="72"/>
                </a:cxn>
                <a:cxn ang="0">
                  <a:pos x="56" y="72"/>
                </a:cxn>
                <a:cxn ang="0">
                  <a:pos x="56" y="72"/>
                </a:cxn>
                <a:cxn ang="0">
                  <a:pos x="56" y="72"/>
                </a:cxn>
                <a:cxn ang="0">
                  <a:pos x="48" y="72"/>
                </a:cxn>
                <a:cxn ang="0">
                  <a:pos x="40" y="64"/>
                </a:cxn>
                <a:cxn ang="0">
                  <a:pos x="32" y="64"/>
                </a:cxn>
                <a:cxn ang="0">
                  <a:pos x="32" y="64"/>
                </a:cxn>
                <a:cxn ang="0">
                  <a:pos x="40" y="72"/>
                </a:cxn>
                <a:cxn ang="0">
                  <a:pos x="40" y="72"/>
                </a:cxn>
                <a:cxn ang="0">
                  <a:pos x="32" y="72"/>
                </a:cxn>
                <a:cxn ang="0">
                  <a:pos x="24" y="56"/>
                </a:cxn>
                <a:cxn ang="0">
                  <a:pos x="24" y="64"/>
                </a:cxn>
                <a:cxn ang="0">
                  <a:pos x="16" y="64"/>
                </a:cxn>
                <a:cxn ang="0">
                  <a:pos x="16" y="56"/>
                </a:cxn>
                <a:cxn ang="0">
                  <a:pos x="16" y="56"/>
                </a:cxn>
                <a:cxn ang="0">
                  <a:pos x="16" y="48"/>
                </a:cxn>
                <a:cxn ang="0">
                  <a:pos x="16" y="48"/>
                </a:cxn>
                <a:cxn ang="0">
                  <a:pos x="8" y="48"/>
                </a:cxn>
                <a:cxn ang="0">
                  <a:pos x="8" y="48"/>
                </a:cxn>
                <a:cxn ang="0">
                  <a:pos x="0" y="48"/>
                </a:cxn>
                <a:cxn ang="0">
                  <a:pos x="0" y="40"/>
                </a:cxn>
                <a:cxn ang="0">
                  <a:pos x="0" y="32"/>
                </a:cxn>
                <a:cxn ang="0">
                  <a:pos x="0" y="32"/>
                </a:cxn>
                <a:cxn ang="0">
                  <a:pos x="8" y="24"/>
                </a:cxn>
              </a:cxnLst>
              <a:rect l="0" t="0" r="r" b="b"/>
              <a:pathLst>
                <a:path w="56" h="72">
                  <a:moveTo>
                    <a:pt x="8" y="24"/>
                  </a:moveTo>
                  <a:lnTo>
                    <a:pt x="8" y="8"/>
                  </a:lnTo>
                  <a:lnTo>
                    <a:pt x="8" y="0"/>
                  </a:lnTo>
                  <a:lnTo>
                    <a:pt x="8" y="0"/>
                  </a:lnTo>
                  <a:lnTo>
                    <a:pt x="8" y="0"/>
                  </a:lnTo>
                  <a:lnTo>
                    <a:pt x="16" y="8"/>
                  </a:lnTo>
                  <a:lnTo>
                    <a:pt x="16" y="8"/>
                  </a:lnTo>
                  <a:lnTo>
                    <a:pt x="24" y="0"/>
                  </a:lnTo>
                  <a:lnTo>
                    <a:pt x="24" y="8"/>
                  </a:lnTo>
                  <a:lnTo>
                    <a:pt x="24" y="8"/>
                  </a:lnTo>
                  <a:lnTo>
                    <a:pt x="24" y="16"/>
                  </a:lnTo>
                  <a:lnTo>
                    <a:pt x="24" y="32"/>
                  </a:lnTo>
                  <a:lnTo>
                    <a:pt x="16" y="40"/>
                  </a:lnTo>
                  <a:lnTo>
                    <a:pt x="16" y="48"/>
                  </a:lnTo>
                  <a:lnTo>
                    <a:pt x="24" y="56"/>
                  </a:lnTo>
                  <a:lnTo>
                    <a:pt x="32" y="56"/>
                  </a:lnTo>
                  <a:lnTo>
                    <a:pt x="32" y="56"/>
                  </a:lnTo>
                  <a:lnTo>
                    <a:pt x="32" y="56"/>
                  </a:lnTo>
                  <a:lnTo>
                    <a:pt x="32" y="56"/>
                  </a:lnTo>
                  <a:lnTo>
                    <a:pt x="32" y="56"/>
                  </a:lnTo>
                  <a:lnTo>
                    <a:pt x="40" y="64"/>
                  </a:lnTo>
                  <a:lnTo>
                    <a:pt x="40" y="64"/>
                  </a:lnTo>
                  <a:lnTo>
                    <a:pt x="48" y="64"/>
                  </a:lnTo>
                  <a:lnTo>
                    <a:pt x="48" y="64"/>
                  </a:lnTo>
                  <a:lnTo>
                    <a:pt x="48" y="64"/>
                  </a:lnTo>
                  <a:lnTo>
                    <a:pt x="48" y="64"/>
                  </a:lnTo>
                  <a:lnTo>
                    <a:pt x="48" y="64"/>
                  </a:lnTo>
                  <a:lnTo>
                    <a:pt x="48" y="64"/>
                  </a:lnTo>
                  <a:lnTo>
                    <a:pt x="48" y="64"/>
                  </a:lnTo>
                  <a:lnTo>
                    <a:pt x="48" y="72"/>
                  </a:lnTo>
                  <a:lnTo>
                    <a:pt x="56" y="72"/>
                  </a:lnTo>
                  <a:lnTo>
                    <a:pt x="56" y="72"/>
                  </a:lnTo>
                  <a:lnTo>
                    <a:pt x="56" y="72"/>
                  </a:lnTo>
                  <a:lnTo>
                    <a:pt x="56" y="72"/>
                  </a:lnTo>
                  <a:lnTo>
                    <a:pt x="48" y="72"/>
                  </a:lnTo>
                  <a:lnTo>
                    <a:pt x="40" y="64"/>
                  </a:lnTo>
                  <a:lnTo>
                    <a:pt x="32" y="64"/>
                  </a:lnTo>
                  <a:lnTo>
                    <a:pt x="32" y="64"/>
                  </a:lnTo>
                  <a:lnTo>
                    <a:pt x="40" y="72"/>
                  </a:lnTo>
                  <a:lnTo>
                    <a:pt x="40" y="72"/>
                  </a:lnTo>
                  <a:lnTo>
                    <a:pt x="32" y="72"/>
                  </a:lnTo>
                  <a:lnTo>
                    <a:pt x="24" y="56"/>
                  </a:lnTo>
                  <a:lnTo>
                    <a:pt x="24" y="64"/>
                  </a:lnTo>
                  <a:lnTo>
                    <a:pt x="16" y="64"/>
                  </a:lnTo>
                  <a:lnTo>
                    <a:pt x="16" y="56"/>
                  </a:lnTo>
                  <a:lnTo>
                    <a:pt x="16" y="56"/>
                  </a:lnTo>
                  <a:lnTo>
                    <a:pt x="16" y="48"/>
                  </a:lnTo>
                  <a:lnTo>
                    <a:pt x="16" y="48"/>
                  </a:lnTo>
                  <a:lnTo>
                    <a:pt x="8" y="48"/>
                  </a:lnTo>
                  <a:lnTo>
                    <a:pt x="8" y="48"/>
                  </a:lnTo>
                  <a:lnTo>
                    <a:pt x="0" y="48"/>
                  </a:lnTo>
                  <a:lnTo>
                    <a:pt x="0" y="40"/>
                  </a:lnTo>
                  <a:lnTo>
                    <a:pt x="0" y="32"/>
                  </a:lnTo>
                  <a:lnTo>
                    <a:pt x="0" y="32"/>
                  </a:lnTo>
                  <a:lnTo>
                    <a:pt x="8" y="24"/>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49" name="Freeform 67"/>
            <p:cNvSpPr>
              <a:spLocks/>
            </p:cNvSpPr>
            <p:nvPr/>
          </p:nvSpPr>
          <p:spPr bwMode="auto">
            <a:xfrm>
              <a:off x="6794491" y="3682946"/>
              <a:ext cx="25400" cy="38100"/>
            </a:xfrm>
            <a:custGeom>
              <a:avLst/>
              <a:gdLst/>
              <a:ahLst/>
              <a:cxnLst>
                <a:cxn ang="0">
                  <a:pos x="8" y="16"/>
                </a:cxn>
                <a:cxn ang="0">
                  <a:pos x="8" y="16"/>
                </a:cxn>
                <a:cxn ang="0">
                  <a:pos x="8" y="24"/>
                </a:cxn>
                <a:cxn ang="0">
                  <a:pos x="16" y="24"/>
                </a:cxn>
                <a:cxn ang="0">
                  <a:pos x="16" y="24"/>
                </a:cxn>
                <a:cxn ang="0">
                  <a:pos x="8" y="24"/>
                </a:cxn>
                <a:cxn ang="0">
                  <a:pos x="8" y="24"/>
                </a:cxn>
                <a:cxn ang="0">
                  <a:pos x="8" y="24"/>
                </a:cxn>
                <a:cxn ang="0">
                  <a:pos x="8" y="24"/>
                </a:cxn>
                <a:cxn ang="0">
                  <a:pos x="8" y="24"/>
                </a:cxn>
                <a:cxn ang="0">
                  <a:pos x="8" y="16"/>
                </a:cxn>
                <a:cxn ang="0">
                  <a:pos x="8" y="16"/>
                </a:cxn>
                <a:cxn ang="0">
                  <a:pos x="0" y="16"/>
                </a:cxn>
                <a:cxn ang="0">
                  <a:pos x="0" y="16"/>
                </a:cxn>
                <a:cxn ang="0">
                  <a:pos x="0" y="8"/>
                </a:cxn>
                <a:cxn ang="0">
                  <a:pos x="8" y="8"/>
                </a:cxn>
                <a:cxn ang="0">
                  <a:pos x="8" y="8"/>
                </a:cxn>
                <a:cxn ang="0">
                  <a:pos x="8" y="8"/>
                </a:cxn>
                <a:cxn ang="0">
                  <a:pos x="0" y="0"/>
                </a:cxn>
                <a:cxn ang="0">
                  <a:pos x="0" y="0"/>
                </a:cxn>
                <a:cxn ang="0">
                  <a:pos x="8" y="0"/>
                </a:cxn>
                <a:cxn ang="0">
                  <a:pos x="8" y="0"/>
                </a:cxn>
                <a:cxn ang="0">
                  <a:pos x="8" y="0"/>
                </a:cxn>
                <a:cxn ang="0">
                  <a:pos x="8" y="0"/>
                </a:cxn>
                <a:cxn ang="0">
                  <a:pos x="16" y="0"/>
                </a:cxn>
                <a:cxn ang="0">
                  <a:pos x="16" y="0"/>
                </a:cxn>
                <a:cxn ang="0">
                  <a:pos x="16" y="8"/>
                </a:cxn>
                <a:cxn ang="0">
                  <a:pos x="16" y="8"/>
                </a:cxn>
                <a:cxn ang="0">
                  <a:pos x="16" y="16"/>
                </a:cxn>
                <a:cxn ang="0">
                  <a:pos x="16" y="16"/>
                </a:cxn>
                <a:cxn ang="0">
                  <a:pos x="8" y="16"/>
                </a:cxn>
              </a:cxnLst>
              <a:rect l="0" t="0" r="r" b="b"/>
              <a:pathLst>
                <a:path w="16" h="24">
                  <a:moveTo>
                    <a:pt x="8" y="16"/>
                  </a:moveTo>
                  <a:lnTo>
                    <a:pt x="8" y="16"/>
                  </a:lnTo>
                  <a:lnTo>
                    <a:pt x="8" y="24"/>
                  </a:lnTo>
                  <a:lnTo>
                    <a:pt x="16" y="24"/>
                  </a:lnTo>
                  <a:lnTo>
                    <a:pt x="16" y="24"/>
                  </a:lnTo>
                  <a:lnTo>
                    <a:pt x="8" y="24"/>
                  </a:lnTo>
                  <a:lnTo>
                    <a:pt x="8" y="24"/>
                  </a:lnTo>
                  <a:lnTo>
                    <a:pt x="8" y="24"/>
                  </a:lnTo>
                  <a:lnTo>
                    <a:pt x="8" y="24"/>
                  </a:lnTo>
                  <a:lnTo>
                    <a:pt x="8" y="24"/>
                  </a:lnTo>
                  <a:lnTo>
                    <a:pt x="8" y="16"/>
                  </a:lnTo>
                  <a:lnTo>
                    <a:pt x="8" y="16"/>
                  </a:lnTo>
                  <a:lnTo>
                    <a:pt x="0" y="16"/>
                  </a:lnTo>
                  <a:lnTo>
                    <a:pt x="0" y="16"/>
                  </a:lnTo>
                  <a:lnTo>
                    <a:pt x="0" y="8"/>
                  </a:lnTo>
                  <a:lnTo>
                    <a:pt x="8" y="8"/>
                  </a:lnTo>
                  <a:lnTo>
                    <a:pt x="8" y="8"/>
                  </a:lnTo>
                  <a:lnTo>
                    <a:pt x="8" y="8"/>
                  </a:lnTo>
                  <a:lnTo>
                    <a:pt x="0" y="0"/>
                  </a:lnTo>
                  <a:lnTo>
                    <a:pt x="0" y="0"/>
                  </a:lnTo>
                  <a:lnTo>
                    <a:pt x="8" y="0"/>
                  </a:lnTo>
                  <a:lnTo>
                    <a:pt x="8" y="0"/>
                  </a:lnTo>
                  <a:lnTo>
                    <a:pt x="8" y="0"/>
                  </a:lnTo>
                  <a:lnTo>
                    <a:pt x="8" y="0"/>
                  </a:lnTo>
                  <a:lnTo>
                    <a:pt x="16" y="0"/>
                  </a:lnTo>
                  <a:lnTo>
                    <a:pt x="16" y="0"/>
                  </a:lnTo>
                  <a:lnTo>
                    <a:pt x="16" y="8"/>
                  </a:lnTo>
                  <a:lnTo>
                    <a:pt x="16" y="8"/>
                  </a:lnTo>
                  <a:lnTo>
                    <a:pt x="16" y="16"/>
                  </a:lnTo>
                  <a:lnTo>
                    <a:pt x="16" y="16"/>
                  </a:lnTo>
                  <a:lnTo>
                    <a:pt x="8" y="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50" name="Freeform 68"/>
            <p:cNvSpPr>
              <a:spLocks/>
            </p:cNvSpPr>
            <p:nvPr/>
          </p:nvSpPr>
          <p:spPr bwMode="auto">
            <a:xfrm>
              <a:off x="6718291" y="3416250"/>
              <a:ext cx="25400" cy="50799"/>
            </a:xfrm>
            <a:custGeom>
              <a:avLst/>
              <a:gdLst/>
              <a:ahLst/>
              <a:cxnLst>
                <a:cxn ang="0">
                  <a:pos x="0" y="32"/>
                </a:cxn>
                <a:cxn ang="0">
                  <a:pos x="0" y="24"/>
                </a:cxn>
                <a:cxn ang="0">
                  <a:pos x="0" y="24"/>
                </a:cxn>
                <a:cxn ang="0">
                  <a:pos x="0" y="16"/>
                </a:cxn>
                <a:cxn ang="0">
                  <a:pos x="8" y="0"/>
                </a:cxn>
                <a:cxn ang="0">
                  <a:pos x="16" y="0"/>
                </a:cxn>
                <a:cxn ang="0">
                  <a:pos x="16" y="16"/>
                </a:cxn>
                <a:cxn ang="0">
                  <a:pos x="8" y="32"/>
                </a:cxn>
                <a:cxn ang="0">
                  <a:pos x="0" y="32"/>
                </a:cxn>
              </a:cxnLst>
              <a:rect l="0" t="0" r="r" b="b"/>
              <a:pathLst>
                <a:path w="16" h="32">
                  <a:moveTo>
                    <a:pt x="0" y="32"/>
                  </a:moveTo>
                  <a:lnTo>
                    <a:pt x="0" y="24"/>
                  </a:lnTo>
                  <a:lnTo>
                    <a:pt x="0" y="24"/>
                  </a:lnTo>
                  <a:lnTo>
                    <a:pt x="0" y="16"/>
                  </a:lnTo>
                  <a:lnTo>
                    <a:pt x="8" y="0"/>
                  </a:lnTo>
                  <a:lnTo>
                    <a:pt x="16" y="0"/>
                  </a:lnTo>
                  <a:lnTo>
                    <a:pt x="16" y="16"/>
                  </a:lnTo>
                  <a:lnTo>
                    <a:pt x="8" y="32"/>
                  </a:lnTo>
                  <a:lnTo>
                    <a:pt x="0"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51" name="Freeform 69"/>
            <p:cNvSpPr>
              <a:spLocks/>
            </p:cNvSpPr>
            <p:nvPr/>
          </p:nvSpPr>
          <p:spPr bwMode="auto">
            <a:xfrm>
              <a:off x="6489691" y="3517848"/>
              <a:ext cx="38100" cy="38100"/>
            </a:xfrm>
            <a:custGeom>
              <a:avLst/>
              <a:gdLst/>
              <a:ahLst/>
              <a:cxnLst>
                <a:cxn ang="0">
                  <a:pos x="0" y="8"/>
                </a:cxn>
                <a:cxn ang="0">
                  <a:pos x="16" y="0"/>
                </a:cxn>
                <a:cxn ang="0">
                  <a:pos x="24" y="0"/>
                </a:cxn>
                <a:cxn ang="0">
                  <a:pos x="24" y="8"/>
                </a:cxn>
                <a:cxn ang="0">
                  <a:pos x="8" y="24"/>
                </a:cxn>
                <a:cxn ang="0">
                  <a:pos x="0" y="24"/>
                </a:cxn>
                <a:cxn ang="0">
                  <a:pos x="0" y="16"/>
                </a:cxn>
                <a:cxn ang="0">
                  <a:pos x="0" y="16"/>
                </a:cxn>
                <a:cxn ang="0">
                  <a:pos x="0" y="8"/>
                </a:cxn>
              </a:cxnLst>
              <a:rect l="0" t="0" r="r" b="b"/>
              <a:pathLst>
                <a:path w="24" h="24">
                  <a:moveTo>
                    <a:pt x="0" y="8"/>
                  </a:moveTo>
                  <a:lnTo>
                    <a:pt x="16" y="0"/>
                  </a:lnTo>
                  <a:lnTo>
                    <a:pt x="24" y="0"/>
                  </a:lnTo>
                  <a:lnTo>
                    <a:pt x="24" y="8"/>
                  </a:lnTo>
                  <a:lnTo>
                    <a:pt x="8" y="24"/>
                  </a:lnTo>
                  <a:lnTo>
                    <a:pt x="0" y="24"/>
                  </a:lnTo>
                  <a:lnTo>
                    <a:pt x="0" y="16"/>
                  </a:lnTo>
                  <a:lnTo>
                    <a:pt x="0" y="16"/>
                  </a:lnTo>
                  <a:lnTo>
                    <a:pt x="0" y="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52" name="Freeform 70"/>
            <p:cNvSpPr>
              <a:spLocks/>
            </p:cNvSpPr>
            <p:nvPr/>
          </p:nvSpPr>
          <p:spPr bwMode="auto">
            <a:xfrm>
              <a:off x="6908791" y="3225752"/>
              <a:ext cx="38100" cy="63499"/>
            </a:xfrm>
            <a:custGeom>
              <a:avLst/>
              <a:gdLst/>
              <a:ahLst/>
              <a:cxnLst>
                <a:cxn ang="0">
                  <a:pos x="8" y="16"/>
                </a:cxn>
                <a:cxn ang="0">
                  <a:pos x="8" y="16"/>
                </a:cxn>
                <a:cxn ang="0">
                  <a:pos x="8" y="8"/>
                </a:cxn>
                <a:cxn ang="0">
                  <a:pos x="8" y="8"/>
                </a:cxn>
                <a:cxn ang="0">
                  <a:pos x="8" y="16"/>
                </a:cxn>
                <a:cxn ang="0">
                  <a:pos x="8" y="16"/>
                </a:cxn>
                <a:cxn ang="0">
                  <a:pos x="0" y="16"/>
                </a:cxn>
                <a:cxn ang="0">
                  <a:pos x="0" y="8"/>
                </a:cxn>
                <a:cxn ang="0">
                  <a:pos x="8" y="0"/>
                </a:cxn>
                <a:cxn ang="0">
                  <a:pos x="8" y="0"/>
                </a:cxn>
                <a:cxn ang="0">
                  <a:pos x="8" y="0"/>
                </a:cxn>
                <a:cxn ang="0">
                  <a:pos x="16" y="0"/>
                </a:cxn>
                <a:cxn ang="0">
                  <a:pos x="24" y="8"/>
                </a:cxn>
                <a:cxn ang="0">
                  <a:pos x="24" y="8"/>
                </a:cxn>
                <a:cxn ang="0">
                  <a:pos x="24" y="8"/>
                </a:cxn>
                <a:cxn ang="0">
                  <a:pos x="24" y="8"/>
                </a:cxn>
                <a:cxn ang="0">
                  <a:pos x="24" y="16"/>
                </a:cxn>
                <a:cxn ang="0">
                  <a:pos x="24" y="16"/>
                </a:cxn>
                <a:cxn ang="0">
                  <a:pos x="24" y="16"/>
                </a:cxn>
                <a:cxn ang="0">
                  <a:pos x="24" y="16"/>
                </a:cxn>
                <a:cxn ang="0">
                  <a:pos x="24" y="16"/>
                </a:cxn>
                <a:cxn ang="0">
                  <a:pos x="24" y="16"/>
                </a:cxn>
                <a:cxn ang="0">
                  <a:pos x="16" y="40"/>
                </a:cxn>
                <a:cxn ang="0">
                  <a:pos x="8" y="40"/>
                </a:cxn>
                <a:cxn ang="0">
                  <a:pos x="8" y="40"/>
                </a:cxn>
                <a:cxn ang="0">
                  <a:pos x="8" y="32"/>
                </a:cxn>
                <a:cxn ang="0">
                  <a:pos x="8" y="32"/>
                </a:cxn>
                <a:cxn ang="0">
                  <a:pos x="8" y="32"/>
                </a:cxn>
                <a:cxn ang="0">
                  <a:pos x="0" y="32"/>
                </a:cxn>
                <a:cxn ang="0">
                  <a:pos x="0" y="32"/>
                </a:cxn>
                <a:cxn ang="0">
                  <a:pos x="8" y="24"/>
                </a:cxn>
                <a:cxn ang="0">
                  <a:pos x="8" y="16"/>
                </a:cxn>
              </a:cxnLst>
              <a:rect l="0" t="0" r="r" b="b"/>
              <a:pathLst>
                <a:path w="24" h="40">
                  <a:moveTo>
                    <a:pt x="8" y="16"/>
                  </a:moveTo>
                  <a:lnTo>
                    <a:pt x="8" y="16"/>
                  </a:lnTo>
                  <a:lnTo>
                    <a:pt x="8" y="8"/>
                  </a:lnTo>
                  <a:lnTo>
                    <a:pt x="8" y="8"/>
                  </a:lnTo>
                  <a:lnTo>
                    <a:pt x="8" y="16"/>
                  </a:lnTo>
                  <a:lnTo>
                    <a:pt x="8" y="16"/>
                  </a:lnTo>
                  <a:lnTo>
                    <a:pt x="0" y="16"/>
                  </a:lnTo>
                  <a:lnTo>
                    <a:pt x="0" y="8"/>
                  </a:lnTo>
                  <a:lnTo>
                    <a:pt x="8" y="0"/>
                  </a:lnTo>
                  <a:lnTo>
                    <a:pt x="8" y="0"/>
                  </a:lnTo>
                  <a:lnTo>
                    <a:pt x="8" y="0"/>
                  </a:lnTo>
                  <a:lnTo>
                    <a:pt x="16" y="0"/>
                  </a:lnTo>
                  <a:lnTo>
                    <a:pt x="24" y="8"/>
                  </a:lnTo>
                  <a:lnTo>
                    <a:pt x="24" y="8"/>
                  </a:lnTo>
                  <a:lnTo>
                    <a:pt x="24" y="8"/>
                  </a:lnTo>
                  <a:lnTo>
                    <a:pt x="24" y="8"/>
                  </a:lnTo>
                  <a:lnTo>
                    <a:pt x="24" y="16"/>
                  </a:lnTo>
                  <a:lnTo>
                    <a:pt x="24" y="16"/>
                  </a:lnTo>
                  <a:lnTo>
                    <a:pt x="24" y="16"/>
                  </a:lnTo>
                  <a:lnTo>
                    <a:pt x="24" y="16"/>
                  </a:lnTo>
                  <a:lnTo>
                    <a:pt x="24" y="16"/>
                  </a:lnTo>
                  <a:lnTo>
                    <a:pt x="24" y="16"/>
                  </a:lnTo>
                  <a:lnTo>
                    <a:pt x="16" y="40"/>
                  </a:lnTo>
                  <a:lnTo>
                    <a:pt x="8" y="40"/>
                  </a:lnTo>
                  <a:lnTo>
                    <a:pt x="8" y="40"/>
                  </a:lnTo>
                  <a:lnTo>
                    <a:pt x="8" y="32"/>
                  </a:lnTo>
                  <a:lnTo>
                    <a:pt x="8" y="32"/>
                  </a:lnTo>
                  <a:lnTo>
                    <a:pt x="8" y="32"/>
                  </a:lnTo>
                  <a:lnTo>
                    <a:pt x="0" y="32"/>
                  </a:lnTo>
                  <a:lnTo>
                    <a:pt x="0" y="32"/>
                  </a:lnTo>
                  <a:lnTo>
                    <a:pt x="8" y="24"/>
                  </a:lnTo>
                  <a:lnTo>
                    <a:pt x="8" y="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53" name="Freeform 71"/>
            <p:cNvSpPr>
              <a:spLocks/>
            </p:cNvSpPr>
            <p:nvPr/>
          </p:nvSpPr>
          <p:spPr bwMode="auto">
            <a:xfrm>
              <a:off x="6959591" y="3213053"/>
              <a:ext cx="38100" cy="38100"/>
            </a:xfrm>
            <a:custGeom>
              <a:avLst/>
              <a:gdLst/>
              <a:ahLst/>
              <a:cxnLst>
                <a:cxn ang="0">
                  <a:pos x="16" y="16"/>
                </a:cxn>
                <a:cxn ang="0">
                  <a:pos x="16" y="8"/>
                </a:cxn>
                <a:cxn ang="0">
                  <a:pos x="16" y="8"/>
                </a:cxn>
                <a:cxn ang="0">
                  <a:pos x="8" y="16"/>
                </a:cxn>
                <a:cxn ang="0">
                  <a:pos x="0" y="24"/>
                </a:cxn>
                <a:cxn ang="0">
                  <a:pos x="0" y="16"/>
                </a:cxn>
                <a:cxn ang="0">
                  <a:pos x="0" y="8"/>
                </a:cxn>
                <a:cxn ang="0">
                  <a:pos x="8" y="0"/>
                </a:cxn>
                <a:cxn ang="0">
                  <a:pos x="8" y="0"/>
                </a:cxn>
                <a:cxn ang="0">
                  <a:pos x="16" y="0"/>
                </a:cxn>
                <a:cxn ang="0">
                  <a:pos x="24" y="0"/>
                </a:cxn>
                <a:cxn ang="0">
                  <a:pos x="24" y="16"/>
                </a:cxn>
                <a:cxn ang="0">
                  <a:pos x="16" y="16"/>
                </a:cxn>
              </a:cxnLst>
              <a:rect l="0" t="0" r="r" b="b"/>
              <a:pathLst>
                <a:path w="24" h="24">
                  <a:moveTo>
                    <a:pt x="16" y="16"/>
                  </a:moveTo>
                  <a:lnTo>
                    <a:pt x="16" y="8"/>
                  </a:lnTo>
                  <a:lnTo>
                    <a:pt x="16" y="8"/>
                  </a:lnTo>
                  <a:lnTo>
                    <a:pt x="8" y="16"/>
                  </a:lnTo>
                  <a:lnTo>
                    <a:pt x="0" y="24"/>
                  </a:lnTo>
                  <a:lnTo>
                    <a:pt x="0" y="16"/>
                  </a:lnTo>
                  <a:lnTo>
                    <a:pt x="0" y="8"/>
                  </a:lnTo>
                  <a:lnTo>
                    <a:pt x="8" y="0"/>
                  </a:lnTo>
                  <a:lnTo>
                    <a:pt x="8" y="0"/>
                  </a:lnTo>
                  <a:lnTo>
                    <a:pt x="16" y="0"/>
                  </a:lnTo>
                  <a:lnTo>
                    <a:pt x="24" y="0"/>
                  </a:lnTo>
                  <a:lnTo>
                    <a:pt x="24" y="16"/>
                  </a:lnTo>
                  <a:lnTo>
                    <a:pt x="16" y="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54" name="Freeform 72"/>
            <p:cNvSpPr>
              <a:spLocks/>
            </p:cNvSpPr>
            <p:nvPr/>
          </p:nvSpPr>
          <p:spPr bwMode="auto">
            <a:xfrm>
              <a:off x="7111991" y="2959057"/>
              <a:ext cx="101600" cy="88899"/>
            </a:xfrm>
            <a:custGeom>
              <a:avLst/>
              <a:gdLst/>
              <a:ahLst/>
              <a:cxnLst>
                <a:cxn ang="0">
                  <a:pos x="8" y="32"/>
                </a:cxn>
                <a:cxn ang="0">
                  <a:pos x="16" y="32"/>
                </a:cxn>
                <a:cxn ang="0">
                  <a:pos x="24" y="8"/>
                </a:cxn>
                <a:cxn ang="0">
                  <a:pos x="24" y="8"/>
                </a:cxn>
                <a:cxn ang="0">
                  <a:pos x="24" y="0"/>
                </a:cxn>
                <a:cxn ang="0">
                  <a:pos x="24" y="0"/>
                </a:cxn>
                <a:cxn ang="0">
                  <a:pos x="32" y="8"/>
                </a:cxn>
                <a:cxn ang="0">
                  <a:pos x="48" y="16"/>
                </a:cxn>
                <a:cxn ang="0">
                  <a:pos x="64" y="16"/>
                </a:cxn>
                <a:cxn ang="0">
                  <a:pos x="64" y="16"/>
                </a:cxn>
                <a:cxn ang="0">
                  <a:pos x="64" y="16"/>
                </a:cxn>
                <a:cxn ang="0">
                  <a:pos x="64" y="16"/>
                </a:cxn>
                <a:cxn ang="0">
                  <a:pos x="64" y="16"/>
                </a:cxn>
                <a:cxn ang="0">
                  <a:pos x="64" y="24"/>
                </a:cxn>
                <a:cxn ang="0">
                  <a:pos x="64" y="24"/>
                </a:cxn>
                <a:cxn ang="0">
                  <a:pos x="64" y="32"/>
                </a:cxn>
                <a:cxn ang="0">
                  <a:pos x="48" y="32"/>
                </a:cxn>
                <a:cxn ang="0">
                  <a:pos x="40" y="48"/>
                </a:cxn>
                <a:cxn ang="0">
                  <a:pos x="40" y="48"/>
                </a:cxn>
                <a:cxn ang="0">
                  <a:pos x="32" y="40"/>
                </a:cxn>
                <a:cxn ang="0">
                  <a:pos x="24" y="40"/>
                </a:cxn>
                <a:cxn ang="0">
                  <a:pos x="24" y="40"/>
                </a:cxn>
                <a:cxn ang="0">
                  <a:pos x="16" y="40"/>
                </a:cxn>
                <a:cxn ang="0">
                  <a:pos x="8" y="40"/>
                </a:cxn>
                <a:cxn ang="0">
                  <a:pos x="8" y="40"/>
                </a:cxn>
                <a:cxn ang="0">
                  <a:pos x="8" y="40"/>
                </a:cxn>
                <a:cxn ang="0">
                  <a:pos x="8" y="40"/>
                </a:cxn>
                <a:cxn ang="0">
                  <a:pos x="8" y="48"/>
                </a:cxn>
                <a:cxn ang="0">
                  <a:pos x="8" y="56"/>
                </a:cxn>
                <a:cxn ang="0">
                  <a:pos x="0" y="56"/>
                </a:cxn>
                <a:cxn ang="0">
                  <a:pos x="0" y="56"/>
                </a:cxn>
                <a:cxn ang="0">
                  <a:pos x="0" y="56"/>
                </a:cxn>
                <a:cxn ang="0">
                  <a:pos x="0" y="48"/>
                </a:cxn>
                <a:cxn ang="0">
                  <a:pos x="0" y="40"/>
                </a:cxn>
                <a:cxn ang="0">
                  <a:pos x="8" y="32"/>
                </a:cxn>
                <a:cxn ang="0">
                  <a:pos x="8" y="32"/>
                </a:cxn>
                <a:cxn ang="0">
                  <a:pos x="8" y="24"/>
                </a:cxn>
                <a:cxn ang="0">
                  <a:pos x="8" y="24"/>
                </a:cxn>
                <a:cxn ang="0">
                  <a:pos x="8" y="32"/>
                </a:cxn>
                <a:cxn ang="0">
                  <a:pos x="8" y="32"/>
                </a:cxn>
              </a:cxnLst>
              <a:rect l="0" t="0" r="r" b="b"/>
              <a:pathLst>
                <a:path w="64" h="56">
                  <a:moveTo>
                    <a:pt x="8" y="32"/>
                  </a:moveTo>
                  <a:lnTo>
                    <a:pt x="16" y="32"/>
                  </a:lnTo>
                  <a:lnTo>
                    <a:pt x="24" y="8"/>
                  </a:lnTo>
                  <a:lnTo>
                    <a:pt x="24" y="8"/>
                  </a:lnTo>
                  <a:lnTo>
                    <a:pt x="24" y="0"/>
                  </a:lnTo>
                  <a:lnTo>
                    <a:pt x="24" y="0"/>
                  </a:lnTo>
                  <a:lnTo>
                    <a:pt x="32" y="8"/>
                  </a:lnTo>
                  <a:lnTo>
                    <a:pt x="48" y="16"/>
                  </a:lnTo>
                  <a:lnTo>
                    <a:pt x="64" y="16"/>
                  </a:lnTo>
                  <a:lnTo>
                    <a:pt x="64" y="16"/>
                  </a:lnTo>
                  <a:lnTo>
                    <a:pt x="64" y="16"/>
                  </a:lnTo>
                  <a:lnTo>
                    <a:pt x="64" y="16"/>
                  </a:lnTo>
                  <a:lnTo>
                    <a:pt x="64" y="16"/>
                  </a:lnTo>
                  <a:lnTo>
                    <a:pt x="64" y="24"/>
                  </a:lnTo>
                  <a:lnTo>
                    <a:pt x="64" y="24"/>
                  </a:lnTo>
                  <a:lnTo>
                    <a:pt x="64" y="32"/>
                  </a:lnTo>
                  <a:lnTo>
                    <a:pt x="48" y="32"/>
                  </a:lnTo>
                  <a:lnTo>
                    <a:pt x="40" y="48"/>
                  </a:lnTo>
                  <a:lnTo>
                    <a:pt x="40" y="48"/>
                  </a:lnTo>
                  <a:lnTo>
                    <a:pt x="32" y="40"/>
                  </a:lnTo>
                  <a:lnTo>
                    <a:pt x="24" y="40"/>
                  </a:lnTo>
                  <a:lnTo>
                    <a:pt x="24" y="40"/>
                  </a:lnTo>
                  <a:lnTo>
                    <a:pt x="16" y="40"/>
                  </a:lnTo>
                  <a:lnTo>
                    <a:pt x="8" y="40"/>
                  </a:lnTo>
                  <a:lnTo>
                    <a:pt x="8" y="40"/>
                  </a:lnTo>
                  <a:lnTo>
                    <a:pt x="8" y="40"/>
                  </a:lnTo>
                  <a:lnTo>
                    <a:pt x="8" y="40"/>
                  </a:lnTo>
                  <a:lnTo>
                    <a:pt x="8" y="48"/>
                  </a:lnTo>
                  <a:lnTo>
                    <a:pt x="8" y="56"/>
                  </a:lnTo>
                  <a:lnTo>
                    <a:pt x="0" y="56"/>
                  </a:lnTo>
                  <a:lnTo>
                    <a:pt x="0" y="56"/>
                  </a:lnTo>
                  <a:lnTo>
                    <a:pt x="0" y="56"/>
                  </a:lnTo>
                  <a:lnTo>
                    <a:pt x="0" y="48"/>
                  </a:lnTo>
                  <a:lnTo>
                    <a:pt x="0" y="40"/>
                  </a:lnTo>
                  <a:lnTo>
                    <a:pt x="8" y="32"/>
                  </a:lnTo>
                  <a:lnTo>
                    <a:pt x="8" y="32"/>
                  </a:lnTo>
                  <a:lnTo>
                    <a:pt x="8" y="24"/>
                  </a:lnTo>
                  <a:lnTo>
                    <a:pt x="8" y="24"/>
                  </a:lnTo>
                  <a:lnTo>
                    <a:pt x="8" y="32"/>
                  </a:lnTo>
                  <a:lnTo>
                    <a:pt x="8"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55" name="Freeform 73"/>
            <p:cNvSpPr>
              <a:spLocks/>
            </p:cNvSpPr>
            <p:nvPr/>
          </p:nvSpPr>
          <p:spPr bwMode="auto">
            <a:xfrm>
              <a:off x="7264390" y="2946357"/>
              <a:ext cx="25400" cy="25400"/>
            </a:xfrm>
            <a:custGeom>
              <a:avLst/>
              <a:gdLst/>
              <a:ahLst/>
              <a:cxnLst>
                <a:cxn ang="0">
                  <a:pos x="8" y="8"/>
                </a:cxn>
                <a:cxn ang="0">
                  <a:pos x="0" y="16"/>
                </a:cxn>
                <a:cxn ang="0">
                  <a:pos x="0" y="16"/>
                </a:cxn>
                <a:cxn ang="0">
                  <a:pos x="0" y="16"/>
                </a:cxn>
                <a:cxn ang="0">
                  <a:pos x="0" y="8"/>
                </a:cxn>
                <a:cxn ang="0">
                  <a:pos x="0" y="0"/>
                </a:cxn>
                <a:cxn ang="0">
                  <a:pos x="8" y="0"/>
                </a:cxn>
                <a:cxn ang="0">
                  <a:pos x="16" y="0"/>
                </a:cxn>
                <a:cxn ang="0">
                  <a:pos x="16" y="0"/>
                </a:cxn>
                <a:cxn ang="0">
                  <a:pos x="16" y="8"/>
                </a:cxn>
                <a:cxn ang="0">
                  <a:pos x="16" y="8"/>
                </a:cxn>
                <a:cxn ang="0">
                  <a:pos x="8" y="8"/>
                </a:cxn>
              </a:cxnLst>
              <a:rect l="0" t="0" r="r" b="b"/>
              <a:pathLst>
                <a:path w="16" h="16">
                  <a:moveTo>
                    <a:pt x="8" y="8"/>
                  </a:moveTo>
                  <a:lnTo>
                    <a:pt x="0" y="16"/>
                  </a:lnTo>
                  <a:lnTo>
                    <a:pt x="0" y="16"/>
                  </a:lnTo>
                  <a:lnTo>
                    <a:pt x="0" y="16"/>
                  </a:lnTo>
                  <a:lnTo>
                    <a:pt x="0" y="8"/>
                  </a:lnTo>
                  <a:lnTo>
                    <a:pt x="0" y="0"/>
                  </a:lnTo>
                  <a:lnTo>
                    <a:pt x="8" y="0"/>
                  </a:lnTo>
                  <a:lnTo>
                    <a:pt x="16" y="0"/>
                  </a:lnTo>
                  <a:lnTo>
                    <a:pt x="16" y="0"/>
                  </a:lnTo>
                  <a:lnTo>
                    <a:pt x="16" y="8"/>
                  </a:lnTo>
                  <a:lnTo>
                    <a:pt x="16" y="8"/>
                  </a:lnTo>
                  <a:lnTo>
                    <a:pt x="8" y="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56" name="Freeform 74"/>
            <p:cNvSpPr>
              <a:spLocks/>
            </p:cNvSpPr>
            <p:nvPr/>
          </p:nvSpPr>
          <p:spPr bwMode="auto">
            <a:xfrm>
              <a:off x="7137390" y="2717760"/>
              <a:ext cx="63500" cy="215896"/>
            </a:xfrm>
            <a:custGeom>
              <a:avLst/>
              <a:gdLst/>
              <a:ahLst/>
              <a:cxnLst>
                <a:cxn ang="0">
                  <a:pos x="24" y="80"/>
                </a:cxn>
                <a:cxn ang="0">
                  <a:pos x="16" y="96"/>
                </a:cxn>
                <a:cxn ang="0">
                  <a:pos x="16" y="120"/>
                </a:cxn>
                <a:cxn ang="0">
                  <a:pos x="32" y="128"/>
                </a:cxn>
                <a:cxn ang="0">
                  <a:pos x="32" y="128"/>
                </a:cxn>
                <a:cxn ang="0">
                  <a:pos x="32" y="136"/>
                </a:cxn>
                <a:cxn ang="0">
                  <a:pos x="24" y="136"/>
                </a:cxn>
                <a:cxn ang="0">
                  <a:pos x="24" y="128"/>
                </a:cxn>
                <a:cxn ang="0">
                  <a:pos x="24" y="128"/>
                </a:cxn>
                <a:cxn ang="0">
                  <a:pos x="16" y="128"/>
                </a:cxn>
                <a:cxn ang="0">
                  <a:pos x="16" y="128"/>
                </a:cxn>
                <a:cxn ang="0">
                  <a:pos x="8" y="136"/>
                </a:cxn>
                <a:cxn ang="0">
                  <a:pos x="8" y="136"/>
                </a:cxn>
                <a:cxn ang="0">
                  <a:pos x="8" y="128"/>
                </a:cxn>
                <a:cxn ang="0">
                  <a:pos x="8" y="128"/>
                </a:cxn>
                <a:cxn ang="0">
                  <a:pos x="8" y="112"/>
                </a:cxn>
                <a:cxn ang="0">
                  <a:pos x="8" y="96"/>
                </a:cxn>
                <a:cxn ang="0">
                  <a:pos x="8" y="88"/>
                </a:cxn>
                <a:cxn ang="0">
                  <a:pos x="8" y="80"/>
                </a:cxn>
                <a:cxn ang="0">
                  <a:pos x="8" y="56"/>
                </a:cxn>
                <a:cxn ang="0">
                  <a:pos x="8" y="56"/>
                </a:cxn>
                <a:cxn ang="0">
                  <a:pos x="0" y="48"/>
                </a:cxn>
                <a:cxn ang="0">
                  <a:pos x="0" y="16"/>
                </a:cxn>
                <a:cxn ang="0">
                  <a:pos x="16" y="16"/>
                </a:cxn>
                <a:cxn ang="0">
                  <a:pos x="16" y="16"/>
                </a:cxn>
                <a:cxn ang="0">
                  <a:pos x="16" y="8"/>
                </a:cxn>
                <a:cxn ang="0">
                  <a:pos x="16" y="8"/>
                </a:cxn>
                <a:cxn ang="0">
                  <a:pos x="16" y="0"/>
                </a:cxn>
                <a:cxn ang="0">
                  <a:pos x="16" y="0"/>
                </a:cxn>
                <a:cxn ang="0">
                  <a:pos x="16" y="0"/>
                </a:cxn>
                <a:cxn ang="0">
                  <a:pos x="16" y="0"/>
                </a:cxn>
                <a:cxn ang="0">
                  <a:pos x="16" y="8"/>
                </a:cxn>
                <a:cxn ang="0">
                  <a:pos x="24" y="16"/>
                </a:cxn>
                <a:cxn ang="0">
                  <a:pos x="24" y="24"/>
                </a:cxn>
                <a:cxn ang="0">
                  <a:pos x="24" y="24"/>
                </a:cxn>
                <a:cxn ang="0">
                  <a:pos x="24" y="24"/>
                </a:cxn>
                <a:cxn ang="0">
                  <a:pos x="24" y="32"/>
                </a:cxn>
                <a:cxn ang="0">
                  <a:pos x="24" y="40"/>
                </a:cxn>
                <a:cxn ang="0">
                  <a:pos x="24" y="48"/>
                </a:cxn>
                <a:cxn ang="0">
                  <a:pos x="24" y="48"/>
                </a:cxn>
                <a:cxn ang="0">
                  <a:pos x="24" y="56"/>
                </a:cxn>
                <a:cxn ang="0">
                  <a:pos x="32" y="64"/>
                </a:cxn>
                <a:cxn ang="0">
                  <a:pos x="32" y="80"/>
                </a:cxn>
                <a:cxn ang="0">
                  <a:pos x="40" y="88"/>
                </a:cxn>
                <a:cxn ang="0">
                  <a:pos x="40" y="88"/>
                </a:cxn>
                <a:cxn ang="0">
                  <a:pos x="32" y="80"/>
                </a:cxn>
                <a:cxn ang="0">
                  <a:pos x="24" y="80"/>
                </a:cxn>
              </a:cxnLst>
              <a:rect l="0" t="0" r="r" b="b"/>
              <a:pathLst>
                <a:path w="40" h="136">
                  <a:moveTo>
                    <a:pt x="24" y="80"/>
                  </a:moveTo>
                  <a:lnTo>
                    <a:pt x="16" y="96"/>
                  </a:lnTo>
                  <a:lnTo>
                    <a:pt x="16" y="120"/>
                  </a:lnTo>
                  <a:lnTo>
                    <a:pt x="32" y="128"/>
                  </a:lnTo>
                  <a:lnTo>
                    <a:pt x="32" y="128"/>
                  </a:lnTo>
                  <a:lnTo>
                    <a:pt x="32" y="136"/>
                  </a:lnTo>
                  <a:lnTo>
                    <a:pt x="24" y="136"/>
                  </a:lnTo>
                  <a:lnTo>
                    <a:pt x="24" y="128"/>
                  </a:lnTo>
                  <a:lnTo>
                    <a:pt x="24" y="128"/>
                  </a:lnTo>
                  <a:lnTo>
                    <a:pt x="16" y="128"/>
                  </a:lnTo>
                  <a:lnTo>
                    <a:pt x="16" y="128"/>
                  </a:lnTo>
                  <a:lnTo>
                    <a:pt x="8" y="136"/>
                  </a:lnTo>
                  <a:lnTo>
                    <a:pt x="8" y="136"/>
                  </a:lnTo>
                  <a:lnTo>
                    <a:pt x="8" y="128"/>
                  </a:lnTo>
                  <a:lnTo>
                    <a:pt x="8" y="128"/>
                  </a:lnTo>
                  <a:lnTo>
                    <a:pt x="8" y="112"/>
                  </a:lnTo>
                  <a:lnTo>
                    <a:pt x="8" y="96"/>
                  </a:lnTo>
                  <a:lnTo>
                    <a:pt x="8" y="88"/>
                  </a:lnTo>
                  <a:lnTo>
                    <a:pt x="8" y="80"/>
                  </a:lnTo>
                  <a:lnTo>
                    <a:pt x="8" y="56"/>
                  </a:lnTo>
                  <a:lnTo>
                    <a:pt x="8" y="56"/>
                  </a:lnTo>
                  <a:lnTo>
                    <a:pt x="0" y="48"/>
                  </a:lnTo>
                  <a:lnTo>
                    <a:pt x="0" y="16"/>
                  </a:lnTo>
                  <a:lnTo>
                    <a:pt x="16" y="16"/>
                  </a:lnTo>
                  <a:lnTo>
                    <a:pt x="16" y="16"/>
                  </a:lnTo>
                  <a:lnTo>
                    <a:pt x="16" y="8"/>
                  </a:lnTo>
                  <a:lnTo>
                    <a:pt x="16" y="8"/>
                  </a:lnTo>
                  <a:lnTo>
                    <a:pt x="16" y="0"/>
                  </a:lnTo>
                  <a:lnTo>
                    <a:pt x="16" y="0"/>
                  </a:lnTo>
                  <a:lnTo>
                    <a:pt x="16" y="0"/>
                  </a:lnTo>
                  <a:lnTo>
                    <a:pt x="16" y="0"/>
                  </a:lnTo>
                  <a:lnTo>
                    <a:pt x="16" y="8"/>
                  </a:lnTo>
                  <a:lnTo>
                    <a:pt x="24" y="16"/>
                  </a:lnTo>
                  <a:lnTo>
                    <a:pt x="24" y="24"/>
                  </a:lnTo>
                  <a:lnTo>
                    <a:pt x="24" y="24"/>
                  </a:lnTo>
                  <a:lnTo>
                    <a:pt x="24" y="24"/>
                  </a:lnTo>
                  <a:lnTo>
                    <a:pt x="24" y="32"/>
                  </a:lnTo>
                  <a:lnTo>
                    <a:pt x="24" y="40"/>
                  </a:lnTo>
                  <a:lnTo>
                    <a:pt x="24" y="48"/>
                  </a:lnTo>
                  <a:lnTo>
                    <a:pt x="24" y="48"/>
                  </a:lnTo>
                  <a:lnTo>
                    <a:pt x="24" y="56"/>
                  </a:lnTo>
                  <a:lnTo>
                    <a:pt x="32" y="64"/>
                  </a:lnTo>
                  <a:lnTo>
                    <a:pt x="32" y="80"/>
                  </a:lnTo>
                  <a:lnTo>
                    <a:pt x="40" y="88"/>
                  </a:lnTo>
                  <a:lnTo>
                    <a:pt x="40" y="88"/>
                  </a:lnTo>
                  <a:lnTo>
                    <a:pt x="32" y="80"/>
                  </a:lnTo>
                  <a:lnTo>
                    <a:pt x="24" y="8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57" name="Freeform 75"/>
            <p:cNvSpPr>
              <a:spLocks/>
            </p:cNvSpPr>
            <p:nvPr/>
          </p:nvSpPr>
          <p:spPr bwMode="auto">
            <a:xfrm>
              <a:off x="5918192" y="3733745"/>
              <a:ext cx="38100" cy="76199"/>
            </a:xfrm>
            <a:custGeom>
              <a:avLst/>
              <a:gdLst/>
              <a:ahLst/>
              <a:cxnLst>
                <a:cxn ang="0">
                  <a:pos x="24" y="32"/>
                </a:cxn>
                <a:cxn ang="0">
                  <a:pos x="16" y="48"/>
                </a:cxn>
                <a:cxn ang="0">
                  <a:pos x="0" y="48"/>
                </a:cxn>
                <a:cxn ang="0">
                  <a:pos x="0" y="32"/>
                </a:cxn>
                <a:cxn ang="0">
                  <a:pos x="0" y="8"/>
                </a:cxn>
                <a:cxn ang="0">
                  <a:pos x="0" y="0"/>
                </a:cxn>
                <a:cxn ang="0">
                  <a:pos x="0" y="0"/>
                </a:cxn>
                <a:cxn ang="0">
                  <a:pos x="8" y="8"/>
                </a:cxn>
                <a:cxn ang="0">
                  <a:pos x="24" y="24"/>
                </a:cxn>
                <a:cxn ang="0">
                  <a:pos x="24" y="32"/>
                </a:cxn>
              </a:cxnLst>
              <a:rect l="0" t="0" r="r" b="b"/>
              <a:pathLst>
                <a:path w="24" h="48">
                  <a:moveTo>
                    <a:pt x="24" y="32"/>
                  </a:moveTo>
                  <a:lnTo>
                    <a:pt x="16" y="48"/>
                  </a:lnTo>
                  <a:lnTo>
                    <a:pt x="0" y="48"/>
                  </a:lnTo>
                  <a:lnTo>
                    <a:pt x="0" y="32"/>
                  </a:lnTo>
                  <a:lnTo>
                    <a:pt x="0" y="8"/>
                  </a:lnTo>
                  <a:lnTo>
                    <a:pt x="0" y="0"/>
                  </a:lnTo>
                  <a:lnTo>
                    <a:pt x="0" y="0"/>
                  </a:lnTo>
                  <a:lnTo>
                    <a:pt x="8" y="8"/>
                  </a:lnTo>
                  <a:lnTo>
                    <a:pt x="24" y="24"/>
                  </a:lnTo>
                  <a:lnTo>
                    <a:pt x="24"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58" name="Freeform 76"/>
            <p:cNvSpPr>
              <a:spLocks/>
            </p:cNvSpPr>
            <p:nvPr/>
          </p:nvSpPr>
          <p:spPr bwMode="auto">
            <a:xfrm>
              <a:off x="6426191" y="4038540"/>
              <a:ext cx="203200" cy="63499"/>
            </a:xfrm>
            <a:custGeom>
              <a:avLst/>
              <a:gdLst/>
              <a:ahLst/>
              <a:cxnLst>
                <a:cxn ang="0">
                  <a:pos x="120" y="32"/>
                </a:cxn>
                <a:cxn ang="0">
                  <a:pos x="112" y="32"/>
                </a:cxn>
                <a:cxn ang="0">
                  <a:pos x="112" y="40"/>
                </a:cxn>
                <a:cxn ang="0">
                  <a:pos x="112" y="40"/>
                </a:cxn>
                <a:cxn ang="0">
                  <a:pos x="104" y="32"/>
                </a:cxn>
                <a:cxn ang="0">
                  <a:pos x="80" y="32"/>
                </a:cxn>
                <a:cxn ang="0">
                  <a:pos x="64" y="32"/>
                </a:cxn>
                <a:cxn ang="0">
                  <a:pos x="64" y="32"/>
                </a:cxn>
                <a:cxn ang="0">
                  <a:pos x="56" y="24"/>
                </a:cxn>
                <a:cxn ang="0">
                  <a:pos x="40" y="24"/>
                </a:cxn>
                <a:cxn ang="0">
                  <a:pos x="32" y="24"/>
                </a:cxn>
                <a:cxn ang="0">
                  <a:pos x="24" y="24"/>
                </a:cxn>
                <a:cxn ang="0">
                  <a:pos x="24" y="24"/>
                </a:cxn>
                <a:cxn ang="0">
                  <a:pos x="16" y="24"/>
                </a:cxn>
                <a:cxn ang="0">
                  <a:pos x="0" y="8"/>
                </a:cxn>
                <a:cxn ang="0">
                  <a:pos x="0" y="8"/>
                </a:cxn>
                <a:cxn ang="0">
                  <a:pos x="0" y="8"/>
                </a:cxn>
                <a:cxn ang="0">
                  <a:pos x="0" y="8"/>
                </a:cxn>
                <a:cxn ang="0">
                  <a:pos x="8" y="0"/>
                </a:cxn>
                <a:cxn ang="0">
                  <a:pos x="8" y="0"/>
                </a:cxn>
                <a:cxn ang="0">
                  <a:pos x="16" y="0"/>
                </a:cxn>
                <a:cxn ang="0">
                  <a:pos x="24" y="0"/>
                </a:cxn>
                <a:cxn ang="0">
                  <a:pos x="48" y="16"/>
                </a:cxn>
                <a:cxn ang="0">
                  <a:pos x="56" y="16"/>
                </a:cxn>
                <a:cxn ang="0">
                  <a:pos x="64" y="8"/>
                </a:cxn>
                <a:cxn ang="0">
                  <a:pos x="80" y="16"/>
                </a:cxn>
                <a:cxn ang="0">
                  <a:pos x="88" y="16"/>
                </a:cxn>
                <a:cxn ang="0">
                  <a:pos x="96" y="16"/>
                </a:cxn>
                <a:cxn ang="0">
                  <a:pos x="104" y="16"/>
                </a:cxn>
                <a:cxn ang="0">
                  <a:pos x="104" y="16"/>
                </a:cxn>
                <a:cxn ang="0">
                  <a:pos x="96" y="16"/>
                </a:cxn>
                <a:cxn ang="0">
                  <a:pos x="88" y="16"/>
                </a:cxn>
                <a:cxn ang="0">
                  <a:pos x="88" y="16"/>
                </a:cxn>
                <a:cxn ang="0">
                  <a:pos x="96" y="24"/>
                </a:cxn>
                <a:cxn ang="0">
                  <a:pos x="104" y="24"/>
                </a:cxn>
                <a:cxn ang="0">
                  <a:pos x="112" y="32"/>
                </a:cxn>
                <a:cxn ang="0">
                  <a:pos x="112" y="32"/>
                </a:cxn>
                <a:cxn ang="0">
                  <a:pos x="120" y="32"/>
                </a:cxn>
                <a:cxn ang="0">
                  <a:pos x="120" y="32"/>
                </a:cxn>
                <a:cxn ang="0">
                  <a:pos x="120" y="32"/>
                </a:cxn>
                <a:cxn ang="0">
                  <a:pos x="128" y="32"/>
                </a:cxn>
                <a:cxn ang="0">
                  <a:pos x="120" y="40"/>
                </a:cxn>
                <a:cxn ang="0">
                  <a:pos x="120" y="32"/>
                </a:cxn>
              </a:cxnLst>
              <a:rect l="0" t="0" r="r" b="b"/>
              <a:pathLst>
                <a:path w="128" h="40">
                  <a:moveTo>
                    <a:pt x="120" y="32"/>
                  </a:moveTo>
                  <a:lnTo>
                    <a:pt x="112" y="32"/>
                  </a:lnTo>
                  <a:lnTo>
                    <a:pt x="112" y="40"/>
                  </a:lnTo>
                  <a:lnTo>
                    <a:pt x="112" y="40"/>
                  </a:lnTo>
                  <a:lnTo>
                    <a:pt x="104" y="32"/>
                  </a:lnTo>
                  <a:lnTo>
                    <a:pt x="80" y="32"/>
                  </a:lnTo>
                  <a:lnTo>
                    <a:pt x="64" y="32"/>
                  </a:lnTo>
                  <a:lnTo>
                    <a:pt x="64" y="32"/>
                  </a:lnTo>
                  <a:lnTo>
                    <a:pt x="56" y="24"/>
                  </a:lnTo>
                  <a:lnTo>
                    <a:pt x="40" y="24"/>
                  </a:lnTo>
                  <a:lnTo>
                    <a:pt x="32" y="24"/>
                  </a:lnTo>
                  <a:lnTo>
                    <a:pt x="24" y="24"/>
                  </a:lnTo>
                  <a:lnTo>
                    <a:pt x="24" y="24"/>
                  </a:lnTo>
                  <a:lnTo>
                    <a:pt x="16" y="24"/>
                  </a:lnTo>
                  <a:lnTo>
                    <a:pt x="0" y="8"/>
                  </a:lnTo>
                  <a:lnTo>
                    <a:pt x="0" y="8"/>
                  </a:lnTo>
                  <a:lnTo>
                    <a:pt x="0" y="8"/>
                  </a:lnTo>
                  <a:lnTo>
                    <a:pt x="0" y="8"/>
                  </a:lnTo>
                  <a:lnTo>
                    <a:pt x="8" y="0"/>
                  </a:lnTo>
                  <a:lnTo>
                    <a:pt x="8" y="0"/>
                  </a:lnTo>
                  <a:lnTo>
                    <a:pt x="16" y="0"/>
                  </a:lnTo>
                  <a:lnTo>
                    <a:pt x="24" y="0"/>
                  </a:lnTo>
                  <a:lnTo>
                    <a:pt x="48" y="16"/>
                  </a:lnTo>
                  <a:lnTo>
                    <a:pt x="56" y="16"/>
                  </a:lnTo>
                  <a:lnTo>
                    <a:pt x="64" y="8"/>
                  </a:lnTo>
                  <a:lnTo>
                    <a:pt x="80" y="16"/>
                  </a:lnTo>
                  <a:lnTo>
                    <a:pt x="88" y="16"/>
                  </a:lnTo>
                  <a:lnTo>
                    <a:pt x="96" y="16"/>
                  </a:lnTo>
                  <a:lnTo>
                    <a:pt x="104" y="16"/>
                  </a:lnTo>
                  <a:lnTo>
                    <a:pt x="104" y="16"/>
                  </a:lnTo>
                  <a:lnTo>
                    <a:pt x="96" y="16"/>
                  </a:lnTo>
                  <a:lnTo>
                    <a:pt x="88" y="16"/>
                  </a:lnTo>
                  <a:lnTo>
                    <a:pt x="88" y="16"/>
                  </a:lnTo>
                  <a:lnTo>
                    <a:pt x="96" y="24"/>
                  </a:lnTo>
                  <a:lnTo>
                    <a:pt x="104" y="24"/>
                  </a:lnTo>
                  <a:lnTo>
                    <a:pt x="112" y="32"/>
                  </a:lnTo>
                  <a:lnTo>
                    <a:pt x="112" y="32"/>
                  </a:lnTo>
                  <a:lnTo>
                    <a:pt x="120" y="32"/>
                  </a:lnTo>
                  <a:lnTo>
                    <a:pt x="120" y="32"/>
                  </a:lnTo>
                  <a:lnTo>
                    <a:pt x="120" y="32"/>
                  </a:lnTo>
                  <a:lnTo>
                    <a:pt x="128" y="32"/>
                  </a:lnTo>
                  <a:lnTo>
                    <a:pt x="120" y="40"/>
                  </a:lnTo>
                  <a:lnTo>
                    <a:pt x="120" y="32"/>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59" name="Freeform 77"/>
            <p:cNvSpPr>
              <a:spLocks/>
            </p:cNvSpPr>
            <p:nvPr/>
          </p:nvSpPr>
          <p:spPr bwMode="auto">
            <a:xfrm>
              <a:off x="6781791" y="4089340"/>
              <a:ext cx="63500" cy="38100"/>
            </a:xfrm>
            <a:custGeom>
              <a:avLst/>
              <a:gdLst/>
              <a:ahLst/>
              <a:cxnLst>
                <a:cxn ang="0">
                  <a:pos x="16" y="16"/>
                </a:cxn>
                <a:cxn ang="0">
                  <a:pos x="16" y="16"/>
                </a:cxn>
                <a:cxn ang="0">
                  <a:pos x="16" y="16"/>
                </a:cxn>
                <a:cxn ang="0">
                  <a:pos x="16" y="24"/>
                </a:cxn>
                <a:cxn ang="0">
                  <a:pos x="8" y="24"/>
                </a:cxn>
                <a:cxn ang="0">
                  <a:pos x="0" y="24"/>
                </a:cxn>
                <a:cxn ang="0">
                  <a:pos x="0" y="16"/>
                </a:cxn>
                <a:cxn ang="0">
                  <a:pos x="16" y="8"/>
                </a:cxn>
                <a:cxn ang="0">
                  <a:pos x="24" y="0"/>
                </a:cxn>
                <a:cxn ang="0">
                  <a:pos x="40" y="0"/>
                </a:cxn>
                <a:cxn ang="0">
                  <a:pos x="40" y="16"/>
                </a:cxn>
                <a:cxn ang="0">
                  <a:pos x="16" y="16"/>
                </a:cxn>
              </a:cxnLst>
              <a:rect l="0" t="0" r="r" b="b"/>
              <a:pathLst>
                <a:path w="40" h="24">
                  <a:moveTo>
                    <a:pt x="16" y="16"/>
                  </a:moveTo>
                  <a:lnTo>
                    <a:pt x="16" y="16"/>
                  </a:lnTo>
                  <a:lnTo>
                    <a:pt x="16" y="16"/>
                  </a:lnTo>
                  <a:lnTo>
                    <a:pt x="16" y="24"/>
                  </a:lnTo>
                  <a:lnTo>
                    <a:pt x="8" y="24"/>
                  </a:lnTo>
                  <a:lnTo>
                    <a:pt x="0" y="24"/>
                  </a:lnTo>
                  <a:lnTo>
                    <a:pt x="0" y="16"/>
                  </a:lnTo>
                  <a:lnTo>
                    <a:pt x="16" y="8"/>
                  </a:lnTo>
                  <a:lnTo>
                    <a:pt x="24" y="0"/>
                  </a:lnTo>
                  <a:lnTo>
                    <a:pt x="40" y="0"/>
                  </a:lnTo>
                  <a:lnTo>
                    <a:pt x="40" y="16"/>
                  </a:lnTo>
                  <a:lnTo>
                    <a:pt x="16" y="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60" name="Freeform 78"/>
            <p:cNvSpPr>
              <a:spLocks/>
            </p:cNvSpPr>
            <p:nvPr/>
          </p:nvSpPr>
          <p:spPr bwMode="auto">
            <a:xfrm>
              <a:off x="7277090" y="4013141"/>
              <a:ext cx="76200" cy="38100"/>
            </a:xfrm>
            <a:custGeom>
              <a:avLst/>
              <a:gdLst/>
              <a:ahLst/>
              <a:cxnLst>
                <a:cxn ang="0">
                  <a:pos x="8" y="16"/>
                </a:cxn>
                <a:cxn ang="0">
                  <a:pos x="0" y="16"/>
                </a:cxn>
                <a:cxn ang="0">
                  <a:pos x="0" y="16"/>
                </a:cxn>
                <a:cxn ang="0">
                  <a:pos x="16" y="16"/>
                </a:cxn>
                <a:cxn ang="0">
                  <a:pos x="16" y="16"/>
                </a:cxn>
                <a:cxn ang="0">
                  <a:pos x="16" y="16"/>
                </a:cxn>
                <a:cxn ang="0">
                  <a:pos x="16" y="16"/>
                </a:cxn>
                <a:cxn ang="0">
                  <a:pos x="16" y="16"/>
                </a:cxn>
                <a:cxn ang="0">
                  <a:pos x="24" y="8"/>
                </a:cxn>
                <a:cxn ang="0">
                  <a:pos x="40" y="8"/>
                </a:cxn>
                <a:cxn ang="0">
                  <a:pos x="40" y="8"/>
                </a:cxn>
                <a:cxn ang="0">
                  <a:pos x="40" y="0"/>
                </a:cxn>
                <a:cxn ang="0">
                  <a:pos x="48" y="0"/>
                </a:cxn>
                <a:cxn ang="0">
                  <a:pos x="48" y="8"/>
                </a:cxn>
                <a:cxn ang="0">
                  <a:pos x="40" y="16"/>
                </a:cxn>
                <a:cxn ang="0">
                  <a:pos x="40" y="16"/>
                </a:cxn>
                <a:cxn ang="0">
                  <a:pos x="24" y="24"/>
                </a:cxn>
                <a:cxn ang="0">
                  <a:pos x="16" y="24"/>
                </a:cxn>
                <a:cxn ang="0">
                  <a:pos x="8" y="24"/>
                </a:cxn>
                <a:cxn ang="0">
                  <a:pos x="16" y="24"/>
                </a:cxn>
                <a:cxn ang="0">
                  <a:pos x="8" y="16"/>
                </a:cxn>
              </a:cxnLst>
              <a:rect l="0" t="0" r="r" b="b"/>
              <a:pathLst>
                <a:path w="48" h="24">
                  <a:moveTo>
                    <a:pt x="8" y="16"/>
                  </a:moveTo>
                  <a:lnTo>
                    <a:pt x="0" y="16"/>
                  </a:lnTo>
                  <a:lnTo>
                    <a:pt x="0" y="16"/>
                  </a:lnTo>
                  <a:lnTo>
                    <a:pt x="16" y="16"/>
                  </a:lnTo>
                  <a:lnTo>
                    <a:pt x="16" y="16"/>
                  </a:lnTo>
                  <a:lnTo>
                    <a:pt x="16" y="16"/>
                  </a:lnTo>
                  <a:lnTo>
                    <a:pt x="16" y="16"/>
                  </a:lnTo>
                  <a:lnTo>
                    <a:pt x="16" y="16"/>
                  </a:lnTo>
                  <a:lnTo>
                    <a:pt x="24" y="8"/>
                  </a:lnTo>
                  <a:lnTo>
                    <a:pt x="40" y="8"/>
                  </a:lnTo>
                  <a:lnTo>
                    <a:pt x="40" y="8"/>
                  </a:lnTo>
                  <a:lnTo>
                    <a:pt x="40" y="0"/>
                  </a:lnTo>
                  <a:lnTo>
                    <a:pt x="48" y="0"/>
                  </a:lnTo>
                  <a:lnTo>
                    <a:pt x="48" y="8"/>
                  </a:lnTo>
                  <a:lnTo>
                    <a:pt x="40" y="16"/>
                  </a:lnTo>
                  <a:lnTo>
                    <a:pt x="40" y="16"/>
                  </a:lnTo>
                  <a:lnTo>
                    <a:pt x="24" y="24"/>
                  </a:lnTo>
                  <a:lnTo>
                    <a:pt x="16" y="24"/>
                  </a:lnTo>
                  <a:lnTo>
                    <a:pt x="8" y="24"/>
                  </a:lnTo>
                  <a:lnTo>
                    <a:pt x="16" y="24"/>
                  </a:lnTo>
                  <a:lnTo>
                    <a:pt x="8" y="16"/>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61" name="Freeform 79"/>
            <p:cNvSpPr>
              <a:spLocks/>
            </p:cNvSpPr>
            <p:nvPr/>
          </p:nvSpPr>
          <p:spPr bwMode="auto">
            <a:xfrm>
              <a:off x="6718291" y="3657546"/>
              <a:ext cx="25400" cy="25400"/>
            </a:xfrm>
            <a:custGeom>
              <a:avLst/>
              <a:gdLst/>
              <a:ahLst/>
              <a:cxnLst>
                <a:cxn ang="0">
                  <a:pos x="8" y="8"/>
                </a:cxn>
                <a:cxn ang="0">
                  <a:pos x="8" y="8"/>
                </a:cxn>
                <a:cxn ang="0">
                  <a:pos x="0" y="0"/>
                </a:cxn>
                <a:cxn ang="0">
                  <a:pos x="0" y="0"/>
                </a:cxn>
                <a:cxn ang="0">
                  <a:pos x="8" y="0"/>
                </a:cxn>
                <a:cxn ang="0">
                  <a:pos x="8" y="0"/>
                </a:cxn>
                <a:cxn ang="0">
                  <a:pos x="16" y="8"/>
                </a:cxn>
                <a:cxn ang="0">
                  <a:pos x="16" y="8"/>
                </a:cxn>
                <a:cxn ang="0">
                  <a:pos x="16" y="8"/>
                </a:cxn>
                <a:cxn ang="0">
                  <a:pos x="16" y="16"/>
                </a:cxn>
                <a:cxn ang="0">
                  <a:pos x="8" y="8"/>
                </a:cxn>
              </a:cxnLst>
              <a:rect l="0" t="0" r="r" b="b"/>
              <a:pathLst>
                <a:path w="16" h="16">
                  <a:moveTo>
                    <a:pt x="8" y="8"/>
                  </a:moveTo>
                  <a:lnTo>
                    <a:pt x="8" y="8"/>
                  </a:lnTo>
                  <a:lnTo>
                    <a:pt x="0" y="0"/>
                  </a:lnTo>
                  <a:lnTo>
                    <a:pt x="0" y="0"/>
                  </a:lnTo>
                  <a:lnTo>
                    <a:pt x="8" y="0"/>
                  </a:lnTo>
                  <a:lnTo>
                    <a:pt x="8" y="0"/>
                  </a:lnTo>
                  <a:lnTo>
                    <a:pt x="16" y="8"/>
                  </a:lnTo>
                  <a:lnTo>
                    <a:pt x="16" y="8"/>
                  </a:lnTo>
                  <a:lnTo>
                    <a:pt x="16" y="8"/>
                  </a:lnTo>
                  <a:lnTo>
                    <a:pt x="16" y="16"/>
                  </a:lnTo>
                  <a:lnTo>
                    <a:pt x="8" y="8"/>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62" name="Freeform 80"/>
            <p:cNvSpPr>
              <a:spLocks/>
            </p:cNvSpPr>
            <p:nvPr/>
          </p:nvSpPr>
          <p:spPr bwMode="auto">
            <a:xfrm>
              <a:off x="2678111" y="2476464"/>
              <a:ext cx="38100" cy="25400"/>
            </a:xfrm>
            <a:custGeom>
              <a:avLst/>
              <a:gdLst/>
              <a:ahLst/>
              <a:cxnLst>
                <a:cxn ang="0">
                  <a:pos x="16" y="0"/>
                </a:cxn>
                <a:cxn ang="0">
                  <a:pos x="24" y="0"/>
                </a:cxn>
                <a:cxn ang="0">
                  <a:pos x="24" y="0"/>
                </a:cxn>
                <a:cxn ang="0">
                  <a:pos x="24" y="8"/>
                </a:cxn>
                <a:cxn ang="0">
                  <a:pos x="8" y="16"/>
                </a:cxn>
                <a:cxn ang="0">
                  <a:pos x="0" y="16"/>
                </a:cxn>
                <a:cxn ang="0">
                  <a:pos x="0" y="16"/>
                </a:cxn>
                <a:cxn ang="0">
                  <a:pos x="0" y="16"/>
                </a:cxn>
                <a:cxn ang="0">
                  <a:pos x="0" y="16"/>
                </a:cxn>
                <a:cxn ang="0">
                  <a:pos x="8" y="0"/>
                </a:cxn>
                <a:cxn ang="0">
                  <a:pos x="16" y="0"/>
                </a:cxn>
              </a:cxnLst>
              <a:rect l="0" t="0" r="r" b="b"/>
              <a:pathLst>
                <a:path w="24" h="16">
                  <a:moveTo>
                    <a:pt x="16" y="0"/>
                  </a:moveTo>
                  <a:lnTo>
                    <a:pt x="24" y="0"/>
                  </a:lnTo>
                  <a:lnTo>
                    <a:pt x="24" y="0"/>
                  </a:lnTo>
                  <a:lnTo>
                    <a:pt x="24" y="8"/>
                  </a:lnTo>
                  <a:lnTo>
                    <a:pt x="8" y="16"/>
                  </a:lnTo>
                  <a:lnTo>
                    <a:pt x="0" y="16"/>
                  </a:lnTo>
                  <a:lnTo>
                    <a:pt x="0" y="16"/>
                  </a:lnTo>
                  <a:lnTo>
                    <a:pt x="0" y="16"/>
                  </a:lnTo>
                  <a:lnTo>
                    <a:pt x="0" y="16"/>
                  </a:lnTo>
                  <a:lnTo>
                    <a:pt x="8" y="0"/>
                  </a:lnTo>
                  <a:lnTo>
                    <a:pt x="16" y="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sp>
          <p:nvSpPr>
            <p:cNvPr id="163" name="Freeform 81"/>
            <p:cNvSpPr>
              <a:spLocks/>
            </p:cNvSpPr>
            <p:nvPr/>
          </p:nvSpPr>
          <p:spPr bwMode="auto">
            <a:xfrm>
              <a:off x="3338513" y="3937000"/>
              <a:ext cx="50800" cy="25400"/>
            </a:xfrm>
            <a:custGeom>
              <a:avLst/>
              <a:gdLst/>
              <a:ahLst/>
              <a:cxnLst>
                <a:cxn ang="0">
                  <a:pos x="16" y="0"/>
                </a:cxn>
                <a:cxn ang="0">
                  <a:pos x="16" y="0"/>
                </a:cxn>
                <a:cxn ang="0">
                  <a:pos x="24" y="0"/>
                </a:cxn>
                <a:cxn ang="0">
                  <a:pos x="24" y="0"/>
                </a:cxn>
                <a:cxn ang="0">
                  <a:pos x="24" y="0"/>
                </a:cxn>
                <a:cxn ang="0">
                  <a:pos x="24" y="0"/>
                </a:cxn>
                <a:cxn ang="0">
                  <a:pos x="24" y="0"/>
                </a:cxn>
                <a:cxn ang="0">
                  <a:pos x="32" y="8"/>
                </a:cxn>
                <a:cxn ang="0">
                  <a:pos x="32" y="8"/>
                </a:cxn>
                <a:cxn ang="0">
                  <a:pos x="24" y="16"/>
                </a:cxn>
                <a:cxn ang="0">
                  <a:pos x="16" y="16"/>
                </a:cxn>
                <a:cxn ang="0">
                  <a:pos x="0" y="8"/>
                </a:cxn>
                <a:cxn ang="0">
                  <a:pos x="0" y="0"/>
                </a:cxn>
                <a:cxn ang="0">
                  <a:pos x="8" y="0"/>
                </a:cxn>
                <a:cxn ang="0">
                  <a:pos x="8" y="0"/>
                </a:cxn>
                <a:cxn ang="0">
                  <a:pos x="16" y="0"/>
                </a:cxn>
              </a:cxnLst>
              <a:rect l="0" t="0" r="r" b="b"/>
              <a:pathLst>
                <a:path w="32" h="16">
                  <a:moveTo>
                    <a:pt x="16" y="0"/>
                  </a:moveTo>
                  <a:lnTo>
                    <a:pt x="16" y="0"/>
                  </a:lnTo>
                  <a:lnTo>
                    <a:pt x="24" y="0"/>
                  </a:lnTo>
                  <a:lnTo>
                    <a:pt x="24" y="0"/>
                  </a:lnTo>
                  <a:lnTo>
                    <a:pt x="24" y="0"/>
                  </a:lnTo>
                  <a:lnTo>
                    <a:pt x="24" y="0"/>
                  </a:lnTo>
                  <a:lnTo>
                    <a:pt x="24" y="0"/>
                  </a:lnTo>
                  <a:lnTo>
                    <a:pt x="32" y="8"/>
                  </a:lnTo>
                  <a:lnTo>
                    <a:pt x="32" y="8"/>
                  </a:lnTo>
                  <a:lnTo>
                    <a:pt x="24" y="16"/>
                  </a:lnTo>
                  <a:lnTo>
                    <a:pt x="16" y="16"/>
                  </a:lnTo>
                  <a:lnTo>
                    <a:pt x="0" y="8"/>
                  </a:lnTo>
                  <a:lnTo>
                    <a:pt x="0" y="0"/>
                  </a:lnTo>
                  <a:lnTo>
                    <a:pt x="8" y="0"/>
                  </a:lnTo>
                  <a:lnTo>
                    <a:pt x="8" y="0"/>
                  </a:lnTo>
                  <a:lnTo>
                    <a:pt x="16" y="0"/>
                  </a:lnTo>
                  <a:close/>
                </a:path>
              </a:pathLst>
            </a:custGeom>
            <a:grpFill/>
            <a:ln w="6350">
              <a:solidFill>
                <a:schemeClr val="bg2">
                  <a:lumMod val="50000"/>
                </a:schemeClr>
              </a:solidFill>
              <a:round/>
              <a:headEnd/>
              <a:tailEnd/>
            </a:ln>
          </p:spPr>
          <p:txBody>
            <a:bodyPr vert="horz" wrap="square" lIns="91373" tIns="45686" rIns="91373" bIns="45686" numCol="1" anchor="t" anchorCtr="0" compatLnSpc="1">
              <a:prstTxWarp prst="textNoShape">
                <a:avLst/>
              </a:prstTxWarp>
            </a:bodyPr>
            <a:lstStyle/>
            <a:p>
              <a:endParaRPr lang="en-GB" sz="1800"/>
            </a:p>
          </p:txBody>
        </p:sp>
      </p:grpSp>
      <p:cxnSp>
        <p:nvCxnSpPr>
          <p:cNvPr id="165" name="Straight Arrow Connector 467"/>
          <p:cNvCxnSpPr>
            <a:stCxn id="164" idx="0"/>
          </p:cNvCxnSpPr>
          <p:nvPr/>
        </p:nvCxnSpPr>
        <p:spPr>
          <a:xfrm flipV="1">
            <a:off x="1493841" y="2427581"/>
            <a:ext cx="391565" cy="454990"/>
          </a:xfrm>
          <a:prstGeom prst="straightConnector1">
            <a:avLst/>
          </a:prstGeom>
          <a:ln>
            <a:solidFill>
              <a:schemeClr val="tx1"/>
            </a:solidFill>
            <a:tailEnd type="triangle" w="med" len="lg"/>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6" name="Oval 165"/>
          <p:cNvSpPr/>
          <p:nvPr/>
        </p:nvSpPr>
        <p:spPr bwMode="gray">
          <a:xfrm>
            <a:off x="4921153" y="2647315"/>
            <a:ext cx="45686" cy="4568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sp>
        <p:nvSpPr>
          <p:cNvPr id="167" name="TextBox 454"/>
          <p:cNvSpPr txBox="1"/>
          <p:nvPr/>
        </p:nvSpPr>
        <p:spPr>
          <a:xfrm>
            <a:off x="3972946" y="3301870"/>
            <a:ext cx="1277932" cy="246108"/>
          </a:xfrm>
          <a:prstGeom prst="rect">
            <a:avLst/>
          </a:prstGeom>
          <a:noFill/>
        </p:spPr>
        <p:txBody>
          <a:bodyPr wrap="square" lIns="0" tIns="0" rIns="0" bIns="0" rtlCol="0">
            <a:noAutofit/>
          </a:bodyPr>
          <a:lstStyle/>
          <a:p>
            <a:pPr indent="-274138"/>
            <a:r>
              <a:rPr lang="de-DE" sz="1400" b="1">
                <a:solidFill>
                  <a:schemeClr val="accent1"/>
                </a:solidFill>
                <a:latin typeface="Arial"/>
                <a:ea typeface="ＭＳ Ｐゴシック"/>
              </a:rPr>
              <a:t>Hong Kong</a:t>
            </a:r>
          </a:p>
          <a:p>
            <a:r>
              <a:rPr lang="de-DE" sz="1000" b="1">
                <a:latin typeface="Arial"/>
                <a:ea typeface="ＭＳ Ｐゴシック"/>
              </a:rPr>
              <a:t>Business </a:t>
            </a:r>
            <a:r>
              <a:rPr lang="de-DE" sz="1000" b="1" err="1">
                <a:latin typeface="Arial"/>
                <a:ea typeface="ＭＳ Ｐゴシック"/>
              </a:rPr>
              <a:t>Application</a:t>
            </a:r>
            <a:r>
              <a:rPr lang="de-DE" sz="1000" b="1">
                <a:latin typeface="Arial"/>
                <a:ea typeface="ＭＳ Ｐゴシック"/>
              </a:rPr>
              <a:t> Monitoring &amp; </a:t>
            </a:r>
            <a:r>
              <a:rPr lang="de-DE" sz="1000" b="1" err="1">
                <a:latin typeface="Arial"/>
                <a:ea typeface="ＭＳ Ｐゴシック"/>
              </a:rPr>
              <a:t>Operations</a:t>
            </a:r>
            <a:endParaRPr lang="de-DE" sz="1000" b="1">
              <a:latin typeface="Arial"/>
              <a:ea typeface="ＭＳ Ｐゴシック"/>
            </a:endParaRPr>
          </a:p>
        </p:txBody>
      </p:sp>
      <p:cxnSp>
        <p:nvCxnSpPr>
          <p:cNvPr id="168" name="Straight Arrow Connector 467"/>
          <p:cNvCxnSpPr>
            <a:endCxn id="166" idx="3"/>
          </p:cNvCxnSpPr>
          <p:nvPr/>
        </p:nvCxnSpPr>
        <p:spPr>
          <a:xfrm flipV="1">
            <a:off x="4478229" y="2686311"/>
            <a:ext cx="449613" cy="632771"/>
          </a:xfrm>
          <a:prstGeom prst="straightConnector1">
            <a:avLst/>
          </a:prstGeom>
          <a:ln>
            <a:solidFill>
              <a:schemeClr val="tx1"/>
            </a:solidFill>
            <a:tailEnd type="triangle" w="med" len="lg"/>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75" name="Picture 174"/>
          <p:cNvPicPr>
            <a:picLocks noChangeAspect="1"/>
          </p:cNvPicPr>
          <p:nvPr/>
        </p:nvPicPr>
        <p:blipFill>
          <a:blip r:embed="rId16"/>
          <a:stretch>
            <a:fillRect/>
          </a:stretch>
        </p:blipFill>
        <p:spPr>
          <a:xfrm>
            <a:off x="7281962" y="5870753"/>
            <a:ext cx="220403" cy="177338"/>
          </a:xfrm>
          <a:prstGeom prst="rect">
            <a:avLst/>
          </a:prstGeom>
        </p:spPr>
      </p:pic>
      <p:sp>
        <p:nvSpPr>
          <p:cNvPr id="181" name="TextBox 454"/>
          <p:cNvSpPr txBox="1"/>
          <p:nvPr/>
        </p:nvSpPr>
        <p:spPr>
          <a:xfrm>
            <a:off x="10352273" y="1773991"/>
            <a:ext cx="1570603" cy="616250"/>
          </a:xfrm>
          <a:prstGeom prst="rect">
            <a:avLst/>
          </a:prstGeom>
          <a:noFill/>
        </p:spPr>
        <p:txBody>
          <a:bodyPr wrap="square" lIns="0" tIns="0" rIns="0" bIns="0" rtlCol="0">
            <a:noAutofit/>
          </a:bodyPr>
          <a:lstStyle/>
          <a:p>
            <a:pPr indent="-274138"/>
            <a:r>
              <a:rPr lang="de-DE" sz="1400" b="1" dirty="0" err="1">
                <a:solidFill>
                  <a:schemeClr val="accent1"/>
                </a:solidFill>
                <a:latin typeface="Arial"/>
                <a:ea typeface="ＭＳ Ｐゴシック"/>
              </a:rPr>
              <a:t>Poland</a:t>
            </a:r>
            <a:endParaRPr lang="de-DE" sz="1400" b="1" dirty="0">
              <a:solidFill>
                <a:schemeClr val="accent1"/>
              </a:solidFill>
              <a:latin typeface="Arial"/>
              <a:ea typeface="ＭＳ Ｐゴシック"/>
            </a:endParaRPr>
          </a:p>
          <a:p>
            <a:pPr>
              <a:spcAft>
                <a:spcPts val="300"/>
              </a:spcAft>
            </a:pPr>
            <a:r>
              <a:rPr lang="de-DE" sz="1000" b="1" dirty="0">
                <a:latin typeface="Arial"/>
                <a:ea typeface="ＭＳ Ｐゴシック"/>
              </a:rPr>
              <a:t>APEX Development</a:t>
            </a:r>
          </a:p>
          <a:p>
            <a:pPr>
              <a:spcAft>
                <a:spcPts val="300"/>
              </a:spcAft>
            </a:pPr>
            <a:r>
              <a:rPr lang="de-DE" sz="1000" b="1" dirty="0">
                <a:latin typeface="Arial"/>
                <a:ea typeface="ＭＳ Ｐゴシック"/>
              </a:rPr>
              <a:t>MIS</a:t>
            </a:r>
          </a:p>
          <a:p>
            <a:pPr>
              <a:spcAft>
                <a:spcPts val="300"/>
              </a:spcAft>
            </a:pPr>
            <a:r>
              <a:rPr lang="de-DE" sz="1000" b="1" dirty="0">
                <a:latin typeface="Arial"/>
                <a:ea typeface="ＭＳ Ｐゴシック"/>
              </a:rPr>
              <a:t>EDI Support Center</a:t>
            </a:r>
          </a:p>
          <a:p>
            <a:pPr>
              <a:spcAft>
                <a:spcPts val="300"/>
              </a:spcAft>
            </a:pPr>
            <a:r>
              <a:rPr lang="de-DE" sz="1000" b="1" dirty="0" err="1">
                <a:latin typeface="Arial"/>
                <a:ea typeface="ＭＳ Ｐゴシック"/>
              </a:rPr>
              <a:t>Sharepoint</a:t>
            </a:r>
            <a:r>
              <a:rPr lang="de-DE" sz="1000" b="1" dirty="0">
                <a:latin typeface="Arial"/>
                <a:ea typeface="ＭＳ Ｐゴシック"/>
              </a:rPr>
              <a:t> Support</a:t>
            </a:r>
          </a:p>
        </p:txBody>
      </p:sp>
      <p:grpSp>
        <p:nvGrpSpPr>
          <p:cNvPr id="256" name="Group 255"/>
          <p:cNvGrpSpPr/>
          <p:nvPr/>
        </p:nvGrpSpPr>
        <p:grpSpPr>
          <a:xfrm>
            <a:off x="609559" y="5823120"/>
            <a:ext cx="2939763" cy="281029"/>
            <a:chOff x="608738" y="5824850"/>
            <a:chExt cx="2941890" cy="281232"/>
          </a:xfrm>
        </p:grpSpPr>
        <p:pic>
          <p:nvPicPr>
            <p:cNvPr id="186" name="Picture 185"/>
            <p:cNvPicPr>
              <a:picLocks noChangeAspect="1"/>
            </p:cNvPicPr>
            <p:nvPr/>
          </p:nvPicPr>
          <p:blipFill>
            <a:blip r:embed="rId17"/>
            <a:stretch>
              <a:fillRect/>
            </a:stretch>
          </p:blipFill>
          <p:spPr>
            <a:xfrm>
              <a:off x="608738" y="5826267"/>
              <a:ext cx="220563" cy="180000"/>
            </a:xfrm>
            <a:prstGeom prst="rect">
              <a:avLst/>
            </a:prstGeom>
          </p:spPr>
        </p:pic>
        <p:pic>
          <p:nvPicPr>
            <p:cNvPr id="187" name="Picture 186"/>
            <p:cNvPicPr>
              <a:picLocks noChangeAspect="1"/>
            </p:cNvPicPr>
            <p:nvPr/>
          </p:nvPicPr>
          <p:blipFill>
            <a:blip r:embed="rId18"/>
            <a:stretch>
              <a:fillRect/>
            </a:stretch>
          </p:blipFill>
          <p:spPr>
            <a:xfrm>
              <a:off x="1563349" y="5824850"/>
              <a:ext cx="220563" cy="180000"/>
            </a:xfrm>
            <a:prstGeom prst="rect">
              <a:avLst/>
            </a:prstGeom>
          </p:spPr>
        </p:pic>
        <p:pic>
          <p:nvPicPr>
            <p:cNvPr id="188" name="Picture 187"/>
            <p:cNvPicPr>
              <a:picLocks noChangeAspect="1"/>
            </p:cNvPicPr>
            <p:nvPr/>
          </p:nvPicPr>
          <p:blipFill>
            <a:blip r:embed="rId16"/>
            <a:stretch>
              <a:fillRect/>
            </a:stretch>
          </p:blipFill>
          <p:spPr>
            <a:xfrm>
              <a:off x="2569420" y="5835217"/>
              <a:ext cx="220563" cy="177466"/>
            </a:xfrm>
            <a:prstGeom prst="rect">
              <a:avLst/>
            </a:prstGeom>
          </p:spPr>
        </p:pic>
        <p:sp>
          <p:nvSpPr>
            <p:cNvPr id="195" name="TextBox 194"/>
            <p:cNvSpPr txBox="1"/>
            <p:nvPr/>
          </p:nvSpPr>
          <p:spPr bwMode="gray">
            <a:xfrm>
              <a:off x="876617" y="5891809"/>
              <a:ext cx="715632" cy="214273"/>
            </a:xfrm>
            <a:prstGeom prst="rect">
              <a:avLst/>
            </a:prstGeom>
            <a:noFill/>
          </p:spPr>
          <p:txBody>
            <a:bodyPr wrap="square" lIns="0" tIns="0" rIns="0" bIns="0" rtlCol="0">
              <a:noAutofit/>
            </a:bodyPr>
            <a:lstStyle/>
            <a:p>
              <a:r>
                <a:rPr lang="de-DE" sz="700"/>
                <a:t>&lt; 5 Mitarbeiter</a:t>
              </a:r>
            </a:p>
          </p:txBody>
        </p:sp>
        <p:sp>
          <p:nvSpPr>
            <p:cNvPr id="196" name="TextBox 195"/>
            <p:cNvSpPr txBox="1"/>
            <p:nvPr/>
          </p:nvSpPr>
          <p:spPr bwMode="gray">
            <a:xfrm>
              <a:off x="1825822" y="5891809"/>
              <a:ext cx="715632" cy="214273"/>
            </a:xfrm>
            <a:prstGeom prst="rect">
              <a:avLst/>
            </a:prstGeom>
            <a:noFill/>
          </p:spPr>
          <p:txBody>
            <a:bodyPr wrap="square" lIns="0" tIns="0" rIns="0" bIns="0" rtlCol="0">
              <a:noAutofit/>
            </a:bodyPr>
            <a:lstStyle/>
            <a:p>
              <a:r>
                <a:rPr lang="de-DE" sz="700"/>
                <a:t>5 - 11 Mitarbeiter</a:t>
              </a:r>
            </a:p>
          </p:txBody>
        </p:sp>
        <p:sp>
          <p:nvSpPr>
            <p:cNvPr id="197" name="TextBox 196"/>
            <p:cNvSpPr txBox="1"/>
            <p:nvPr/>
          </p:nvSpPr>
          <p:spPr bwMode="gray">
            <a:xfrm>
              <a:off x="2834996" y="5891809"/>
              <a:ext cx="715632" cy="214273"/>
            </a:xfrm>
            <a:prstGeom prst="rect">
              <a:avLst/>
            </a:prstGeom>
            <a:noFill/>
          </p:spPr>
          <p:txBody>
            <a:bodyPr wrap="square" lIns="0" tIns="0" rIns="0" bIns="0" rtlCol="0">
              <a:noAutofit/>
            </a:bodyPr>
            <a:lstStyle/>
            <a:p>
              <a:r>
                <a:rPr lang="de-DE" sz="700"/>
                <a:t>&gt; 11 Mitarbeiter</a:t>
              </a:r>
            </a:p>
          </p:txBody>
        </p:sp>
      </p:grpSp>
      <p:sp>
        <p:nvSpPr>
          <p:cNvPr id="59" name="TextBox 454"/>
          <p:cNvSpPr txBox="1"/>
          <p:nvPr/>
        </p:nvSpPr>
        <p:spPr>
          <a:xfrm>
            <a:off x="5834367" y="2016220"/>
            <a:ext cx="1586709" cy="587022"/>
          </a:xfrm>
          <a:prstGeom prst="rect">
            <a:avLst/>
          </a:prstGeom>
          <a:noFill/>
        </p:spPr>
        <p:txBody>
          <a:bodyPr wrap="square" lIns="0" tIns="0" rIns="0" bIns="0" rtlCol="0">
            <a:noAutofit/>
          </a:bodyPr>
          <a:lstStyle/>
          <a:p>
            <a:pPr indent="-274138">
              <a:spcAft>
                <a:spcPts val="300"/>
              </a:spcAft>
            </a:pPr>
            <a:r>
              <a:rPr lang="de-DE" sz="1400" b="1" dirty="0">
                <a:solidFill>
                  <a:schemeClr val="accent1"/>
                </a:solidFill>
                <a:latin typeface="Arial"/>
                <a:ea typeface="ＭＳ Ｐゴシック"/>
              </a:rPr>
              <a:t>France</a:t>
            </a:r>
            <a:br>
              <a:rPr lang="de-DE" sz="1400" b="1" dirty="0">
                <a:solidFill>
                  <a:schemeClr val="bg1">
                    <a:lumMod val="50000"/>
                  </a:schemeClr>
                </a:solidFill>
                <a:latin typeface="Arial"/>
                <a:ea typeface="ＭＳ Ｐゴシック"/>
              </a:rPr>
            </a:br>
            <a:r>
              <a:rPr lang="de-DE" sz="1000" b="1" dirty="0">
                <a:latin typeface="Arial"/>
                <a:ea typeface="ＭＳ Ｐゴシック"/>
              </a:rPr>
              <a:t>ESB </a:t>
            </a:r>
            <a:r>
              <a:rPr lang="de-DE" sz="1000" b="1" dirty="0" err="1">
                <a:latin typeface="Arial"/>
                <a:ea typeface="ＭＳ Ｐゴシック"/>
              </a:rPr>
              <a:t>development</a:t>
            </a:r>
            <a:br>
              <a:rPr lang="de-DE" sz="1000" b="1" dirty="0">
                <a:latin typeface="Arial"/>
                <a:ea typeface="ＭＳ Ｐゴシック"/>
              </a:rPr>
            </a:br>
            <a:r>
              <a:rPr lang="de-DE" sz="1000" b="1" dirty="0" err="1">
                <a:latin typeface="Arial"/>
                <a:ea typeface="ＭＳ Ｐゴシック"/>
              </a:rPr>
              <a:t>A</a:t>
            </a:r>
            <a:r>
              <a:rPr lang="de-DE" sz="1000" b="1" dirty="0" err="1">
                <a:ea typeface="ＭＳ Ｐゴシック"/>
              </a:rPr>
              <a:t>pplication</a:t>
            </a:r>
            <a:r>
              <a:rPr lang="de-DE" sz="1000" b="1" dirty="0">
                <a:ea typeface="ＭＳ Ｐゴシック"/>
              </a:rPr>
              <a:t> </a:t>
            </a:r>
            <a:r>
              <a:rPr lang="de-DE" sz="1000" b="1" dirty="0" err="1">
                <a:ea typeface="ＭＳ Ｐゴシック"/>
              </a:rPr>
              <a:t>development</a:t>
            </a:r>
            <a:endParaRPr lang="de-DE" sz="1000" b="1" dirty="0">
              <a:latin typeface="Arial"/>
              <a:ea typeface="ＭＳ Ｐゴシック"/>
            </a:endParaRPr>
          </a:p>
        </p:txBody>
      </p:sp>
      <p:graphicFrame>
        <p:nvGraphicFramePr>
          <p:cNvPr id="211" name="Chart 3">
            <a:extLst>
              <a:ext uri="{FF2B5EF4-FFF2-40B4-BE49-F238E27FC236}">
                <a16:creationId xmlns:a16="http://schemas.microsoft.com/office/drawing/2014/main" id="{53B86A30-8858-42CD-B460-487CEA1303B9}"/>
              </a:ext>
            </a:extLst>
          </p:cNvPr>
          <p:cNvGraphicFramePr/>
          <p:nvPr>
            <p:custDataLst>
              <p:tags r:id="rId5"/>
            </p:custDataLst>
          </p:nvPr>
        </p:nvGraphicFramePr>
        <p:xfrm>
          <a:off x="1238420" y="4328789"/>
          <a:ext cx="1158456" cy="1158456"/>
        </p:xfrm>
        <a:graphic>
          <a:graphicData uri="http://schemas.openxmlformats.org/drawingml/2006/chart">
            <c:chart xmlns:c="http://schemas.openxmlformats.org/drawingml/2006/chart" xmlns:r="http://schemas.openxmlformats.org/officeDocument/2006/relationships" r:id="rId19"/>
          </a:graphicData>
        </a:graphic>
      </p:graphicFrame>
      <p:sp>
        <p:nvSpPr>
          <p:cNvPr id="278" name="Textplatzhalter 2"/>
          <p:cNvSpPr>
            <a:spLocks noGrp="1"/>
          </p:cNvSpPr>
          <p:nvPr>
            <p:custDataLst>
              <p:tags r:id="rId6"/>
            </p:custDataLst>
          </p:nvPr>
        </p:nvSpPr>
        <p:spPr bwMode="auto">
          <a:xfrm>
            <a:off x="2245824" y="4436699"/>
            <a:ext cx="869523" cy="15234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088502" rtl="0" eaLnBrk="1" latinLnBrk="0" hangingPunct="1">
              <a:lnSpc>
                <a:spcPct val="130000"/>
              </a:lnSpc>
              <a:spcBef>
                <a:spcPts val="0"/>
              </a:spcBef>
              <a:buFontTx/>
              <a:buNone/>
              <a:defRPr sz="1800" kern="1200">
                <a:solidFill>
                  <a:schemeClr val="tx1"/>
                </a:solidFill>
                <a:latin typeface="+mn-lt"/>
                <a:ea typeface="+mn-ea"/>
                <a:cs typeface="+mn-cs"/>
              </a:defRPr>
            </a:lvl1pPr>
            <a:lvl2pPr marL="18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a:lstStyle>
          <a:p>
            <a:pPr>
              <a:lnSpc>
                <a:spcPct val="100000"/>
              </a:lnSpc>
              <a:spcBef>
                <a:spcPct val="0"/>
              </a:spcBef>
              <a:spcAft>
                <a:spcPct val="0"/>
              </a:spcAft>
            </a:pPr>
            <a:fld id="{891FB97D-87D0-41D5-92FD-4279CDEBF7BF}" type="datetime'S''''o''l''''''''''ut''''''io''n'' Ce''n''te''''''''r'''''">
              <a:rPr lang="de-DE" altLang="en-US" sz="1000">
                <a:sym typeface="+mn-lt"/>
              </a:rPr>
              <a:pPr>
                <a:lnSpc>
                  <a:spcPct val="100000"/>
                </a:lnSpc>
                <a:spcBef>
                  <a:spcPct val="0"/>
                </a:spcBef>
                <a:spcAft>
                  <a:spcPct val="0"/>
                </a:spcAft>
              </a:pPr>
              <a:t>Solution Center</a:t>
            </a:fld>
            <a:endParaRPr lang="de-DE" sz="1000">
              <a:sym typeface="+mn-lt"/>
            </a:endParaRPr>
          </a:p>
        </p:txBody>
      </p:sp>
      <p:sp>
        <p:nvSpPr>
          <p:cNvPr id="275" name="Textplatzhalter 2"/>
          <p:cNvSpPr>
            <a:spLocks noGrp="1"/>
          </p:cNvSpPr>
          <p:nvPr>
            <p:custDataLst>
              <p:tags r:id="rId7"/>
            </p:custDataLst>
          </p:nvPr>
        </p:nvSpPr>
        <p:spPr bwMode="gray">
          <a:xfrm>
            <a:off x="2006232" y="4530327"/>
            <a:ext cx="128525" cy="18249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14" tIns="0" rIns="22214" bIns="0" numCol="1" spcCol="0" rtlCol="0" anchor="ctr" anchorCtr="0">
            <a:noAutofit/>
          </a:bodyPr>
          <a:lstStyle>
            <a:lvl1pPr marL="0" indent="0" algn="l" defTabSz="1088502" rtl="0" eaLnBrk="1" latinLnBrk="0" hangingPunct="1">
              <a:lnSpc>
                <a:spcPct val="130000"/>
              </a:lnSpc>
              <a:spcBef>
                <a:spcPts val="0"/>
              </a:spcBef>
              <a:buFontTx/>
              <a:buNone/>
              <a:defRPr sz="1800" kern="1200">
                <a:solidFill>
                  <a:schemeClr val="tx1"/>
                </a:solidFill>
                <a:latin typeface="+mn-lt"/>
                <a:ea typeface="+mn-ea"/>
                <a:cs typeface="+mn-cs"/>
              </a:defRPr>
            </a:lvl1pPr>
            <a:lvl2pPr marL="18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a:lstStyle>
          <a:p>
            <a:pPr algn="ctr">
              <a:lnSpc>
                <a:spcPct val="100000"/>
              </a:lnSpc>
              <a:spcBef>
                <a:spcPct val="0"/>
              </a:spcBef>
              <a:spcAft>
                <a:spcPct val="0"/>
              </a:spcAft>
            </a:pPr>
            <a:r>
              <a:rPr lang="de-DE" sz="1200">
                <a:solidFill>
                  <a:schemeClr val="bg1"/>
                </a:solidFill>
                <a:sym typeface="+mn-lt"/>
              </a:rPr>
              <a:t>6</a:t>
            </a:r>
          </a:p>
        </p:txBody>
      </p:sp>
      <p:sp>
        <p:nvSpPr>
          <p:cNvPr id="276" name="Textplatzhalter 2"/>
          <p:cNvSpPr>
            <a:spLocks noGrp="1"/>
          </p:cNvSpPr>
          <p:nvPr>
            <p:custDataLst>
              <p:tags r:id="rId8"/>
            </p:custDataLst>
          </p:nvPr>
        </p:nvSpPr>
        <p:spPr bwMode="gray">
          <a:xfrm>
            <a:off x="2180770" y="4817562"/>
            <a:ext cx="128525" cy="182498"/>
          </a:xfrm>
          <a:prstGeom prst="rect">
            <a:avLst/>
          </a:prstGeom>
          <a:solidFill>
            <a:schemeClr val="tx1"/>
          </a:solidFill>
        </p:spPr>
        <p:txBody>
          <a:bodyPr vert="horz" wrap="none" lIns="22214" tIns="0" rIns="22214" bIns="0" numCol="1" spcCol="0" rtlCol="0" anchor="ctr" anchorCtr="0">
            <a:noAutofit/>
          </a:bodyPr>
          <a:lstStyle>
            <a:lvl1pPr marL="0" indent="0" algn="l" defTabSz="1088502" rtl="0" eaLnBrk="1" latinLnBrk="0" hangingPunct="1">
              <a:lnSpc>
                <a:spcPct val="130000"/>
              </a:lnSpc>
              <a:spcBef>
                <a:spcPts val="0"/>
              </a:spcBef>
              <a:buFontTx/>
              <a:buNone/>
              <a:defRPr sz="1800" kern="1200">
                <a:solidFill>
                  <a:schemeClr val="tx1"/>
                </a:solidFill>
                <a:latin typeface="+mn-lt"/>
                <a:ea typeface="+mn-ea"/>
                <a:cs typeface="+mn-cs"/>
              </a:defRPr>
            </a:lvl1pPr>
            <a:lvl2pPr marL="18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a:lstStyle>
          <a:p>
            <a:pPr algn="ctr">
              <a:lnSpc>
                <a:spcPct val="100000"/>
              </a:lnSpc>
              <a:spcBef>
                <a:spcPct val="0"/>
              </a:spcBef>
              <a:spcAft>
                <a:spcPct val="0"/>
              </a:spcAft>
            </a:pPr>
            <a:r>
              <a:rPr lang="de-DE" sz="1200">
                <a:solidFill>
                  <a:schemeClr val="bg1"/>
                </a:solidFill>
                <a:sym typeface="+mn-lt"/>
              </a:rPr>
              <a:t>1</a:t>
            </a:r>
          </a:p>
        </p:txBody>
      </p:sp>
      <p:sp>
        <p:nvSpPr>
          <p:cNvPr id="277" name="Textplatzhalter 2"/>
          <p:cNvSpPr>
            <a:spLocks noGrp="1"/>
          </p:cNvSpPr>
          <p:nvPr>
            <p:custDataLst>
              <p:tags r:id="rId9"/>
            </p:custDataLst>
          </p:nvPr>
        </p:nvSpPr>
        <p:spPr bwMode="gray">
          <a:xfrm>
            <a:off x="1444534" y="5052427"/>
            <a:ext cx="212620" cy="182498"/>
          </a:xfrm>
          <a:prstGeom prst="rect">
            <a:avLst/>
          </a:prstGeom>
          <a:noFill/>
          <a:extLst>
            <a:ext uri="{909E8E84-426E-40DD-AFC4-6F175D3DCCD1}">
              <a14:hiddenFill xmlns:a14="http://schemas.microsoft.com/office/drawing/2010/main">
                <a:solidFill>
                  <a:schemeClr val="bg2"/>
                </a:solidFill>
              </a14:hiddenFill>
            </a:ext>
          </a:extLst>
        </p:spPr>
        <p:txBody>
          <a:bodyPr vert="horz" wrap="none" lIns="22214" tIns="0" rIns="22214" bIns="0" numCol="1" spcCol="0" rtlCol="0" anchor="ctr" anchorCtr="0">
            <a:noAutofit/>
          </a:bodyPr>
          <a:lstStyle>
            <a:lvl1pPr marL="0" indent="0" algn="l" defTabSz="1088502" rtl="0" eaLnBrk="1" latinLnBrk="0" hangingPunct="1">
              <a:lnSpc>
                <a:spcPct val="130000"/>
              </a:lnSpc>
              <a:spcBef>
                <a:spcPts val="0"/>
              </a:spcBef>
              <a:buFontTx/>
              <a:buNone/>
              <a:defRPr sz="1800" kern="1200">
                <a:solidFill>
                  <a:schemeClr val="tx1"/>
                </a:solidFill>
                <a:latin typeface="+mn-lt"/>
                <a:ea typeface="+mn-ea"/>
                <a:cs typeface="+mn-cs"/>
              </a:defRPr>
            </a:lvl1pPr>
            <a:lvl2pPr marL="18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a:lstStyle>
          <a:p>
            <a:pPr algn="ctr">
              <a:lnSpc>
                <a:spcPct val="100000"/>
              </a:lnSpc>
              <a:spcBef>
                <a:spcPct val="0"/>
              </a:spcBef>
              <a:spcAft>
                <a:spcPct val="0"/>
              </a:spcAft>
            </a:pPr>
            <a:r>
              <a:rPr lang="de-DE" sz="1200">
                <a:sym typeface="+mn-lt"/>
              </a:rPr>
              <a:t>19</a:t>
            </a:r>
          </a:p>
        </p:txBody>
      </p:sp>
      <p:sp>
        <p:nvSpPr>
          <p:cNvPr id="279" name="Textplatzhalter 2"/>
          <p:cNvSpPr>
            <a:spLocks noGrp="1"/>
          </p:cNvSpPr>
          <p:nvPr>
            <p:custDataLst>
              <p:tags r:id="rId10"/>
            </p:custDataLst>
          </p:nvPr>
        </p:nvSpPr>
        <p:spPr bwMode="auto">
          <a:xfrm>
            <a:off x="2361657" y="4831842"/>
            <a:ext cx="926643" cy="188771"/>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088502" rtl="0" eaLnBrk="1" latinLnBrk="0" hangingPunct="1">
              <a:lnSpc>
                <a:spcPct val="130000"/>
              </a:lnSpc>
              <a:spcBef>
                <a:spcPts val="0"/>
              </a:spcBef>
              <a:buFontTx/>
              <a:buNone/>
              <a:defRPr sz="1800" kern="1200">
                <a:solidFill>
                  <a:schemeClr val="tx1"/>
                </a:solidFill>
                <a:latin typeface="+mn-lt"/>
                <a:ea typeface="+mn-ea"/>
                <a:cs typeface="+mn-cs"/>
              </a:defRPr>
            </a:lvl1pPr>
            <a:lvl2pPr marL="18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a:lstStyle>
          <a:p>
            <a:pPr>
              <a:lnSpc>
                <a:spcPct val="100000"/>
              </a:lnSpc>
              <a:spcBef>
                <a:spcPct val="0"/>
              </a:spcBef>
              <a:spcAft>
                <a:spcPct val="0"/>
              </a:spcAft>
            </a:pPr>
            <a:fld id="{975DA563-C736-4B30-8F78-FC9D5E0BD66A}" type="datetime'''Vi''''r''tu''''''''''''''e''''lle''''''''''s'' Te''''''am'">
              <a:rPr lang="de-DE" altLang="en-US" sz="1000"/>
              <a:pPr>
                <a:lnSpc>
                  <a:spcPct val="100000"/>
                </a:lnSpc>
                <a:spcBef>
                  <a:spcPct val="0"/>
                </a:spcBef>
                <a:spcAft>
                  <a:spcPct val="0"/>
                </a:spcAft>
              </a:pPr>
              <a:t>Virtuelles Team</a:t>
            </a:fld>
            <a:r>
              <a:rPr lang="de-DE" altLang="en-US" sz="1000" baseline="40000" dirty="0"/>
              <a:t>1</a:t>
            </a:r>
            <a:endParaRPr lang="de-DE" sz="1000" baseline="40000" dirty="0">
              <a:sym typeface="+mn-lt"/>
            </a:endParaRPr>
          </a:p>
        </p:txBody>
      </p:sp>
      <p:sp>
        <p:nvSpPr>
          <p:cNvPr id="280" name="Textplatzhalter 2"/>
          <p:cNvSpPr>
            <a:spLocks noGrp="1"/>
          </p:cNvSpPr>
          <p:nvPr>
            <p:custDataLst>
              <p:tags r:id="rId11"/>
            </p:custDataLst>
          </p:nvPr>
        </p:nvSpPr>
        <p:spPr bwMode="auto">
          <a:xfrm>
            <a:off x="820951" y="5001644"/>
            <a:ext cx="458562" cy="30469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088502" rtl="0" eaLnBrk="1" latinLnBrk="0" hangingPunct="1">
              <a:lnSpc>
                <a:spcPct val="130000"/>
              </a:lnSpc>
              <a:spcBef>
                <a:spcPts val="0"/>
              </a:spcBef>
              <a:buFontTx/>
              <a:buNone/>
              <a:defRPr sz="1800" kern="1200">
                <a:solidFill>
                  <a:schemeClr val="tx1"/>
                </a:solidFill>
                <a:latin typeface="+mn-lt"/>
                <a:ea typeface="+mn-ea"/>
                <a:cs typeface="+mn-cs"/>
              </a:defRPr>
            </a:lvl1pPr>
            <a:lvl2pPr marL="18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a:lstStyle>
          <a:p>
            <a:pPr algn="r">
              <a:lnSpc>
                <a:spcPct val="100000"/>
              </a:lnSpc>
              <a:spcBef>
                <a:spcPct val="0"/>
              </a:spcBef>
              <a:spcAft>
                <a:spcPct val="0"/>
              </a:spcAft>
            </a:pPr>
            <a:fld id="{A99F877B-7EAE-4107-9060-EB9E6FA8CBFB}" type="datetime'''Del''i''''ver''''y''''''&#10;''C''e''''''nt''''e''r'''">
              <a:rPr lang="de-DE" altLang="en-US" sz="1000"/>
              <a:pPr algn="r">
                <a:lnSpc>
                  <a:spcPct val="100000"/>
                </a:lnSpc>
                <a:spcBef>
                  <a:spcPct val="0"/>
                </a:spcBef>
                <a:spcAft>
                  <a:spcPct val="0"/>
                </a:spcAft>
              </a:pPr>
              <a:t>Delivery
Center</a:t>
            </a:fld>
            <a:endParaRPr lang="de-DE" sz="1000" dirty="0">
              <a:sym typeface="+mn-lt"/>
            </a:endParaRPr>
          </a:p>
        </p:txBody>
      </p:sp>
      <p:sp>
        <p:nvSpPr>
          <p:cNvPr id="235" name="TextBox 234"/>
          <p:cNvSpPr txBox="1"/>
          <p:nvPr/>
        </p:nvSpPr>
        <p:spPr bwMode="gray">
          <a:xfrm>
            <a:off x="-89499" y="3963730"/>
            <a:ext cx="3710494" cy="357068"/>
          </a:xfrm>
          <a:prstGeom prst="rect">
            <a:avLst/>
          </a:prstGeom>
          <a:noFill/>
        </p:spPr>
        <p:txBody>
          <a:bodyPr wrap="square" lIns="0" tIns="0" rIns="0" bIns="0" rtlCol="0">
            <a:noAutofit/>
          </a:bodyPr>
          <a:lstStyle/>
          <a:p>
            <a:pPr algn="ctr"/>
            <a:r>
              <a:rPr lang="de-DE" sz="1200" b="1" dirty="0"/>
              <a:t>11 </a:t>
            </a:r>
            <a:r>
              <a:rPr lang="de-DE" sz="1200" b="1" dirty="0" err="1"/>
              <a:t>Shoring</a:t>
            </a:r>
            <a:r>
              <a:rPr lang="de-DE" sz="1200" b="1" dirty="0"/>
              <a:t> countries </a:t>
            </a:r>
            <a:br>
              <a:rPr lang="de-DE" sz="1200" b="1" dirty="0"/>
            </a:br>
            <a:r>
              <a:rPr lang="de-DE" sz="1000" b="1" dirty="0" err="1"/>
              <a:t>with</a:t>
            </a:r>
            <a:r>
              <a:rPr lang="de-DE" sz="1000" b="1" dirty="0"/>
              <a:t> 26 </a:t>
            </a:r>
            <a:r>
              <a:rPr lang="de-DE" sz="1000" b="1" dirty="0" err="1"/>
              <a:t>Shoring</a:t>
            </a:r>
            <a:r>
              <a:rPr lang="de-DE" sz="1000" b="1" dirty="0"/>
              <a:t> </a:t>
            </a:r>
            <a:r>
              <a:rPr lang="de-DE" sz="1000" b="1" dirty="0" err="1"/>
              <a:t>activities</a:t>
            </a:r>
            <a:endParaRPr lang="de-DE" sz="1000" b="1" dirty="0"/>
          </a:p>
        </p:txBody>
      </p:sp>
      <p:sp>
        <p:nvSpPr>
          <p:cNvPr id="80" name="TextBox 454"/>
          <p:cNvSpPr txBox="1"/>
          <p:nvPr/>
        </p:nvSpPr>
        <p:spPr>
          <a:xfrm>
            <a:off x="10740170" y="4274298"/>
            <a:ext cx="1402984" cy="258312"/>
          </a:xfrm>
          <a:prstGeom prst="rect">
            <a:avLst/>
          </a:prstGeom>
          <a:noFill/>
        </p:spPr>
        <p:txBody>
          <a:bodyPr wrap="square" lIns="0" tIns="0" rIns="0" bIns="0" rtlCol="0">
            <a:noAutofit/>
          </a:bodyPr>
          <a:lstStyle/>
          <a:p>
            <a:pPr indent="-274138"/>
            <a:r>
              <a:rPr lang="de-DE" sz="1400" b="1" dirty="0">
                <a:solidFill>
                  <a:schemeClr val="accent1"/>
                </a:solidFill>
                <a:latin typeface="Arial"/>
                <a:ea typeface="ＭＳ Ｐゴシック"/>
              </a:rPr>
              <a:t>Romania</a:t>
            </a:r>
          </a:p>
          <a:p>
            <a:r>
              <a:rPr lang="de-DE" sz="1000" b="1" dirty="0">
                <a:latin typeface="Arial"/>
                <a:ea typeface="ＭＳ Ｐゴシック"/>
              </a:rPr>
              <a:t>E-Commerce</a:t>
            </a:r>
          </a:p>
        </p:txBody>
      </p:sp>
      <p:pic>
        <p:nvPicPr>
          <p:cNvPr id="330" name="Picture 329"/>
          <p:cNvPicPr>
            <a:picLocks noChangeAspect="1"/>
          </p:cNvPicPr>
          <p:nvPr/>
        </p:nvPicPr>
        <p:blipFill>
          <a:blip r:embed="rId20"/>
          <a:stretch>
            <a:fillRect/>
          </a:stretch>
        </p:blipFill>
        <p:spPr>
          <a:xfrm>
            <a:off x="10000501" y="3205303"/>
            <a:ext cx="210005" cy="177338"/>
          </a:xfrm>
          <a:prstGeom prst="rect">
            <a:avLst/>
          </a:prstGeom>
        </p:spPr>
      </p:pic>
      <p:pic>
        <p:nvPicPr>
          <p:cNvPr id="336" name="Picture 335"/>
          <p:cNvPicPr>
            <a:picLocks noChangeAspect="1"/>
          </p:cNvPicPr>
          <p:nvPr/>
        </p:nvPicPr>
        <p:blipFill>
          <a:blip r:embed="rId21"/>
          <a:stretch>
            <a:fillRect/>
          </a:stretch>
        </p:blipFill>
        <p:spPr>
          <a:xfrm>
            <a:off x="10091074" y="2356515"/>
            <a:ext cx="221842" cy="167877"/>
          </a:xfrm>
          <a:prstGeom prst="rect">
            <a:avLst/>
          </a:prstGeom>
        </p:spPr>
      </p:pic>
      <p:sp>
        <p:nvSpPr>
          <p:cNvPr id="164" name="TextBox 454"/>
          <p:cNvSpPr txBox="1"/>
          <p:nvPr/>
        </p:nvSpPr>
        <p:spPr>
          <a:xfrm>
            <a:off x="864019" y="2882573"/>
            <a:ext cx="1259648" cy="246108"/>
          </a:xfrm>
          <a:prstGeom prst="rect">
            <a:avLst/>
          </a:prstGeom>
          <a:noFill/>
        </p:spPr>
        <p:txBody>
          <a:bodyPr wrap="square" lIns="0" tIns="0" rIns="0" bIns="0" rtlCol="0">
            <a:noAutofit/>
          </a:bodyPr>
          <a:lstStyle/>
          <a:p>
            <a:pPr indent="-274138"/>
            <a:r>
              <a:rPr lang="de-DE" sz="1400" b="1" dirty="0">
                <a:solidFill>
                  <a:schemeClr val="accent1"/>
                </a:solidFill>
                <a:latin typeface="Arial"/>
                <a:ea typeface="ＭＳ Ｐゴシック"/>
              </a:rPr>
              <a:t>USA</a:t>
            </a:r>
          </a:p>
          <a:p>
            <a:pPr>
              <a:spcAft>
                <a:spcPts val="300"/>
              </a:spcAft>
            </a:pPr>
            <a:r>
              <a:rPr lang="de-DE" sz="1000" b="1" dirty="0">
                <a:latin typeface="Arial"/>
                <a:ea typeface="ＭＳ Ｐゴシック"/>
              </a:rPr>
              <a:t>Support</a:t>
            </a:r>
          </a:p>
          <a:p>
            <a:pPr>
              <a:spcAft>
                <a:spcPts val="300"/>
              </a:spcAft>
            </a:pPr>
            <a:r>
              <a:rPr lang="de-DE" sz="1000" b="1" dirty="0">
                <a:latin typeface="Arial"/>
                <a:ea typeface="ＭＳ Ｐゴシック"/>
              </a:rPr>
              <a:t>Global Business Support</a:t>
            </a:r>
          </a:p>
        </p:txBody>
      </p:sp>
      <p:grpSp>
        <p:nvGrpSpPr>
          <p:cNvPr id="255" name="Group 254"/>
          <p:cNvGrpSpPr/>
          <p:nvPr/>
        </p:nvGrpSpPr>
        <p:grpSpPr>
          <a:xfrm>
            <a:off x="604481" y="6110017"/>
            <a:ext cx="2200849" cy="230191"/>
            <a:chOff x="612054" y="6111956"/>
            <a:chExt cx="2202442" cy="230357"/>
          </a:xfrm>
        </p:grpSpPr>
        <p:sp>
          <p:nvSpPr>
            <p:cNvPr id="199" name="TextBox 198"/>
            <p:cNvSpPr txBox="1"/>
            <p:nvPr/>
          </p:nvSpPr>
          <p:spPr bwMode="gray">
            <a:xfrm>
              <a:off x="870496" y="6189781"/>
              <a:ext cx="1944000" cy="152532"/>
            </a:xfrm>
            <a:prstGeom prst="rect">
              <a:avLst/>
            </a:prstGeom>
            <a:noFill/>
          </p:spPr>
          <p:txBody>
            <a:bodyPr wrap="square" lIns="0" tIns="0" rIns="0" bIns="0" rtlCol="0">
              <a:noAutofit/>
            </a:bodyPr>
            <a:lstStyle/>
            <a:p>
              <a:r>
                <a:rPr lang="de-DE" sz="700"/>
                <a:t>Anstieg Mitarbeiter bis Ende 2019 über 50%</a:t>
              </a:r>
            </a:p>
          </p:txBody>
        </p:sp>
        <p:pic>
          <p:nvPicPr>
            <p:cNvPr id="364" name="Picture 363"/>
            <p:cNvPicPr>
              <a:picLocks noChangeAspect="1"/>
            </p:cNvPicPr>
            <p:nvPr/>
          </p:nvPicPr>
          <p:blipFill>
            <a:blip r:embed="rId22"/>
            <a:stretch>
              <a:fillRect/>
            </a:stretch>
          </p:blipFill>
          <p:spPr>
            <a:xfrm>
              <a:off x="612054" y="6111956"/>
              <a:ext cx="227512" cy="177466"/>
            </a:xfrm>
            <a:prstGeom prst="rect">
              <a:avLst/>
            </a:prstGeom>
          </p:spPr>
        </p:pic>
      </p:grpSp>
      <p:sp>
        <p:nvSpPr>
          <p:cNvPr id="229" name="TextBox 228"/>
          <p:cNvSpPr txBox="1"/>
          <p:nvPr/>
        </p:nvSpPr>
        <p:spPr bwMode="gray">
          <a:xfrm>
            <a:off x="616020" y="6468044"/>
            <a:ext cx="3147722" cy="164452"/>
          </a:xfrm>
          <a:prstGeom prst="rect">
            <a:avLst/>
          </a:prstGeom>
          <a:noFill/>
        </p:spPr>
        <p:txBody>
          <a:bodyPr wrap="square" lIns="0" tIns="0" rIns="0" bIns="0" rtlCol="0">
            <a:noAutofit/>
          </a:bodyPr>
          <a:lstStyle/>
          <a:p>
            <a:r>
              <a:rPr lang="de-DE" sz="700" baseline="40000"/>
              <a:t>1</a:t>
            </a:r>
            <a:r>
              <a:rPr lang="de-DE" sz="700"/>
              <a:t> Virtuelles Team: </a:t>
            </a:r>
            <a:r>
              <a:rPr lang="de-DE" sz="700" err="1"/>
              <a:t>Sharepoint</a:t>
            </a:r>
            <a:r>
              <a:rPr lang="de-DE" sz="700"/>
              <a:t> Betrieb</a:t>
            </a:r>
          </a:p>
          <a:p>
            <a:endParaRPr lang="de-DE" sz="700"/>
          </a:p>
        </p:txBody>
      </p:sp>
      <p:grpSp>
        <p:nvGrpSpPr>
          <p:cNvPr id="257" name="Group 256"/>
          <p:cNvGrpSpPr/>
          <p:nvPr/>
        </p:nvGrpSpPr>
        <p:grpSpPr>
          <a:xfrm>
            <a:off x="609560" y="5509750"/>
            <a:ext cx="2287778" cy="302870"/>
            <a:chOff x="605588" y="5511254"/>
            <a:chExt cx="2289434" cy="303089"/>
          </a:xfrm>
        </p:grpSpPr>
        <p:sp>
          <p:nvSpPr>
            <p:cNvPr id="223" name="TextBox 222"/>
            <p:cNvSpPr txBox="1"/>
            <p:nvPr/>
          </p:nvSpPr>
          <p:spPr bwMode="gray">
            <a:xfrm>
              <a:off x="876617" y="5600070"/>
              <a:ext cx="715632" cy="214273"/>
            </a:xfrm>
            <a:prstGeom prst="rect">
              <a:avLst/>
            </a:prstGeom>
            <a:noFill/>
          </p:spPr>
          <p:txBody>
            <a:bodyPr wrap="square" lIns="0" tIns="0" rIns="0" bIns="0" rtlCol="0">
              <a:noAutofit/>
            </a:bodyPr>
            <a:lstStyle/>
            <a:p>
              <a:r>
                <a:rPr lang="de-DE" sz="700"/>
                <a:t>Solution Center</a:t>
              </a:r>
            </a:p>
          </p:txBody>
        </p:sp>
        <p:pic>
          <p:nvPicPr>
            <p:cNvPr id="359" name="Picture 358"/>
            <p:cNvPicPr>
              <a:picLocks noChangeAspect="1"/>
            </p:cNvPicPr>
            <p:nvPr/>
          </p:nvPicPr>
          <p:blipFill>
            <a:blip r:embed="rId16"/>
            <a:stretch>
              <a:fillRect/>
            </a:stretch>
          </p:blipFill>
          <p:spPr>
            <a:xfrm>
              <a:off x="605588" y="5529740"/>
              <a:ext cx="223713" cy="180000"/>
            </a:xfrm>
            <a:prstGeom prst="rect">
              <a:avLst/>
            </a:prstGeom>
          </p:spPr>
        </p:pic>
        <p:sp>
          <p:nvSpPr>
            <p:cNvPr id="360" name="TextBox 359"/>
            <p:cNvSpPr txBox="1"/>
            <p:nvPr/>
          </p:nvSpPr>
          <p:spPr bwMode="gray">
            <a:xfrm>
              <a:off x="2179390" y="5595884"/>
              <a:ext cx="715632" cy="214273"/>
            </a:xfrm>
            <a:prstGeom prst="rect">
              <a:avLst/>
            </a:prstGeom>
            <a:noFill/>
          </p:spPr>
          <p:txBody>
            <a:bodyPr wrap="square" lIns="0" tIns="0" rIns="0" bIns="0" rtlCol="0">
              <a:noAutofit/>
            </a:bodyPr>
            <a:lstStyle/>
            <a:p>
              <a:r>
                <a:rPr lang="de-DE" sz="700" err="1"/>
                <a:t>Delivery</a:t>
              </a:r>
              <a:r>
                <a:rPr lang="de-DE" sz="700"/>
                <a:t> Center</a:t>
              </a:r>
            </a:p>
          </p:txBody>
        </p:sp>
        <p:pic>
          <p:nvPicPr>
            <p:cNvPr id="230" name="Picture 229"/>
            <p:cNvPicPr>
              <a:picLocks noChangeAspect="1"/>
            </p:cNvPicPr>
            <p:nvPr/>
          </p:nvPicPr>
          <p:blipFill>
            <a:blip r:embed="rId23"/>
            <a:stretch>
              <a:fillRect/>
            </a:stretch>
          </p:blipFill>
          <p:spPr>
            <a:xfrm>
              <a:off x="1913765" y="5511254"/>
              <a:ext cx="223714" cy="180000"/>
            </a:xfrm>
            <a:prstGeom prst="rect">
              <a:avLst/>
            </a:prstGeom>
          </p:spPr>
        </p:pic>
      </p:grpSp>
      <p:pic>
        <p:nvPicPr>
          <p:cNvPr id="234" name="Picture 233"/>
          <p:cNvPicPr>
            <a:picLocks noChangeAspect="1"/>
          </p:cNvPicPr>
          <p:nvPr/>
        </p:nvPicPr>
        <p:blipFill>
          <a:blip r:embed="rId21"/>
          <a:stretch>
            <a:fillRect/>
          </a:stretch>
        </p:blipFill>
        <p:spPr>
          <a:xfrm>
            <a:off x="7281961" y="6270912"/>
            <a:ext cx="218689" cy="167877"/>
          </a:xfrm>
          <a:prstGeom prst="rect">
            <a:avLst/>
          </a:prstGeom>
        </p:spPr>
      </p:pic>
      <p:grpSp>
        <p:nvGrpSpPr>
          <p:cNvPr id="224" name="Group 223"/>
          <p:cNvGrpSpPr/>
          <p:nvPr/>
        </p:nvGrpSpPr>
        <p:grpSpPr>
          <a:xfrm>
            <a:off x="10800639" y="4937742"/>
            <a:ext cx="1652591" cy="551200"/>
            <a:chOff x="10362414" y="5645093"/>
            <a:chExt cx="1653787" cy="551600"/>
          </a:xfrm>
        </p:grpSpPr>
        <p:sp>
          <p:nvSpPr>
            <p:cNvPr id="66" name="TextBox 454"/>
            <p:cNvSpPr txBox="1"/>
            <p:nvPr/>
          </p:nvSpPr>
          <p:spPr>
            <a:xfrm>
              <a:off x="10612201" y="5645093"/>
              <a:ext cx="1404000" cy="258499"/>
            </a:xfrm>
            <a:prstGeom prst="rect">
              <a:avLst/>
            </a:prstGeom>
            <a:noFill/>
          </p:spPr>
          <p:txBody>
            <a:bodyPr wrap="square" lIns="0" tIns="0" rIns="0" bIns="0" rtlCol="0">
              <a:noAutofit/>
            </a:bodyPr>
            <a:lstStyle/>
            <a:p>
              <a:pPr indent="-274138"/>
              <a:r>
                <a:rPr lang="de-DE" sz="1400" b="1" dirty="0" err="1">
                  <a:solidFill>
                    <a:schemeClr val="accent1"/>
                  </a:solidFill>
                  <a:latin typeface="Arial"/>
                  <a:ea typeface="ＭＳ Ｐゴシック"/>
                </a:rPr>
                <a:t>Bulgaria</a:t>
              </a:r>
              <a:endParaRPr lang="de-DE" sz="1400" b="1" dirty="0">
                <a:solidFill>
                  <a:schemeClr val="accent1"/>
                </a:solidFill>
                <a:latin typeface="Arial"/>
                <a:ea typeface="ＭＳ Ｐゴシック"/>
              </a:endParaRPr>
            </a:p>
            <a:p>
              <a:pPr>
                <a:spcAft>
                  <a:spcPts val="300"/>
                </a:spcAft>
              </a:pPr>
              <a:r>
                <a:rPr lang="de-DE" sz="1000" b="1" dirty="0">
                  <a:latin typeface="Arial"/>
                  <a:ea typeface="ＭＳ Ｐゴシック"/>
                </a:rPr>
                <a:t>KIS Hub</a:t>
              </a:r>
            </a:p>
            <a:p>
              <a:pPr>
                <a:spcAft>
                  <a:spcPts val="300"/>
                </a:spcAft>
              </a:pPr>
              <a:r>
                <a:rPr lang="de-DE" sz="1000" b="1" dirty="0">
                  <a:latin typeface="Arial"/>
                  <a:ea typeface="ＭＳ Ｐゴシック"/>
                </a:rPr>
                <a:t>E-Commerce</a:t>
              </a:r>
            </a:p>
          </p:txBody>
        </p:sp>
        <p:pic>
          <p:nvPicPr>
            <p:cNvPr id="324" name="Picture 323"/>
            <p:cNvPicPr>
              <a:picLocks noChangeAspect="1"/>
            </p:cNvPicPr>
            <p:nvPr/>
          </p:nvPicPr>
          <p:blipFill>
            <a:blip r:embed="rId24"/>
            <a:stretch>
              <a:fillRect/>
            </a:stretch>
          </p:blipFill>
          <p:spPr>
            <a:xfrm>
              <a:off x="10365672" y="5821897"/>
              <a:ext cx="221657" cy="177466"/>
            </a:xfrm>
            <a:prstGeom prst="rect">
              <a:avLst/>
            </a:prstGeom>
            <a:ln>
              <a:noFill/>
            </a:ln>
          </p:spPr>
        </p:pic>
        <p:pic>
          <p:nvPicPr>
            <p:cNvPr id="241" name="Picture 240"/>
            <p:cNvPicPr>
              <a:picLocks noChangeAspect="1"/>
            </p:cNvPicPr>
            <p:nvPr/>
          </p:nvPicPr>
          <p:blipFill>
            <a:blip r:embed="rId25"/>
            <a:stretch>
              <a:fillRect/>
            </a:stretch>
          </p:blipFill>
          <p:spPr>
            <a:xfrm>
              <a:off x="10362414" y="6019227"/>
              <a:ext cx="228172" cy="177466"/>
            </a:xfrm>
            <a:prstGeom prst="rect">
              <a:avLst/>
            </a:prstGeom>
          </p:spPr>
        </p:pic>
      </p:grpSp>
      <p:pic>
        <p:nvPicPr>
          <p:cNvPr id="242" name="Picture 241"/>
          <p:cNvPicPr>
            <a:picLocks noChangeAspect="1"/>
          </p:cNvPicPr>
          <p:nvPr/>
        </p:nvPicPr>
        <p:blipFill>
          <a:blip r:embed="rId25"/>
          <a:stretch>
            <a:fillRect/>
          </a:stretch>
        </p:blipFill>
        <p:spPr>
          <a:xfrm>
            <a:off x="10470625" y="4443907"/>
            <a:ext cx="228006" cy="177338"/>
          </a:xfrm>
          <a:prstGeom prst="rect">
            <a:avLst/>
          </a:prstGeom>
        </p:spPr>
      </p:pic>
      <p:pic>
        <p:nvPicPr>
          <p:cNvPr id="244" name="Picture 243"/>
          <p:cNvPicPr>
            <a:picLocks noChangeAspect="1"/>
          </p:cNvPicPr>
          <p:nvPr/>
        </p:nvPicPr>
        <p:blipFill>
          <a:blip r:embed="rId20"/>
          <a:stretch>
            <a:fillRect/>
          </a:stretch>
        </p:blipFill>
        <p:spPr>
          <a:xfrm>
            <a:off x="10091074" y="1959118"/>
            <a:ext cx="225633" cy="177338"/>
          </a:xfrm>
          <a:prstGeom prst="rect">
            <a:avLst/>
          </a:prstGeom>
        </p:spPr>
      </p:pic>
      <p:pic>
        <p:nvPicPr>
          <p:cNvPr id="245" name="Picture 244"/>
          <p:cNvPicPr>
            <a:picLocks noChangeAspect="1"/>
          </p:cNvPicPr>
          <p:nvPr/>
        </p:nvPicPr>
        <p:blipFill>
          <a:blip r:embed="rId21"/>
          <a:stretch>
            <a:fillRect/>
          </a:stretch>
        </p:blipFill>
        <p:spPr>
          <a:xfrm>
            <a:off x="7281961" y="5675384"/>
            <a:ext cx="218689" cy="167877"/>
          </a:xfrm>
          <a:prstGeom prst="rect">
            <a:avLst/>
          </a:prstGeom>
        </p:spPr>
      </p:pic>
      <p:pic>
        <p:nvPicPr>
          <p:cNvPr id="247" name="Picture 246"/>
          <p:cNvPicPr>
            <a:picLocks noChangeAspect="1"/>
          </p:cNvPicPr>
          <p:nvPr/>
        </p:nvPicPr>
        <p:blipFill>
          <a:blip r:embed="rId23"/>
          <a:stretch>
            <a:fillRect/>
          </a:stretch>
        </p:blipFill>
        <p:spPr>
          <a:xfrm>
            <a:off x="610139" y="3307009"/>
            <a:ext cx="223552" cy="179870"/>
          </a:xfrm>
          <a:prstGeom prst="rect">
            <a:avLst/>
          </a:prstGeom>
        </p:spPr>
      </p:pic>
      <p:pic>
        <p:nvPicPr>
          <p:cNvPr id="248" name="Picture 247"/>
          <p:cNvPicPr>
            <a:picLocks noChangeAspect="1"/>
          </p:cNvPicPr>
          <p:nvPr/>
        </p:nvPicPr>
        <p:blipFill>
          <a:blip r:embed="rId23"/>
          <a:stretch>
            <a:fillRect/>
          </a:stretch>
        </p:blipFill>
        <p:spPr>
          <a:xfrm>
            <a:off x="610136" y="3086607"/>
            <a:ext cx="223552" cy="179870"/>
          </a:xfrm>
          <a:prstGeom prst="rect">
            <a:avLst/>
          </a:prstGeom>
        </p:spPr>
      </p:pic>
      <p:pic>
        <p:nvPicPr>
          <p:cNvPr id="252" name="Picture 251"/>
          <p:cNvPicPr>
            <a:picLocks noChangeAspect="1"/>
          </p:cNvPicPr>
          <p:nvPr/>
        </p:nvPicPr>
        <p:blipFill>
          <a:blip r:embed="rId26"/>
          <a:stretch>
            <a:fillRect/>
          </a:stretch>
        </p:blipFill>
        <p:spPr>
          <a:xfrm>
            <a:off x="7281962" y="6072502"/>
            <a:ext cx="220403" cy="168181"/>
          </a:xfrm>
          <a:prstGeom prst="rect">
            <a:avLst/>
          </a:prstGeom>
        </p:spPr>
      </p:pic>
      <p:pic>
        <p:nvPicPr>
          <p:cNvPr id="253" name="Picture 252"/>
          <p:cNvPicPr>
            <a:picLocks noChangeAspect="1"/>
          </p:cNvPicPr>
          <p:nvPr/>
        </p:nvPicPr>
        <p:blipFill>
          <a:blip r:embed="rId26"/>
          <a:stretch>
            <a:fillRect/>
          </a:stretch>
        </p:blipFill>
        <p:spPr>
          <a:xfrm>
            <a:off x="10091075" y="2166016"/>
            <a:ext cx="220403" cy="168181"/>
          </a:xfrm>
          <a:prstGeom prst="rect">
            <a:avLst/>
          </a:prstGeom>
        </p:spPr>
      </p:pic>
      <p:pic>
        <p:nvPicPr>
          <p:cNvPr id="246" name="Picture 245"/>
          <p:cNvPicPr>
            <a:picLocks noChangeAspect="1"/>
          </p:cNvPicPr>
          <p:nvPr/>
        </p:nvPicPr>
        <p:blipFill>
          <a:blip r:embed="rId23"/>
          <a:stretch>
            <a:fillRect/>
          </a:stretch>
        </p:blipFill>
        <p:spPr>
          <a:xfrm>
            <a:off x="4446288" y="5292939"/>
            <a:ext cx="223552" cy="179870"/>
          </a:xfrm>
          <a:prstGeom prst="rect">
            <a:avLst/>
          </a:prstGeom>
        </p:spPr>
      </p:pic>
      <p:pic>
        <p:nvPicPr>
          <p:cNvPr id="191" name="Picture 190"/>
          <p:cNvPicPr>
            <a:picLocks noChangeAspect="1"/>
          </p:cNvPicPr>
          <p:nvPr/>
        </p:nvPicPr>
        <p:blipFill>
          <a:blip r:embed="rId17"/>
          <a:stretch>
            <a:fillRect/>
          </a:stretch>
        </p:blipFill>
        <p:spPr>
          <a:xfrm>
            <a:off x="4446288" y="5488193"/>
            <a:ext cx="223552" cy="182440"/>
          </a:xfrm>
          <a:prstGeom prst="rect">
            <a:avLst/>
          </a:prstGeom>
        </p:spPr>
      </p:pic>
      <p:pic>
        <p:nvPicPr>
          <p:cNvPr id="249" name="Picture 248"/>
          <p:cNvPicPr>
            <a:picLocks noChangeAspect="1"/>
          </p:cNvPicPr>
          <p:nvPr/>
        </p:nvPicPr>
        <p:blipFill>
          <a:blip r:embed="rId20"/>
          <a:stretch>
            <a:fillRect/>
          </a:stretch>
        </p:blipFill>
        <p:spPr>
          <a:xfrm>
            <a:off x="4446288" y="5873317"/>
            <a:ext cx="223552" cy="173873"/>
          </a:xfrm>
          <a:prstGeom prst="rect">
            <a:avLst/>
          </a:prstGeom>
        </p:spPr>
      </p:pic>
      <p:pic>
        <p:nvPicPr>
          <p:cNvPr id="243" name="Picture 242"/>
          <p:cNvPicPr>
            <a:picLocks noChangeAspect="1"/>
          </p:cNvPicPr>
          <p:nvPr/>
        </p:nvPicPr>
        <p:blipFill>
          <a:blip r:embed="rId25"/>
          <a:stretch>
            <a:fillRect/>
          </a:stretch>
        </p:blipFill>
        <p:spPr>
          <a:xfrm>
            <a:off x="4446288" y="6070548"/>
            <a:ext cx="223552" cy="173873"/>
          </a:xfrm>
          <a:prstGeom prst="rect">
            <a:avLst/>
          </a:prstGeom>
        </p:spPr>
      </p:pic>
      <p:pic>
        <p:nvPicPr>
          <p:cNvPr id="304" name="Picture 303"/>
          <p:cNvPicPr>
            <a:picLocks noChangeAspect="1"/>
          </p:cNvPicPr>
          <p:nvPr/>
        </p:nvPicPr>
        <p:blipFill>
          <a:blip r:embed="rId26"/>
          <a:stretch>
            <a:fillRect/>
          </a:stretch>
        </p:blipFill>
        <p:spPr>
          <a:xfrm>
            <a:off x="4446288" y="6269746"/>
            <a:ext cx="223552" cy="170582"/>
          </a:xfrm>
          <a:prstGeom prst="rect">
            <a:avLst/>
          </a:prstGeom>
        </p:spPr>
      </p:pic>
      <p:pic>
        <p:nvPicPr>
          <p:cNvPr id="258" name="Picture 257"/>
          <p:cNvPicPr>
            <a:picLocks noChangeAspect="1"/>
          </p:cNvPicPr>
          <p:nvPr/>
        </p:nvPicPr>
        <p:blipFill>
          <a:blip r:embed="rId20"/>
          <a:stretch>
            <a:fillRect/>
          </a:stretch>
        </p:blipFill>
        <p:spPr>
          <a:xfrm>
            <a:off x="4446288" y="5686196"/>
            <a:ext cx="223552" cy="173873"/>
          </a:xfrm>
          <a:prstGeom prst="rect">
            <a:avLst/>
          </a:prstGeom>
        </p:spPr>
      </p:pic>
      <p:pic>
        <p:nvPicPr>
          <p:cNvPr id="209" name="Picture 208"/>
          <p:cNvPicPr>
            <a:picLocks noChangeAspect="1"/>
          </p:cNvPicPr>
          <p:nvPr/>
        </p:nvPicPr>
        <p:blipFill>
          <a:blip r:embed="rId26"/>
          <a:stretch>
            <a:fillRect/>
          </a:stretch>
        </p:blipFill>
        <p:spPr>
          <a:xfrm>
            <a:off x="10091074" y="2549873"/>
            <a:ext cx="223552" cy="170582"/>
          </a:xfrm>
          <a:prstGeom prst="rect">
            <a:avLst/>
          </a:prstGeom>
        </p:spPr>
      </p:pic>
      <p:sp>
        <p:nvSpPr>
          <p:cNvPr id="214" name="TextBox 454"/>
          <p:cNvSpPr txBox="1"/>
          <p:nvPr/>
        </p:nvSpPr>
        <p:spPr>
          <a:xfrm>
            <a:off x="10161346" y="5725582"/>
            <a:ext cx="1402984" cy="258312"/>
          </a:xfrm>
          <a:prstGeom prst="rect">
            <a:avLst/>
          </a:prstGeom>
          <a:noFill/>
        </p:spPr>
        <p:txBody>
          <a:bodyPr wrap="square" lIns="0" tIns="0" rIns="0" bIns="0" rtlCol="0">
            <a:noAutofit/>
          </a:bodyPr>
          <a:lstStyle/>
          <a:p>
            <a:pPr indent="-274138"/>
            <a:r>
              <a:rPr lang="de-DE" sz="1400" b="1" dirty="0" err="1">
                <a:solidFill>
                  <a:schemeClr val="accent1"/>
                </a:solidFill>
                <a:latin typeface="Arial"/>
                <a:ea typeface="ＭＳ Ｐゴシック"/>
              </a:rPr>
              <a:t>Serbia</a:t>
            </a:r>
            <a:endParaRPr lang="de-DE" sz="1400" b="1" dirty="0">
              <a:solidFill>
                <a:schemeClr val="accent1"/>
              </a:solidFill>
              <a:latin typeface="Arial"/>
              <a:ea typeface="ＭＳ Ｐゴシック"/>
            </a:endParaRPr>
          </a:p>
          <a:p>
            <a:pPr>
              <a:spcAft>
                <a:spcPts val="300"/>
              </a:spcAft>
            </a:pPr>
            <a:r>
              <a:rPr lang="de-DE" sz="1000" b="1" dirty="0">
                <a:latin typeface="Arial"/>
                <a:ea typeface="ＭＳ Ｐゴシック"/>
              </a:rPr>
              <a:t>SAP Hub</a:t>
            </a:r>
          </a:p>
        </p:txBody>
      </p:sp>
      <p:pic>
        <p:nvPicPr>
          <p:cNvPr id="216" name="Picture 215"/>
          <p:cNvPicPr>
            <a:picLocks noChangeAspect="1"/>
          </p:cNvPicPr>
          <p:nvPr/>
        </p:nvPicPr>
        <p:blipFill>
          <a:blip r:embed="rId21"/>
          <a:stretch>
            <a:fillRect/>
          </a:stretch>
        </p:blipFill>
        <p:spPr>
          <a:xfrm>
            <a:off x="9895638" y="5923135"/>
            <a:ext cx="221842" cy="167877"/>
          </a:xfrm>
          <a:prstGeom prst="rect">
            <a:avLst/>
          </a:prstGeom>
        </p:spPr>
      </p:pic>
      <p:cxnSp>
        <p:nvCxnSpPr>
          <p:cNvPr id="217" name="Straight Arrow Connector 467"/>
          <p:cNvCxnSpPr/>
          <p:nvPr/>
        </p:nvCxnSpPr>
        <p:spPr>
          <a:xfrm flipH="1" flipV="1">
            <a:off x="8681604" y="4593215"/>
            <a:ext cx="1318900" cy="1132366"/>
          </a:xfrm>
          <a:prstGeom prst="straightConnector1">
            <a:avLst/>
          </a:prstGeom>
          <a:ln>
            <a:solidFill>
              <a:schemeClr val="tx1"/>
            </a:solidFill>
            <a:tailEnd type="triangle" w="med" len="lg"/>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222" name="Picture 221"/>
          <p:cNvPicPr>
            <a:picLocks noChangeAspect="1"/>
          </p:cNvPicPr>
          <p:nvPr/>
        </p:nvPicPr>
        <p:blipFill>
          <a:blip r:embed="rId26"/>
          <a:stretch>
            <a:fillRect/>
          </a:stretch>
        </p:blipFill>
        <p:spPr>
          <a:xfrm>
            <a:off x="5569087" y="2190710"/>
            <a:ext cx="220403" cy="168181"/>
          </a:xfrm>
          <a:prstGeom prst="rect">
            <a:avLst/>
          </a:prstGeom>
        </p:spPr>
      </p:pic>
      <p:pic>
        <p:nvPicPr>
          <p:cNvPr id="237" name="Picture 236"/>
          <p:cNvPicPr>
            <a:picLocks noChangeAspect="1"/>
          </p:cNvPicPr>
          <p:nvPr/>
        </p:nvPicPr>
        <p:blipFill>
          <a:blip r:embed="rId26"/>
          <a:stretch>
            <a:fillRect/>
          </a:stretch>
        </p:blipFill>
        <p:spPr>
          <a:xfrm>
            <a:off x="5569087" y="2374706"/>
            <a:ext cx="220403" cy="168181"/>
          </a:xfrm>
          <a:prstGeom prst="rect">
            <a:avLst/>
          </a:prstGeom>
        </p:spPr>
      </p:pic>
      <p:pic>
        <p:nvPicPr>
          <p:cNvPr id="215" name="Picture 214"/>
          <p:cNvPicPr>
            <a:picLocks noChangeAspect="1"/>
          </p:cNvPicPr>
          <p:nvPr/>
        </p:nvPicPr>
        <p:blipFill>
          <a:blip r:embed="rId20"/>
          <a:stretch>
            <a:fillRect/>
          </a:stretch>
        </p:blipFill>
        <p:spPr>
          <a:xfrm>
            <a:off x="3713666" y="3482506"/>
            <a:ext cx="223552" cy="173873"/>
          </a:xfrm>
          <a:prstGeom prst="rect">
            <a:avLst/>
          </a:prstGeom>
        </p:spPr>
      </p:pic>
      <p:pic>
        <p:nvPicPr>
          <p:cNvPr id="208" name="Picture 247">
            <a:extLst>
              <a:ext uri="{FF2B5EF4-FFF2-40B4-BE49-F238E27FC236}">
                <a16:creationId xmlns:a16="http://schemas.microsoft.com/office/drawing/2014/main" id="{CB4ACED8-178F-47DA-921A-4D7D0B1A0EE2}"/>
              </a:ext>
            </a:extLst>
          </p:cNvPr>
          <p:cNvPicPr>
            <a:picLocks noChangeAspect="1"/>
          </p:cNvPicPr>
          <p:nvPr/>
        </p:nvPicPr>
        <p:blipFill>
          <a:blip r:embed="rId23"/>
          <a:stretch>
            <a:fillRect/>
          </a:stretch>
        </p:blipFill>
        <p:spPr>
          <a:xfrm>
            <a:off x="10824417" y="5517977"/>
            <a:ext cx="223552" cy="179870"/>
          </a:xfrm>
          <a:prstGeom prst="rect">
            <a:avLst/>
          </a:prstGeom>
        </p:spPr>
      </p:pic>
      <p:sp>
        <p:nvSpPr>
          <p:cNvPr id="4" name="Textfeld 3">
            <a:extLst>
              <a:ext uri="{FF2B5EF4-FFF2-40B4-BE49-F238E27FC236}">
                <a16:creationId xmlns:a16="http://schemas.microsoft.com/office/drawing/2014/main" id="{FBF89324-9A86-47B5-9B31-72BA11F55890}"/>
              </a:ext>
            </a:extLst>
          </p:cNvPr>
          <p:cNvSpPr txBox="1"/>
          <p:nvPr/>
        </p:nvSpPr>
        <p:spPr bwMode="gray">
          <a:xfrm>
            <a:off x="11056899" y="5526908"/>
            <a:ext cx="791102" cy="165276"/>
          </a:xfrm>
          <a:prstGeom prst="rect">
            <a:avLst/>
          </a:prstGeom>
          <a:noFill/>
        </p:spPr>
        <p:txBody>
          <a:bodyPr wrap="square" lIns="0" tIns="0" rIns="0" bIns="0" rtlCol="0">
            <a:noAutofit/>
          </a:bodyPr>
          <a:lstStyle/>
          <a:p>
            <a:r>
              <a:rPr lang="de-DE" sz="1000" b="1" dirty="0"/>
              <a:t>Support</a:t>
            </a:r>
          </a:p>
        </p:txBody>
      </p:sp>
      <p:sp>
        <p:nvSpPr>
          <p:cNvPr id="213" name="Foliennummernplatzhalter 2">
            <a:extLst>
              <a:ext uri="{FF2B5EF4-FFF2-40B4-BE49-F238E27FC236}">
                <a16:creationId xmlns:a16="http://schemas.microsoft.com/office/drawing/2014/main" id="{056E7AFB-9225-4613-AB5D-C152803B422E}"/>
              </a:ext>
            </a:extLst>
          </p:cNvPr>
          <p:cNvSpPr>
            <a:spLocks noGrp="1"/>
          </p:cNvSpPr>
          <p:nvPr>
            <p:ph type="sldNum" sz="quarter" idx="12"/>
          </p:nvPr>
        </p:nvSpPr>
        <p:spPr>
          <a:xfrm>
            <a:off x="11568287" y="6472517"/>
            <a:ext cx="330199" cy="147225"/>
          </a:xfrm>
        </p:spPr>
        <p:txBody>
          <a:bodyPr/>
          <a:lstStyle/>
          <a:p>
            <a:fld id="{0C7C1E0B-BD27-42F8-BC6B-2F0636970842}" type="slidenum">
              <a:rPr lang="de-DE" smtClean="0"/>
              <a:pPr/>
              <a:t>36</a:t>
            </a:fld>
            <a:endParaRPr lang="de-DE" dirty="0"/>
          </a:p>
        </p:txBody>
      </p:sp>
    </p:spTree>
    <p:extLst>
      <p:ext uri="{BB962C8B-B14F-4D97-AF65-F5344CB8AC3E}">
        <p14:creationId xmlns:p14="http://schemas.microsoft.com/office/powerpoint/2010/main" val="306304148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605B2F9D-A576-4112-8AAD-6DBC9C4D4041}"/>
              </a:ext>
            </a:extLst>
          </p:cNvPr>
          <p:cNvCxnSpPr>
            <a:cxnSpLocks/>
          </p:cNvCxnSpPr>
          <p:nvPr/>
        </p:nvCxnSpPr>
        <p:spPr bwMode="gray">
          <a:xfrm flipV="1">
            <a:off x="264160" y="5118857"/>
            <a:ext cx="11308080" cy="8404"/>
          </a:xfrm>
          <a:prstGeom prst="line">
            <a:avLst/>
          </a:prstGeom>
          <a:ln w="76200">
            <a:solidFill>
              <a:schemeClr val="accent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9710DB02-06AB-41FF-9869-D2F78F53D3D6}"/>
              </a:ext>
            </a:extLst>
          </p:cNvPr>
          <p:cNvSpPr/>
          <p:nvPr/>
        </p:nvSpPr>
        <p:spPr bwMode="gray">
          <a:xfrm>
            <a:off x="151002" y="5445965"/>
            <a:ext cx="11912367" cy="12759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a:p>
        </p:txBody>
      </p:sp>
      <p:sp>
        <p:nvSpPr>
          <p:cNvPr id="2" name="Title 1">
            <a:extLst>
              <a:ext uri="{FF2B5EF4-FFF2-40B4-BE49-F238E27FC236}">
                <a16:creationId xmlns:a16="http://schemas.microsoft.com/office/drawing/2014/main" id="{00E23CB7-0032-4616-8FCE-1A030475AC3C}"/>
              </a:ext>
            </a:extLst>
          </p:cNvPr>
          <p:cNvSpPr>
            <a:spLocks noGrp="1"/>
          </p:cNvSpPr>
          <p:nvPr>
            <p:ph type="title"/>
          </p:nvPr>
        </p:nvSpPr>
        <p:spPr/>
        <p:txBody>
          <a:bodyPr/>
          <a:lstStyle/>
          <a:p>
            <a:r>
              <a:rPr lang="en-US" dirty="0"/>
              <a:t>Kaufland – IT HUB</a:t>
            </a:r>
            <a:endParaRPr lang="bg-BG" dirty="0"/>
          </a:p>
        </p:txBody>
      </p:sp>
      <p:sp>
        <p:nvSpPr>
          <p:cNvPr id="3" name="Subtitle 2">
            <a:extLst>
              <a:ext uri="{FF2B5EF4-FFF2-40B4-BE49-F238E27FC236}">
                <a16:creationId xmlns:a16="http://schemas.microsoft.com/office/drawing/2014/main" id="{5BF673BF-5DE0-4042-8A9E-B954B24BD06C}"/>
              </a:ext>
            </a:extLst>
          </p:cNvPr>
          <p:cNvSpPr>
            <a:spLocks noGrp="1"/>
          </p:cNvSpPr>
          <p:nvPr>
            <p:ph type="subTitle" idx="1"/>
          </p:nvPr>
        </p:nvSpPr>
        <p:spPr>
          <a:xfrm>
            <a:off x="409577" y="739137"/>
            <a:ext cx="3060673" cy="426662"/>
          </a:xfrm>
        </p:spPr>
        <p:txBody>
          <a:bodyPr/>
          <a:lstStyle/>
          <a:p>
            <a:r>
              <a:rPr lang="en-US" dirty="0"/>
              <a:t>How it All Began …</a:t>
            </a:r>
            <a:endParaRPr lang="bg-BG" dirty="0"/>
          </a:p>
        </p:txBody>
      </p:sp>
      <p:sp>
        <p:nvSpPr>
          <p:cNvPr id="15" name="Slide Number Placeholder 14">
            <a:extLst>
              <a:ext uri="{FF2B5EF4-FFF2-40B4-BE49-F238E27FC236}">
                <a16:creationId xmlns:a16="http://schemas.microsoft.com/office/drawing/2014/main" id="{2256342F-1CE1-4A3E-8E4A-8AFAD4112145}"/>
              </a:ext>
            </a:extLst>
          </p:cNvPr>
          <p:cNvSpPr>
            <a:spLocks noGrp="1"/>
          </p:cNvSpPr>
          <p:nvPr>
            <p:ph type="sldNum" sz="quarter" idx="12"/>
          </p:nvPr>
        </p:nvSpPr>
        <p:spPr/>
        <p:txBody>
          <a:bodyPr/>
          <a:lstStyle/>
          <a:p>
            <a:fld id="{0C7C1E0B-BD27-42F8-BC6B-2F0636970842}" type="slidenum">
              <a:rPr lang="de-DE" smtClean="0"/>
              <a:pPr/>
              <a:t>37</a:t>
            </a:fld>
            <a:endParaRPr lang="de-DE"/>
          </a:p>
        </p:txBody>
      </p:sp>
      <p:grpSp>
        <p:nvGrpSpPr>
          <p:cNvPr id="4" name="Group 3">
            <a:extLst>
              <a:ext uri="{FF2B5EF4-FFF2-40B4-BE49-F238E27FC236}">
                <a16:creationId xmlns:a16="http://schemas.microsoft.com/office/drawing/2014/main" id="{49E71DD7-4CC6-410B-8F65-79F6CD0CD139}"/>
              </a:ext>
            </a:extLst>
          </p:cNvPr>
          <p:cNvGrpSpPr/>
          <p:nvPr/>
        </p:nvGrpSpPr>
        <p:grpSpPr>
          <a:xfrm>
            <a:off x="455757" y="1834136"/>
            <a:ext cx="1707239" cy="4575715"/>
            <a:chOff x="455757" y="1834136"/>
            <a:chExt cx="1707239" cy="4575715"/>
          </a:xfrm>
        </p:grpSpPr>
        <p:sp>
          <p:nvSpPr>
            <p:cNvPr id="65" name="TextBox 64">
              <a:extLst>
                <a:ext uri="{FF2B5EF4-FFF2-40B4-BE49-F238E27FC236}">
                  <a16:creationId xmlns:a16="http://schemas.microsoft.com/office/drawing/2014/main" id="{8217773C-E9B9-4521-A69D-3F7A2CC15529}"/>
                </a:ext>
              </a:extLst>
            </p:cNvPr>
            <p:cNvSpPr txBox="1"/>
            <p:nvPr/>
          </p:nvSpPr>
          <p:spPr bwMode="gray">
            <a:xfrm>
              <a:off x="502011" y="1834136"/>
              <a:ext cx="1485272" cy="1333344"/>
            </a:xfrm>
            <a:prstGeom prst="rect">
              <a:avLst/>
            </a:prstGeom>
            <a:noFill/>
          </p:spPr>
          <p:txBody>
            <a:bodyPr wrap="none" lIns="0" tIns="0" rIns="0" bIns="0" rtlCol="0">
              <a:noAutofit/>
            </a:bodyPr>
            <a:lstStyle/>
            <a:p>
              <a:pPr algn="ctr"/>
              <a:r>
                <a:rPr lang="en-US" sz="1800" b="1">
                  <a:solidFill>
                    <a:srgbClr val="7030A0"/>
                  </a:solidFill>
                </a:rPr>
                <a:t>Our </a:t>
              </a:r>
              <a:r>
                <a:rPr lang="en-US" sz="4000" b="1">
                  <a:solidFill>
                    <a:srgbClr val="7030A0"/>
                  </a:solidFill>
                </a:rPr>
                <a:t>1</a:t>
              </a:r>
              <a:r>
                <a:rPr lang="en-US" sz="4000" b="1" baseline="30000">
                  <a:solidFill>
                    <a:srgbClr val="7030A0"/>
                  </a:solidFill>
                </a:rPr>
                <a:t>st</a:t>
              </a:r>
              <a:r>
                <a:rPr lang="en-US" sz="1800" b="1">
                  <a:solidFill>
                    <a:srgbClr val="7030A0"/>
                  </a:solidFill>
                </a:rPr>
                <a:t> </a:t>
              </a:r>
            </a:p>
            <a:p>
              <a:pPr algn="ctr"/>
              <a:r>
                <a:rPr lang="en-US" sz="1800" b="1">
                  <a:solidFill>
                    <a:srgbClr val="7030A0"/>
                  </a:solidFill>
                </a:rPr>
                <a:t>employee </a:t>
              </a:r>
            </a:p>
            <a:p>
              <a:pPr algn="ctr"/>
              <a:r>
                <a:rPr lang="en-US" sz="1800" b="1">
                  <a:solidFill>
                    <a:srgbClr val="7030A0"/>
                  </a:solidFill>
                </a:rPr>
                <a:t>was hired!</a:t>
              </a:r>
            </a:p>
          </p:txBody>
        </p:sp>
        <p:sp>
          <p:nvSpPr>
            <p:cNvPr id="9" name="Oval 8">
              <a:extLst>
                <a:ext uri="{FF2B5EF4-FFF2-40B4-BE49-F238E27FC236}">
                  <a16:creationId xmlns:a16="http://schemas.microsoft.com/office/drawing/2014/main" id="{71F5EC6D-80BE-409C-93E7-85D1D4308DE9}"/>
                </a:ext>
              </a:extLst>
            </p:cNvPr>
            <p:cNvSpPr>
              <a:spLocks noChangeAspect="1"/>
            </p:cNvSpPr>
            <p:nvPr/>
          </p:nvSpPr>
          <p:spPr bwMode="gray">
            <a:xfrm>
              <a:off x="955120" y="4848857"/>
              <a:ext cx="540000" cy="54000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a:t>1</a:t>
              </a:r>
              <a:endParaRPr lang="bg-BG" sz="1800"/>
            </a:p>
          </p:txBody>
        </p:sp>
        <p:sp>
          <p:nvSpPr>
            <p:cNvPr id="14" name="TextBox 13">
              <a:extLst>
                <a:ext uri="{FF2B5EF4-FFF2-40B4-BE49-F238E27FC236}">
                  <a16:creationId xmlns:a16="http://schemas.microsoft.com/office/drawing/2014/main" id="{5107E348-28AE-48BB-BDF1-739CA87D788B}"/>
                </a:ext>
              </a:extLst>
            </p:cNvPr>
            <p:cNvSpPr txBox="1"/>
            <p:nvPr/>
          </p:nvSpPr>
          <p:spPr bwMode="gray">
            <a:xfrm>
              <a:off x="700808" y="5652801"/>
              <a:ext cx="1048624" cy="332621"/>
            </a:xfrm>
            <a:prstGeom prst="rect">
              <a:avLst/>
            </a:prstGeom>
            <a:noFill/>
          </p:spPr>
          <p:txBody>
            <a:bodyPr wrap="none" lIns="0" tIns="0" rIns="0" bIns="0" rtlCol="0">
              <a:noAutofit/>
            </a:bodyPr>
            <a:lstStyle/>
            <a:p>
              <a:r>
                <a:rPr lang="en-US" sz="1800" dirty="0">
                  <a:solidFill>
                    <a:schemeClr val="bg1"/>
                  </a:solidFill>
                </a:rPr>
                <a:t>Sept 2016</a:t>
              </a:r>
            </a:p>
          </p:txBody>
        </p:sp>
        <p:sp>
          <p:nvSpPr>
            <p:cNvPr id="93" name="TextBox 92">
              <a:extLst>
                <a:ext uri="{FF2B5EF4-FFF2-40B4-BE49-F238E27FC236}">
                  <a16:creationId xmlns:a16="http://schemas.microsoft.com/office/drawing/2014/main" id="{703B37C2-5367-4F05-AA50-F19F9056D910}"/>
                </a:ext>
              </a:extLst>
            </p:cNvPr>
            <p:cNvSpPr txBox="1"/>
            <p:nvPr/>
          </p:nvSpPr>
          <p:spPr bwMode="gray">
            <a:xfrm>
              <a:off x="455757" y="3443571"/>
              <a:ext cx="1707239" cy="723220"/>
            </a:xfrm>
            <a:prstGeom prst="rect">
              <a:avLst/>
            </a:prstGeom>
            <a:noFill/>
          </p:spPr>
          <p:txBody>
            <a:bodyPr wrap="none" lIns="0" tIns="0" rIns="0" bIns="0" rtlCol="0">
              <a:noAutofit/>
            </a:bodyPr>
            <a:lstStyle/>
            <a:p>
              <a:pPr algn="ctr"/>
              <a:r>
                <a:rPr lang="en-US" sz="1400" b="1" dirty="0">
                  <a:solidFill>
                    <a:srgbClr val="7030A0"/>
                  </a:solidFill>
                </a:rPr>
                <a:t>We are based in </a:t>
              </a:r>
            </a:p>
            <a:p>
              <a:pPr algn="ctr"/>
              <a:r>
                <a:rPr lang="en-US" sz="1400" b="1" dirty="0">
                  <a:solidFill>
                    <a:srgbClr val="7030A0"/>
                  </a:solidFill>
                </a:rPr>
                <a:t>a small room </a:t>
              </a:r>
            </a:p>
            <a:p>
              <a:pPr algn="ctr"/>
              <a:r>
                <a:rPr lang="en-US" sz="1400" b="1" dirty="0">
                  <a:solidFill>
                    <a:srgbClr val="7030A0"/>
                  </a:solidFill>
                </a:rPr>
                <a:t>at Kaufland HQ BG</a:t>
              </a:r>
            </a:p>
          </p:txBody>
        </p:sp>
        <p:pic>
          <p:nvPicPr>
            <p:cNvPr id="100" name="Graphic 99" descr="Rocket">
              <a:extLst>
                <a:ext uri="{FF2B5EF4-FFF2-40B4-BE49-F238E27FC236}">
                  <a16:creationId xmlns:a16="http://schemas.microsoft.com/office/drawing/2014/main" id="{095486A7-5995-4624-B105-508D93D3A39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1864" y="5961616"/>
              <a:ext cx="448235" cy="448235"/>
            </a:xfrm>
            <a:prstGeom prst="rect">
              <a:avLst/>
            </a:prstGeom>
          </p:spPr>
        </p:pic>
      </p:grpSp>
      <p:grpSp>
        <p:nvGrpSpPr>
          <p:cNvPr id="11" name="Group 10">
            <a:extLst>
              <a:ext uri="{FF2B5EF4-FFF2-40B4-BE49-F238E27FC236}">
                <a16:creationId xmlns:a16="http://schemas.microsoft.com/office/drawing/2014/main" id="{EEF717CC-2D19-4482-9170-529C852F1558}"/>
              </a:ext>
            </a:extLst>
          </p:cNvPr>
          <p:cNvGrpSpPr/>
          <p:nvPr/>
        </p:nvGrpSpPr>
        <p:grpSpPr>
          <a:xfrm>
            <a:off x="6369690" y="2200971"/>
            <a:ext cx="3130522" cy="4262230"/>
            <a:chOff x="6879912" y="1605338"/>
            <a:chExt cx="3130522" cy="4763291"/>
          </a:xfrm>
        </p:grpSpPr>
        <p:sp>
          <p:nvSpPr>
            <p:cNvPr id="98" name="TextBox 97">
              <a:extLst>
                <a:ext uri="{FF2B5EF4-FFF2-40B4-BE49-F238E27FC236}">
                  <a16:creationId xmlns:a16="http://schemas.microsoft.com/office/drawing/2014/main" id="{A6AF99A4-30E7-40D2-B510-F178C005EE83}"/>
                </a:ext>
              </a:extLst>
            </p:cNvPr>
            <p:cNvSpPr txBox="1"/>
            <p:nvPr/>
          </p:nvSpPr>
          <p:spPr bwMode="gray">
            <a:xfrm>
              <a:off x="6879912" y="1605338"/>
              <a:ext cx="3130522" cy="380096"/>
            </a:xfrm>
            <a:prstGeom prst="rect">
              <a:avLst/>
            </a:prstGeom>
            <a:noFill/>
          </p:spPr>
          <p:txBody>
            <a:bodyPr wrap="none" lIns="0" tIns="0" rIns="0" bIns="0" rtlCol="0">
              <a:noAutofit/>
            </a:bodyPr>
            <a:lstStyle/>
            <a:p>
              <a:pPr algn="ctr"/>
              <a:r>
                <a:rPr lang="en-US" sz="2400" b="1" dirty="0">
                  <a:solidFill>
                    <a:srgbClr val="7030A0"/>
                  </a:solidFill>
                </a:rPr>
                <a:t>We are growing </a:t>
              </a:r>
              <a:r>
                <a:rPr lang="en-US" sz="1400" b="1" dirty="0">
                  <a:solidFill>
                    <a:srgbClr val="7030A0"/>
                  </a:solidFill>
                </a:rPr>
                <a:t> </a:t>
              </a:r>
            </a:p>
            <a:p>
              <a:pPr algn="ctr"/>
              <a:r>
                <a:rPr lang="en-US" sz="1400" b="1" dirty="0">
                  <a:solidFill>
                    <a:srgbClr val="7030A0"/>
                  </a:solidFill>
                </a:rPr>
                <a:t>Our 2</a:t>
              </a:r>
              <a:r>
                <a:rPr lang="en-US" sz="1400" b="1" baseline="30000" dirty="0">
                  <a:solidFill>
                    <a:srgbClr val="7030A0"/>
                  </a:solidFill>
                </a:rPr>
                <a:t>nd</a:t>
              </a:r>
              <a:r>
                <a:rPr lang="en-US" sz="1400" b="1" dirty="0">
                  <a:solidFill>
                    <a:srgbClr val="7030A0"/>
                  </a:solidFill>
                </a:rPr>
                <a:t> office opens</a:t>
              </a:r>
            </a:p>
            <a:p>
              <a:pPr algn="ctr"/>
              <a:r>
                <a:rPr lang="en-US" sz="1400" b="1" dirty="0">
                  <a:solidFill>
                    <a:srgbClr val="7030A0"/>
                  </a:solidFill>
                </a:rPr>
                <a:t>in Filto Building</a:t>
              </a:r>
            </a:p>
          </p:txBody>
        </p:sp>
        <p:pic>
          <p:nvPicPr>
            <p:cNvPr id="108" name="Graphic 107" descr="Shopping cart">
              <a:extLst>
                <a:ext uri="{FF2B5EF4-FFF2-40B4-BE49-F238E27FC236}">
                  <a16:creationId xmlns:a16="http://schemas.microsoft.com/office/drawing/2014/main" id="{DC88BDD3-A658-4FEC-9DA4-B8D87599856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91528" y="5891965"/>
              <a:ext cx="476664" cy="476664"/>
            </a:xfrm>
            <a:prstGeom prst="rect">
              <a:avLst/>
            </a:prstGeom>
          </p:spPr>
        </p:pic>
        <p:sp>
          <p:nvSpPr>
            <p:cNvPr id="13" name="Oval 12">
              <a:extLst>
                <a:ext uri="{FF2B5EF4-FFF2-40B4-BE49-F238E27FC236}">
                  <a16:creationId xmlns:a16="http://schemas.microsoft.com/office/drawing/2014/main" id="{9252C23C-55F7-440A-8E6A-FF67B1070F3E}"/>
                </a:ext>
              </a:extLst>
            </p:cNvPr>
            <p:cNvSpPr>
              <a:spLocks noChangeAspect="1"/>
            </p:cNvSpPr>
            <p:nvPr/>
          </p:nvSpPr>
          <p:spPr bwMode="gray">
            <a:xfrm>
              <a:off x="8241862" y="4524857"/>
              <a:ext cx="614942" cy="614942"/>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t>120</a:t>
              </a:r>
              <a:endParaRPr lang="bg-BG" sz="1800" dirty="0"/>
            </a:p>
          </p:txBody>
        </p:sp>
      </p:grpSp>
      <p:grpSp>
        <p:nvGrpSpPr>
          <p:cNvPr id="12" name="Group 11">
            <a:extLst>
              <a:ext uri="{FF2B5EF4-FFF2-40B4-BE49-F238E27FC236}">
                <a16:creationId xmlns:a16="http://schemas.microsoft.com/office/drawing/2014/main" id="{28916615-B958-4E7A-B602-ACE275E6582E}"/>
              </a:ext>
            </a:extLst>
          </p:cNvPr>
          <p:cNvGrpSpPr/>
          <p:nvPr/>
        </p:nvGrpSpPr>
        <p:grpSpPr>
          <a:xfrm>
            <a:off x="9375410" y="1834135"/>
            <a:ext cx="2576428" cy="4693933"/>
            <a:chOff x="9375410" y="1525327"/>
            <a:chExt cx="2576428" cy="5002742"/>
          </a:xfrm>
        </p:grpSpPr>
        <p:sp>
          <p:nvSpPr>
            <p:cNvPr id="96" name="Oval 95">
              <a:extLst>
                <a:ext uri="{FF2B5EF4-FFF2-40B4-BE49-F238E27FC236}">
                  <a16:creationId xmlns:a16="http://schemas.microsoft.com/office/drawing/2014/main" id="{E1263FA5-B509-4EC3-B114-8BFDEBB1E15B}"/>
                </a:ext>
              </a:extLst>
            </p:cNvPr>
            <p:cNvSpPr>
              <a:spLocks noChangeAspect="1"/>
            </p:cNvSpPr>
            <p:nvPr/>
          </p:nvSpPr>
          <p:spPr bwMode="gray">
            <a:xfrm>
              <a:off x="10223186" y="4738384"/>
              <a:ext cx="540000" cy="54000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t>240</a:t>
              </a:r>
              <a:endParaRPr lang="bg-BG" sz="1800" dirty="0"/>
            </a:p>
          </p:txBody>
        </p:sp>
        <p:sp>
          <p:nvSpPr>
            <p:cNvPr id="92" name="TextBox 91">
              <a:extLst>
                <a:ext uri="{FF2B5EF4-FFF2-40B4-BE49-F238E27FC236}">
                  <a16:creationId xmlns:a16="http://schemas.microsoft.com/office/drawing/2014/main" id="{CD154B93-8B2A-4837-8C07-3F394A5F522B}"/>
                </a:ext>
              </a:extLst>
            </p:cNvPr>
            <p:cNvSpPr txBox="1"/>
            <p:nvPr/>
          </p:nvSpPr>
          <p:spPr bwMode="gray">
            <a:xfrm>
              <a:off x="10101476" y="5642440"/>
              <a:ext cx="1048624" cy="332621"/>
            </a:xfrm>
            <a:prstGeom prst="rect">
              <a:avLst/>
            </a:prstGeom>
            <a:noFill/>
          </p:spPr>
          <p:txBody>
            <a:bodyPr wrap="none" lIns="0" tIns="0" rIns="0" bIns="0" rtlCol="0">
              <a:noAutofit/>
            </a:bodyPr>
            <a:lstStyle/>
            <a:p>
              <a:r>
                <a:rPr lang="en-US" sz="1800" dirty="0">
                  <a:solidFill>
                    <a:schemeClr val="bg1"/>
                  </a:solidFill>
                </a:rPr>
                <a:t>Nov/2020</a:t>
              </a:r>
            </a:p>
          </p:txBody>
        </p:sp>
        <p:sp>
          <p:nvSpPr>
            <p:cNvPr id="99" name="TextBox 98">
              <a:extLst>
                <a:ext uri="{FF2B5EF4-FFF2-40B4-BE49-F238E27FC236}">
                  <a16:creationId xmlns:a16="http://schemas.microsoft.com/office/drawing/2014/main" id="{EA46D0A5-C364-4882-BB7B-9EF8815B0BE6}"/>
                </a:ext>
              </a:extLst>
            </p:cNvPr>
            <p:cNvSpPr txBox="1"/>
            <p:nvPr/>
          </p:nvSpPr>
          <p:spPr bwMode="gray">
            <a:xfrm>
              <a:off x="9375410" y="1525327"/>
              <a:ext cx="2576428" cy="757471"/>
            </a:xfrm>
            <a:prstGeom prst="rect">
              <a:avLst/>
            </a:prstGeom>
            <a:noFill/>
          </p:spPr>
          <p:txBody>
            <a:bodyPr wrap="none" lIns="0" tIns="0" rIns="0" bIns="0" rtlCol="0">
              <a:noAutofit/>
            </a:bodyPr>
            <a:lstStyle/>
            <a:p>
              <a:pPr algn="ctr"/>
              <a:endParaRPr lang="en-US" sz="2800" b="1" dirty="0">
                <a:solidFill>
                  <a:srgbClr val="7030A0"/>
                </a:solidFill>
              </a:endParaRPr>
            </a:p>
            <a:p>
              <a:pPr algn="ctr"/>
              <a:r>
                <a:rPr lang="en-US" sz="2800" b="1" dirty="0">
                  <a:solidFill>
                    <a:srgbClr val="7030A0"/>
                  </a:solidFill>
                </a:rPr>
                <a:t>A Strong Hub</a:t>
              </a:r>
              <a:r>
                <a:rPr lang="en-US" sz="1800" b="1" dirty="0">
                  <a:solidFill>
                    <a:srgbClr val="7030A0"/>
                  </a:solidFill>
                </a:rPr>
                <a:t> with </a:t>
              </a:r>
            </a:p>
            <a:p>
              <a:pPr algn="ctr"/>
              <a:r>
                <a:rPr lang="en-US" sz="1600" b="1" dirty="0">
                  <a:solidFill>
                    <a:srgbClr val="7030A0"/>
                  </a:solidFill>
                </a:rPr>
                <a:t>more than 10</a:t>
              </a:r>
            </a:p>
            <a:p>
              <a:pPr algn="ctr"/>
              <a:r>
                <a:rPr lang="en-US" sz="1600" b="1" dirty="0">
                  <a:solidFill>
                    <a:srgbClr val="7030A0"/>
                  </a:solidFill>
                </a:rPr>
                <a:t>development fields,</a:t>
              </a:r>
            </a:p>
            <a:p>
              <a:pPr algn="ctr"/>
              <a:r>
                <a:rPr lang="en-US" sz="1600" b="1" dirty="0">
                  <a:solidFill>
                    <a:srgbClr val="7030A0"/>
                  </a:solidFill>
                </a:rPr>
                <a:t>full pipeline infrastructure</a:t>
              </a:r>
            </a:p>
            <a:p>
              <a:pPr algn="ctr"/>
              <a:r>
                <a:rPr lang="en-US" sz="1600" b="1" dirty="0">
                  <a:solidFill>
                    <a:srgbClr val="7030A0"/>
                  </a:solidFill>
                </a:rPr>
                <a:t>administration and</a:t>
              </a:r>
            </a:p>
            <a:p>
              <a:pPr algn="ctr"/>
              <a:r>
                <a:rPr lang="en-US" sz="1600" b="1" dirty="0">
                  <a:solidFill>
                    <a:srgbClr val="7030A0"/>
                  </a:solidFill>
                </a:rPr>
                <a:t>business support for the</a:t>
              </a:r>
            </a:p>
            <a:p>
              <a:pPr algn="ctr"/>
              <a:r>
                <a:rPr lang="en-US" sz="1600" b="1" dirty="0">
                  <a:solidFill>
                    <a:srgbClr val="7030A0"/>
                  </a:solidFill>
                </a:rPr>
                <a:t>entire group</a:t>
              </a:r>
            </a:p>
          </p:txBody>
        </p:sp>
        <p:pic>
          <p:nvPicPr>
            <p:cNvPr id="104" name="Graphic 103" descr="Upward trend">
              <a:extLst>
                <a:ext uri="{FF2B5EF4-FFF2-40B4-BE49-F238E27FC236}">
                  <a16:creationId xmlns:a16="http://schemas.microsoft.com/office/drawing/2014/main" id="{C8B9A173-2D1C-4D10-9F01-8CCB163CA06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075927" y="6017582"/>
              <a:ext cx="510487" cy="510487"/>
            </a:xfrm>
            <a:prstGeom prst="rect">
              <a:avLst/>
            </a:prstGeom>
          </p:spPr>
        </p:pic>
        <p:pic>
          <p:nvPicPr>
            <p:cNvPr id="110" name="Graphic 109" descr="Signpost">
              <a:extLst>
                <a:ext uri="{FF2B5EF4-FFF2-40B4-BE49-F238E27FC236}">
                  <a16:creationId xmlns:a16="http://schemas.microsoft.com/office/drawing/2014/main" id="{691CDA66-6645-4298-A823-35EC21FD736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521086" y="6005368"/>
              <a:ext cx="484200" cy="484200"/>
            </a:xfrm>
            <a:prstGeom prst="rect">
              <a:avLst/>
            </a:prstGeom>
          </p:spPr>
        </p:pic>
      </p:grpSp>
      <p:sp>
        <p:nvSpPr>
          <p:cNvPr id="56" name="TextBox 87">
            <a:extLst>
              <a:ext uri="{FF2B5EF4-FFF2-40B4-BE49-F238E27FC236}">
                <a16:creationId xmlns:a16="http://schemas.microsoft.com/office/drawing/2014/main" id="{ACB53873-B367-4D51-97DD-B54DEEDC6BE3}"/>
              </a:ext>
            </a:extLst>
          </p:cNvPr>
          <p:cNvSpPr txBox="1"/>
          <p:nvPr/>
        </p:nvSpPr>
        <p:spPr bwMode="gray">
          <a:xfrm>
            <a:off x="7467381" y="5670781"/>
            <a:ext cx="1048624" cy="332621"/>
          </a:xfrm>
          <a:prstGeom prst="rect">
            <a:avLst/>
          </a:prstGeom>
          <a:noFill/>
        </p:spPr>
        <p:txBody>
          <a:bodyPr wrap="none" lIns="0" tIns="0" rIns="0" bIns="0" rtlCol="0">
            <a:noAutofit/>
          </a:bodyPr>
          <a:lstStyle/>
          <a:p>
            <a:r>
              <a:rPr lang="en-US" sz="1800" dirty="0">
                <a:solidFill>
                  <a:schemeClr val="bg1"/>
                </a:solidFill>
              </a:rPr>
              <a:t>March 2019</a:t>
            </a:r>
          </a:p>
        </p:txBody>
      </p:sp>
      <p:grpSp>
        <p:nvGrpSpPr>
          <p:cNvPr id="6" name="Group 5">
            <a:extLst>
              <a:ext uri="{FF2B5EF4-FFF2-40B4-BE49-F238E27FC236}">
                <a16:creationId xmlns:a16="http://schemas.microsoft.com/office/drawing/2014/main" id="{18BA850D-B89D-40A0-9AF0-65476E27D440}"/>
              </a:ext>
            </a:extLst>
          </p:cNvPr>
          <p:cNvGrpSpPr/>
          <p:nvPr/>
        </p:nvGrpSpPr>
        <p:grpSpPr>
          <a:xfrm>
            <a:off x="2020334" y="1672264"/>
            <a:ext cx="2566161" cy="4753804"/>
            <a:chOff x="2472557" y="1914299"/>
            <a:chExt cx="2566161" cy="4471293"/>
          </a:xfrm>
        </p:grpSpPr>
        <p:sp>
          <p:nvSpPr>
            <p:cNvPr id="10" name="Oval 9">
              <a:extLst>
                <a:ext uri="{FF2B5EF4-FFF2-40B4-BE49-F238E27FC236}">
                  <a16:creationId xmlns:a16="http://schemas.microsoft.com/office/drawing/2014/main" id="{CA55C539-5071-4C0B-99BC-C88822F83300}"/>
                </a:ext>
              </a:extLst>
            </p:cNvPr>
            <p:cNvSpPr>
              <a:spLocks noChangeAspect="1"/>
            </p:cNvSpPr>
            <p:nvPr/>
          </p:nvSpPr>
          <p:spPr bwMode="gray">
            <a:xfrm>
              <a:off x="3462685" y="4829798"/>
              <a:ext cx="540000" cy="54000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t>35</a:t>
              </a:r>
              <a:endParaRPr lang="bg-BG" sz="1800" dirty="0"/>
            </a:p>
          </p:txBody>
        </p:sp>
        <p:sp>
          <p:nvSpPr>
            <p:cNvPr id="86" name="TextBox 85">
              <a:extLst>
                <a:ext uri="{FF2B5EF4-FFF2-40B4-BE49-F238E27FC236}">
                  <a16:creationId xmlns:a16="http://schemas.microsoft.com/office/drawing/2014/main" id="{0E2F4B70-3537-4698-AC0E-F1ABFA6E691D}"/>
                </a:ext>
              </a:extLst>
            </p:cNvPr>
            <p:cNvSpPr txBox="1"/>
            <p:nvPr/>
          </p:nvSpPr>
          <p:spPr bwMode="gray">
            <a:xfrm>
              <a:off x="3124775" y="5652801"/>
              <a:ext cx="1048624" cy="332621"/>
            </a:xfrm>
            <a:prstGeom prst="rect">
              <a:avLst/>
            </a:prstGeom>
            <a:noFill/>
          </p:spPr>
          <p:txBody>
            <a:bodyPr wrap="none" lIns="0" tIns="0" rIns="0" bIns="0" rtlCol="0">
              <a:noAutofit/>
            </a:bodyPr>
            <a:lstStyle/>
            <a:p>
              <a:r>
                <a:rPr lang="en-US" sz="1800" dirty="0">
                  <a:solidFill>
                    <a:schemeClr val="bg1"/>
                  </a:solidFill>
                </a:rPr>
                <a:t>June 2017</a:t>
              </a:r>
            </a:p>
          </p:txBody>
        </p:sp>
        <p:sp>
          <p:nvSpPr>
            <p:cNvPr id="94" name="TextBox 93">
              <a:extLst>
                <a:ext uri="{FF2B5EF4-FFF2-40B4-BE49-F238E27FC236}">
                  <a16:creationId xmlns:a16="http://schemas.microsoft.com/office/drawing/2014/main" id="{8B02C082-4C86-4D0E-859A-E255D14B2EB3}"/>
                </a:ext>
              </a:extLst>
            </p:cNvPr>
            <p:cNvSpPr txBox="1"/>
            <p:nvPr/>
          </p:nvSpPr>
          <p:spPr bwMode="gray">
            <a:xfrm>
              <a:off x="2472557" y="1914299"/>
              <a:ext cx="2566161" cy="1202479"/>
            </a:xfrm>
            <a:prstGeom prst="rect">
              <a:avLst/>
            </a:prstGeom>
            <a:noFill/>
          </p:spPr>
          <p:txBody>
            <a:bodyPr wrap="none" lIns="0" tIns="0" rIns="0" bIns="0" rtlCol="0">
              <a:noAutofit/>
            </a:bodyPr>
            <a:lstStyle/>
            <a:p>
              <a:pPr algn="ctr"/>
              <a:r>
                <a:rPr lang="en-US" sz="1800" b="1" dirty="0">
                  <a:solidFill>
                    <a:srgbClr val="7030A0"/>
                  </a:solidFill>
                </a:rPr>
                <a:t>We open our </a:t>
              </a:r>
            </a:p>
            <a:p>
              <a:pPr algn="ctr"/>
              <a:r>
                <a:rPr lang="en-US" sz="2800" b="1" dirty="0">
                  <a:solidFill>
                    <a:srgbClr val="7030A0"/>
                  </a:solidFill>
                </a:rPr>
                <a:t>own office </a:t>
              </a:r>
            </a:p>
            <a:p>
              <a:pPr algn="ctr"/>
              <a:r>
                <a:rPr lang="en-US" sz="1600" b="1" dirty="0">
                  <a:solidFill>
                    <a:srgbClr val="7030A0"/>
                  </a:solidFill>
                </a:rPr>
                <a:t>Sofia Center </a:t>
              </a:r>
            </a:p>
            <a:p>
              <a:pPr algn="ctr"/>
              <a:r>
                <a:rPr lang="en-US" sz="1600" b="1" dirty="0">
                  <a:solidFill>
                    <a:srgbClr val="7030A0"/>
                  </a:solidFill>
                </a:rPr>
                <a:t>TAO Building</a:t>
              </a:r>
            </a:p>
          </p:txBody>
        </p:sp>
        <p:pic>
          <p:nvPicPr>
            <p:cNvPr id="75" name="Graphic 74" descr="Building">
              <a:extLst>
                <a:ext uri="{FF2B5EF4-FFF2-40B4-BE49-F238E27FC236}">
                  <a16:creationId xmlns:a16="http://schemas.microsoft.com/office/drawing/2014/main" id="{9E71E282-2936-4153-A9B9-2C6EF88E3AE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542894" y="6006013"/>
              <a:ext cx="379579" cy="379579"/>
            </a:xfrm>
            <a:prstGeom prst="rect">
              <a:avLst/>
            </a:prstGeom>
          </p:spPr>
        </p:pic>
      </p:grpSp>
      <p:grpSp>
        <p:nvGrpSpPr>
          <p:cNvPr id="7" name="Group 6">
            <a:extLst>
              <a:ext uri="{FF2B5EF4-FFF2-40B4-BE49-F238E27FC236}">
                <a16:creationId xmlns:a16="http://schemas.microsoft.com/office/drawing/2014/main" id="{310C122F-5DA4-4F34-9FBE-7EC522E2452B}"/>
              </a:ext>
            </a:extLst>
          </p:cNvPr>
          <p:cNvGrpSpPr/>
          <p:nvPr/>
        </p:nvGrpSpPr>
        <p:grpSpPr>
          <a:xfrm>
            <a:off x="3763263" y="732760"/>
            <a:ext cx="3479167" cy="5795309"/>
            <a:chOff x="4184571" y="1241050"/>
            <a:chExt cx="3479167" cy="5206451"/>
          </a:xfrm>
        </p:grpSpPr>
        <p:sp>
          <p:nvSpPr>
            <p:cNvPr id="88" name="TextBox 87">
              <a:extLst>
                <a:ext uri="{FF2B5EF4-FFF2-40B4-BE49-F238E27FC236}">
                  <a16:creationId xmlns:a16="http://schemas.microsoft.com/office/drawing/2014/main" id="{ED155708-B0AF-4EAD-B4E3-FDFFFA1F60E2}"/>
                </a:ext>
              </a:extLst>
            </p:cNvPr>
            <p:cNvSpPr txBox="1"/>
            <p:nvPr/>
          </p:nvSpPr>
          <p:spPr bwMode="gray">
            <a:xfrm>
              <a:off x="5441141" y="5652801"/>
              <a:ext cx="1048624" cy="332621"/>
            </a:xfrm>
            <a:prstGeom prst="rect">
              <a:avLst/>
            </a:prstGeom>
            <a:noFill/>
          </p:spPr>
          <p:txBody>
            <a:bodyPr wrap="none" lIns="0" tIns="0" rIns="0" bIns="0" rtlCol="0">
              <a:noAutofit/>
            </a:bodyPr>
            <a:lstStyle/>
            <a:p>
              <a:r>
                <a:rPr lang="en-US" sz="1800" dirty="0">
                  <a:solidFill>
                    <a:schemeClr val="bg1"/>
                  </a:solidFill>
                </a:rPr>
                <a:t>March 2018</a:t>
              </a:r>
            </a:p>
          </p:txBody>
        </p:sp>
        <p:pic>
          <p:nvPicPr>
            <p:cNvPr id="102" name="Graphic 101" descr="City">
              <a:extLst>
                <a:ext uri="{FF2B5EF4-FFF2-40B4-BE49-F238E27FC236}">
                  <a16:creationId xmlns:a16="http://schemas.microsoft.com/office/drawing/2014/main" id="{47DE43BE-60C6-422F-8EDE-903F712D81F2}"/>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782519" y="5937014"/>
              <a:ext cx="510487" cy="510487"/>
            </a:xfrm>
            <a:prstGeom prst="rect">
              <a:avLst/>
            </a:prstGeom>
          </p:spPr>
        </p:pic>
        <p:sp>
          <p:nvSpPr>
            <p:cNvPr id="95" name="TextBox 94">
              <a:extLst>
                <a:ext uri="{FF2B5EF4-FFF2-40B4-BE49-F238E27FC236}">
                  <a16:creationId xmlns:a16="http://schemas.microsoft.com/office/drawing/2014/main" id="{193CC6D0-EFFD-4925-B682-2A30A519D3FE}"/>
                </a:ext>
              </a:extLst>
            </p:cNvPr>
            <p:cNvSpPr txBox="1"/>
            <p:nvPr/>
          </p:nvSpPr>
          <p:spPr bwMode="gray">
            <a:xfrm>
              <a:off x="4184571" y="1241050"/>
              <a:ext cx="3479167" cy="1753630"/>
            </a:xfrm>
            <a:prstGeom prst="rect">
              <a:avLst/>
            </a:prstGeom>
            <a:noFill/>
          </p:spPr>
          <p:txBody>
            <a:bodyPr wrap="none" lIns="0" tIns="0" rIns="0" bIns="0" rtlCol="0">
              <a:noAutofit/>
            </a:bodyPr>
            <a:lstStyle/>
            <a:p>
              <a:pPr algn="ctr"/>
              <a:r>
                <a:rPr lang="en-US" sz="2400" b="1" dirty="0">
                  <a:solidFill>
                    <a:srgbClr val="7030A0"/>
                  </a:solidFill>
                </a:rPr>
                <a:t>Our first education</a:t>
              </a:r>
              <a:endParaRPr lang="en-US" sz="1400" b="1" dirty="0">
                <a:solidFill>
                  <a:srgbClr val="7030A0"/>
                </a:solidFill>
              </a:endParaRPr>
            </a:p>
            <a:p>
              <a:pPr algn="ctr"/>
              <a:r>
                <a:rPr lang="en-US" sz="1400" b="1" dirty="0">
                  <a:solidFill>
                    <a:srgbClr val="7030A0"/>
                  </a:solidFill>
                </a:rPr>
                <a:t>activities start</a:t>
              </a:r>
            </a:p>
            <a:p>
              <a:pPr algn="ctr"/>
              <a:r>
                <a:rPr lang="en-US" sz="1400" b="1" dirty="0">
                  <a:solidFill>
                    <a:srgbClr val="7030A0"/>
                  </a:solidFill>
                </a:rPr>
                <a:t>with an Olympics </a:t>
              </a:r>
            </a:p>
            <a:p>
              <a:pPr algn="ctr"/>
              <a:endParaRPr lang="en-US" sz="1400" b="1" dirty="0">
                <a:solidFill>
                  <a:srgbClr val="7030A0"/>
                </a:solidFill>
              </a:endParaRPr>
            </a:p>
            <a:p>
              <a:pPr algn="ctr"/>
              <a:endParaRPr lang="en-US" sz="1400" b="1" dirty="0">
                <a:solidFill>
                  <a:srgbClr val="7030A0"/>
                </a:solidFill>
              </a:endParaRPr>
            </a:p>
            <a:p>
              <a:pPr algn="ctr"/>
              <a:endParaRPr lang="en-US" sz="1400" b="1" dirty="0">
                <a:solidFill>
                  <a:srgbClr val="7030A0"/>
                </a:solidFill>
              </a:endParaRPr>
            </a:p>
            <a:p>
              <a:pPr algn="ctr"/>
              <a:endParaRPr lang="en-US" sz="1400" b="1" dirty="0">
                <a:solidFill>
                  <a:srgbClr val="7030A0"/>
                </a:solidFill>
              </a:endParaRPr>
            </a:p>
            <a:p>
              <a:pPr algn="ctr"/>
              <a:endParaRPr lang="en-US" sz="1400" b="1" dirty="0">
                <a:solidFill>
                  <a:srgbClr val="7030A0"/>
                </a:solidFill>
              </a:endParaRPr>
            </a:p>
          </p:txBody>
        </p:sp>
        <p:sp>
          <p:nvSpPr>
            <p:cNvPr id="42" name="Oval 41">
              <a:extLst>
                <a:ext uri="{FF2B5EF4-FFF2-40B4-BE49-F238E27FC236}">
                  <a16:creationId xmlns:a16="http://schemas.microsoft.com/office/drawing/2014/main" id="{58750208-646A-40A8-A7A4-845F48B70BC8}"/>
                </a:ext>
              </a:extLst>
            </p:cNvPr>
            <p:cNvSpPr>
              <a:spLocks noChangeAspect="1"/>
            </p:cNvSpPr>
            <p:nvPr/>
          </p:nvSpPr>
          <p:spPr bwMode="gray">
            <a:xfrm>
              <a:off x="5712668" y="4891281"/>
              <a:ext cx="563676" cy="494344"/>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t>80</a:t>
              </a:r>
              <a:endParaRPr lang="bg-BG" sz="1800" dirty="0"/>
            </a:p>
          </p:txBody>
        </p:sp>
      </p:grpSp>
      <p:sp>
        <p:nvSpPr>
          <p:cNvPr id="21" name="Rectangle 20">
            <a:extLst>
              <a:ext uri="{FF2B5EF4-FFF2-40B4-BE49-F238E27FC236}">
                <a16:creationId xmlns:a16="http://schemas.microsoft.com/office/drawing/2014/main" id="{EA0F6526-D619-4414-81EE-6ECE7F52BEFD}"/>
              </a:ext>
            </a:extLst>
          </p:cNvPr>
          <p:cNvSpPr/>
          <p:nvPr/>
        </p:nvSpPr>
        <p:spPr>
          <a:xfrm rot="20701888">
            <a:off x="4737169" y="3514744"/>
            <a:ext cx="1520071" cy="830997"/>
          </a:xfrm>
          <a:prstGeom prst="rect">
            <a:avLst/>
          </a:prstGeom>
        </p:spPr>
        <p:txBody>
          <a:bodyPr wrap="square">
            <a:spAutoFit/>
          </a:bodyPr>
          <a:lstStyle/>
          <a:p>
            <a:pPr algn="ctr"/>
            <a:r>
              <a:rPr lang="en-US" sz="1200" b="1" i="1" dirty="0">
                <a:solidFill>
                  <a:srgbClr val="7030A0"/>
                </a:solidFill>
              </a:rPr>
              <a:t>School Pravetz and later our own internal ABAP &amp; Java academies</a:t>
            </a:r>
          </a:p>
        </p:txBody>
      </p:sp>
      <p:pic>
        <p:nvPicPr>
          <p:cNvPr id="23" name="Picture 22">
            <a:extLst>
              <a:ext uri="{FF2B5EF4-FFF2-40B4-BE49-F238E27FC236}">
                <a16:creationId xmlns:a16="http://schemas.microsoft.com/office/drawing/2014/main" id="{86327465-24F8-4B37-A747-74C0B1A0EC7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039111" y="273529"/>
            <a:ext cx="3771120" cy="1885560"/>
          </a:xfrm>
          <a:prstGeom prst="rect">
            <a:avLst/>
          </a:prstGeom>
          <a:solidFill>
            <a:srgbClr val="FFFFFF">
              <a:shade val="85000"/>
            </a:srgbClr>
          </a:solidFill>
          <a:ln w="571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Picture 17" descr="A picture containing sky, outdoor, building, city&#10;&#10;Description automatically generated">
            <a:extLst>
              <a:ext uri="{FF2B5EF4-FFF2-40B4-BE49-F238E27FC236}">
                <a16:creationId xmlns:a16="http://schemas.microsoft.com/office/drawing/2014/main" id="{CAEDD1D8-0D6D-4B3D-BD30-970A7533BF7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171239" y="3016373"/>
            <a:ext cx="2499514" cy="1666342"/>
          </a:xfrm>
          <a:prstGeom prst="rect">
            <a:avLst/>
          </a:prstGeom>
          <a:solidFill>
            <a:srgbClr val="FFFFFF">
              <a:shade val="85000"/>
            </a:srgbClr>
          </a:solidFill>
          <a:ln w="571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21" descr="A picture containing building, outdoor, sky, city&#10;&#10;Description automatically generated">
            <a:extLst>
              <a:ext uri="{FF2B5EF4-FFF2-40B4-BE49-F238E27FC236}">
                <a16:creationId xmlns:a16="http://schemas.microsoft.com/office/drawing/2014/main" id="{93566F0B-F5D9-4F18-8AD0-4A23D63B1686}"/>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619404" y="3022932"/>
            <a:ext cx="2576429" cy="1717619"/>
          </a:xfrm>
          <a:prstGeom prst="rect">
            <a:avLst/>
          </a:prstGeom>
          <a:solidFill>
            <a:srgbClr val="FFFFFF">
              <a:shade val="85000"/>
            </a:srgbClr>
          </a:solidFill>
          <a:ln w="571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5" name="Picture 24" descr="A picture containing text, clipart&#10;&#10;Description automatically generated">
            <a:extLst>
              <a:ext uri="{FF2B5EF4-FFF2-40B4-BE49-F238E27FC236}">
                <a16:creationId xmlns:a16="http://schemas.microsoft.com/office/drawing/2014/main" id="{77DD1501-6A9F-4B6F-9920-52CEBB70E0B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32298" y="3345814"/>
            <a:ext cx="642707" cy="130300"/>
          </a:xfrm>
          <a:prstGeom prst="rect">
            <a:avLst/>
          </a:prstGeom>
        </p:spPr>
      </p:pic>
      <p:pic>
        <p:nvPicPr>
          <p:cNvPr id="48" name="Picture 47" descr="A picture containing text, clipart&#10;&#10;Description automatically generated">
            <a:extLst>
              <a:ext uri="{FF2B5EF4-FFF2-40B4-BE49-F238E27FC236}">
                <a16:creationId xmlns:a16="http://schemas.microsoft.com/office/drawing/2014/main" id="{F51D9E70-D364-4EE4-A336-5541E624FACD}"/>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320142" y="4119801"/>
            <a:ext cx="822995" cy="166851"/>
          </a:xfrm>
          <a:prstGeom prst="rect">
            <a:avLst/>
          </a:prstGeom>
        </p:spPr>
      </p:pic>
      <p:pic>
        <p:nvPicPr>
          <p:cNvPr id="57" name="Picture 6">
            <a:extLst>
              <a:ext uri="{FF2B5EF4-FFF2-40B4-BE49-F238E27FC236}">
                <a16:creationId xmlns:a16="http://schemas.microsoft.com/office/drawing/2014/main" id="{25632474-BC6E-4A63-BD8E-2E42EA38BA27}"/>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4350660" y="1581045"/>
            <a:ext cx="2308202" cy="1540171"/>
          </a:xfrm>
          <a:prstGeom prst="rect">
            <a:avLst/>
          </a:prstGeom>
          <a:solidFill>
            <a:srgbClr val="FFFFFF">
              <a:shade val="85000"/>
            </a:srgbClr>
          </a:solidFill>
          <a:ln w="571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49980047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710DB02-06AB-41FF-9869-D2F78F53D3D6}"/>
              </a:ext>
            </a:extLst>
          </p:cNvPr>
          <p:cNvSpPr/>
          <p:nvPr/>
        </p:nvSpPr>
        <p:spPr bwMode="gray">
          <a:xfrm>
            <a:off x="151002" y="5445965"/>
            <a:ext cx="11912367" cy="12759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a:p>
        </p:txBody>
      </p:sp>
      <p:cxnSp>
        <p:nvCxnSpPr>
          <p:cNvPr id="8" name="Straight Connector 7">
            <a:extLst>
              <a:ext uri="{FF2B5EF4-FFF2-40B4-BE49-F238E27FC236}">
                <a16:creationId xmlns:a16="http://schemas.microsoft.com/office/drawing/2014/main" id="{605B2F9D-A576-4112-8AAD-6DBC9C4D4041}"/>
              </a:ext>
            </a:extLst>
          </p:cNvPr>
          <p:cNvCxnSpPr>
            <a:cxnSpLocks/>
          </p:cNvCxnSpPr>
          <p:nvPr/>
        </p:nvCxnSpPr>
        <p:spPr bwMode="gray">
          <a:xfrm flipV="1">
            <a:off x="264160" y="5118857"/>
            <a:ext cx="11308080" cy="8404"/>
          </a:xfrm>
          <a:prstGeom prst="line">
            <a:avLst/>
          </a:prstGeom>
          <a:ln w="76200">
            <a:solidFill>
              <a:schemeClr val="accent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0E23CB7-0032-4616-8FCE-1A030475AC3C}"/>
              </a:ext>
            </a:extLst>
          </p:cNvPr>
          <p:cNvSpPr>
            <a:spLocks noGrp="1"/>
          </p:cNvSpPr>
          <p:nvPr>
            <p:ph type="title"/>
          </p:nvPr>
        </p:nvSpPr>
        <p:spPr/>
        <p:txBody>
          <a:bodyPr/>
          <a:lstStyle/>
          <a:p>
            <a:r>
              <a:rPr lang="en-US"/>
              <a:t>Lidl Digital – COE Sofia</a:t>
            </a:r>
            <a:endParaRPr lang="bg-BG"/>
          </a:p>
        </p:txBody>
      </p:sp>
      <p:sp>
        <p:nvSpPr>
          <p:cNvPr id="3" name="Subtitle 2">
            <a:extLst>
              <a:ext uri="{FF2B5EF4-FFF2-40B4-BE49-F238E27FC236}">
                <a16:creationId xmlns:a16="http://schemas.microsoft.com/office/drawing/2014/main" id="{5BF673BF-5DE0-4042-8A9E-B954B24BD06C}"/>
              </a:ext>
            </a:extLst>
          </p:cNvPr>
          <p:cNvSpPr>
            <a:spLocks noGrp="1"/>
          </p:cNvSpPr>
          <p:nvPr>
            <p:ph type="subTitle" idx="1"/>
          </p:nvPr>
        </p:nvSpPr>
        <p:spPr/>
        <p:txBody>
          <a:bodyPr/>
          <a:lstStyle/>
          <a:p>
            <a:r>
              <a:rPr lang="en-US" dirty="0"/>
              <a:t>How it all began…</a:t>
            </a:r>
            <a:endParaRPr lang="bg-BG" dirty="0"/>
          </a:p>
        </p:txBody>
      </p:sp>
      <p:sp>
        <p:nvSpPr>
          <p:cNvPr id="15" name="Slide Number Placeholder 14">
            <a:extLst>
              <a:ext uri="{FF2B5EF4-FFF2-40B4-BE49-F238E27FC236}">
                <a16:creationId xmlns:a16="http://schemas.microsoft.com/office/drawing/2014/main" id="{2256342F-1CE1-4A3E-8E4A-8AFAD4112145}"/>
              </a:ext>
            </a:extLst>
          </p:cNvPr>
          <p:cNvSpPr>
            <a:spLocks noGrp="1"/>
          </p:cNvSpPr>
          <p:nvPr>
            <p:ph type="sldNum" sz="quarter" idx="12"/>
          </p:nvPr>
        </p:nvSpPr>
        <p:spPr/>
        <p:txBody>
          <a:bodyPr/>
          <a:lstStyle/>
          <a:p>
            <a:fld id="{0C7C1E0B-BD27-42F8-BC6B-2F0636970842}" type="slidenum">
              <a:rPr lang="de-DE" smtClean="0"/>
              <a:pPr/>
              <a:t>38</a:t>
            </a:fld>
            <a:endParaRPr lang="de-DE"/>
          </a:p>
        </p:txBody>
      </p:sp>
      <p:sp>
        <p:nvSpPr>
          <p:cNvPr id="97" name="TextBox 96">
            <a:extLst>
              <a:ext uri="{FF2B5EF4-FFF2-40B4-BE49-F238E27FC236}">
                <a16:creationId xmlns:a16="http://schemas.microsoft.com/office/drawing/2014/main" id="{C02E163A-F619-4EFC-8A60-7AFC1724ECD4}"/>
              </a:ext>
            </a:extLst>
          </p:cNvPr>
          <p:cNvSpPr txBox="1"/>
          <p:nvPr/>
        </p:nvSpPr>
        <p:spPr bwMode="gray">
          <a:xfrm>
            <a:off x="6424960" y="2943936"/>
            <a:ext cx="3130522" cy="380096"/>
          </a:xfrm>
          <a:prstGeom prst="rect">
            <a:avLst/>
          </a:prstGeom>
          <a:noFill/>
        </p:spPr>
        <p:txBody>
          <a:bodyPr wrap="none" lIns="0" tIns="0" rIns="0" bIns="0" rtlCol="0">
            <a:noAutofit/>
          </a:bodyPr>
          <a:lstStyle/>
          <a:p>
            <a:pPr algn="ctr"/>
            <a:endParaRPr lang="en-US" sz="1800" b="1">
              <a:solidFill>
                <a:srgbClr val="7030A0"/>
              </a:solidFill>
            </a:endParaRPr>
          </a:p>
        </p:txBody>
      </p:sp>
      <p:grpSp>
        <p:nvGrpSpPr>
          <p:cNvPr id="4" name="Group 3">
            <a:extLst>
              <a:ext uri="{FF2B5EF4-FFF2-40B4-BE49-F238E27FC236}">
                <a16:creationId xmlns:a16="http://schemas.microsoft.com/office/drawing/2014/main" id="{49E71DD7-4CC6-410B-8F65-79F6CD0CD139}"/>
              </a:ext>
            </a:extLst>
          </p:cNvPr>
          <p:cNvGrpSpPr/>
          <p:nvPr/>
        </p:nvGrpSpPr>
        <p:grpSpPr>
          <a:xfrm>
            <a:off x="455757" y="1834136"/>
            <a:ext cx="1707239" cy="4575715"/>
            <a:chOff x="455757" y="1834136"/>
            <a:chExt cx="1707239" cy="4575715"/>
          </a:xfrm>
        </p:grpSpPr>
        <p:sp>
          <p:nvSpPr>
            <p:cNvPr id="65" name="TextBox 64">
              <a:extLst>
                <a:ext uri="{FF2B5EF4-FFF2-40B4-BE49-F238E27FC236}">
                  <a16:creationId xmlns:a16="http://schemas.microsoft.com/office/drawing/2014/main" id="{8217773C-E9B9-4521-A69D-3F7A2CC15529}"/>
                </a:ext>
              </a:extLst>
            </p:cNvPr>
            <p:cNvSpPr txBox="1"/>
            <p:nvPr/>
          </p:nvSpPr>
          <p:spPr bwMode="gray">
            <a:xfrm>
              <a:off x="502011" y="1834136"/>
              <a:ext cx="1485272" cy="1333344"/>
            </a:xfrm>
            <a:prstGeom prst="rect">
              <a:avLst/>
            </a:prstGeom>
            <a:noFill/>
          </p:spPr>
          <p:txBody>
            <a:bodyPr wrap="none" lIns="0" tIns="0" rIns="0" bIns="0" rtlCol="0">
              <a:noAutofit/>
            </a:bodyPr>
            <a:lstStyle/>
            <a:p>
              <a:pPr algn="ctr"/>
              <a:r>
                <a:rPr lang="en-US" sz="1800" b="1" dirty="0">
                  <a:solidFill>
                    <a:srgbClr val="7030A0"/>
                  </a:solidFill>
                </a:rPr>
                <a:t>Our </a:t>
              </a:r>
              <a:r>
                <a:rPr lang="en-US" sz="4000" b="1" dirty="0">
                  <a:solidFill>
                    <a:srgbClr val="7030A0"/>
                  </a:solidFill>
                </a:rPr>
                <a:t>1</a:t>
              </a:r>
              <a:r>
                <a:rPr lang="en-US" sz="4000" b="1" baseline="30000" dirty="0">
                  <a:solidFill>
                    <a:srgbClr val="7030A0"/>
                  </a:solidFill>
                </a:rPr>
                <a:t>st</a:t>
              </a:r>
              <a:r>
                <a:rPr lang="en-US" sz="1800" b="1" dirty="0">
                  <a:solidFill>
                    <a:srgbClr val="7030A0"/>
                  </a:solidFill>
                </a:rPr>
                <a:t> </a:t>
              </a:r>
            </a:p>
            <a:p>
              <a:pPr algn="ctr"/>
              <a:r>
                <a:rPr lang="en-US" sz="1800" b="1" dirty="0">
                  <a:solidFill>
                    <a:srgbClr val="7030A0"/>
                  </a:solidFill>
                </a:rPr>
                <a:t>employee </a:t>
              </a:r>
            </a:p>
            <a:p>
              <a:pPr algn="ctr"/>
              <a:r>
                <a:rPr lang="en-US" sz="1800" b="1" dirty="0">
                  <a:solidFill>
                    <a:srgbClr val="7030A0"/>
                  </a:solidFill>
                </a:rPr>
                <a:t>was hired!</a:t>
              </a:r>
            </a:p>
          </p:txBody>
        </p:sp>
        <p:sp>
          <p:nvSpPr>
            <p:cNvPr id="9" name="Oval 8">
              <a:extLst>
                <a:ext uri="{FF2B5EF4-FFF2-40B4-BE49-F238E27FC236}">
                  <a16:creationId xmlns:a16="http://schemas.microsoft.com/office/drawing/2014/main" id="{71F5EC6D-80BE-409C-93E7-85D1D4308DE9}"/>
                </a:ext>
              </a:extLst>
            </p:cNvPr>
            <p:cNvSpPr>
              <a:spLocks noChangeAspect="1"/>
            </p:cNvSpPr>
            <p:nvPr/>
          </p:nvSpPr>
          <p:spPr bwMode="gray">
            <a:xfrm>
              <a:off x="955120" y="4848857"/>
              <a:ext cx="540000" cy="54000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a:t>1</a:t>
              </a:r>
              <a:endParaRPr lang="bg-BG" sz="1800"/>
            </a:p>
          </p:txBody>
        </p:sp>
        <p:sp>
          <p:nvSpPr>
            <p:cNvPr id="14" name="TextBox 13">
              <a:extLst>
                <a:ext uri="{FF2B5EF4-FFF2-40B4-BE49-F238E27FC236}">
                  <a16:creationId xmlns:a16="http://schemas.microsoft.com/office/drawing/2014/main" id="{5107E348-28AE-48BB-BDF1-739CA87D788B}"/>
                </a:ext>
              </a:extLst>
            </p:cNvPr>
            <p:cNvSpPr txBox="1"/>
            <p:nvPr/>
          </p:nvSpPr>
          <p:spPr bwMode="gray">
            <a:xfrm>
              <a:off x="700808" y="5652801"/>
              <a:ext cx="1048624" cy="332621"/>
            </a:xfrm>
            <a:prstGeom prst="rect">
              <a:avLst/>
            </a:prstGeom>
            <a:noFill/>
          </p:spPr>
          <p:txBody>
            <a:bodyPr wrap="none" lIns="0" tIns="0" rIns="0" bIns="0" rtlCol="0">
              <a:noAutofit/>
            </a:bodyPr>
            <a:lstStyle/>
            <a:p>
              <a:r>
                <a:rPr lang="en-US" sz="1800">
                  <a:solidFill>
                    <a:schemeClr val="bg1"/>
                  </a:solidFill>
                </a:rPr>
                <a:t>Late 2017</a:t>
              </a:r>
            </a:p>
          </p:txBody>
        </p:sp>
        <p:sp>
          <p:nvSpPr>
            <p:cNvPr id="93" name="TextBox 92">
              <a:extLst>
                <a:ext uri="{FF2B5EF4-FFF2-40B4-BE49-F238E27FC236}">
                  <a16:creationId xmlns:a16="http://schemas.microsoft.com/office/drawing/2014/main" id="{703B37C2-5367-4F05-AA50-F19F9056D910}"/>
                </a:ext>
              </a:extLst>
            </p:cNvPr>
            <p:cNvSpPr txBox="1"/>
            <p:nvPr/>
          </p:nvSpPr>
          <p:spPr bwMode="gray">
            <a:xfrm>
              <a:off x="455757" y="3443571"/>
              <a:ext cx="1707239" cy="723220"/>
            </a:xfrm>
            <a:prstGeom prst="rect">
              <a:avLst/>
            </a:prstGeom>
            <a:noFill/>
          </p:spPr>
          <p:txBody>
            <a:bodyPr wrap="none" lIns="0" tIns="0" rIns="0" bIns="0" rtlCol="0">
              <a:noAutofit/>
            </a:bodyPr>
            <a:lstStyle/>
            <a:p>
              <a:pPr algn="ctr"/>
              <a:r>
                <a:rPr lang="en-US" sz="1400" b="1">
                  <a:solidFill>
                    <a:srgbClr val="7030A0"/>
                  </a:solidFill>
                </a:rPr>
                <a:t>We are based in </a:t>
              </a:r>
            </a:p>
            <a:p>
              <a:pPr algn="ctr"/>
              <a:r>
                <a:rPr lang="en-US" sz="1400" b="1">
                  <a:solidFill>
                    <a:srgbClr val="7030A0"/>
                  </a:solidFill>
                </a:rPr>
                <a:t>a small room </a:t>
              </a:r>
            </a:p>
            <a:p>
              <a:pPr algn="ctr"/>
              <a:r>
                <a:rPr lang="en-US" sz="1400" b="1">
                  <a:solidFill>
                    <a:srgbClr val="7030A0"/>
                  </a:solidFill>
                </a:rPr>
                <a:t>at Lidl HQ BG</a:t>
              </a:r>
            </a:p>
          </p:txBody>
        </p:sp>
        <p:pic>
          <p:nvPicPr>
            <p:cNvPr id="100" name="Graphic 99" descr="Rocket">
              <a:extLst>
                <a:ext uri="{FF2B5EF4-FFF2-40B4-BE49-F238E27FC236}">
                  <a16:creationId xmlns:a16="http://schemas.microsoft.com/office/drawing/2014/main" id="{095486A7-5995-4624-B105-508D93D3A39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1864" y="5961616"/>
              <a:ext cx="448235" cy="448235"/>
            </a:xfrm>
            <a:prstGeom prst="rect">
              <a:avLst/>
            </a:prstGeom>
          </p:spPr>
        </p:pic>
      </p:grpSp>
      <p:grpSp>
        <p:nvGrpSpPr>
          <p:cNvPr id="11" name="Group 10">
            <a:extLst>
              <a:ext uri="{FF2B5EF4-FFF2-40B4-BE49-F238E27FC236}">
                <a16:creationId xmlns:a16="http://schemas.microsoft.com/office/drawing/2014/main" id="{EEF717CC-2D19-4482-9170-529C852F1558}"/>
              </a:ext>
            </a:extLst>
          </p:cNvPr>
          <p:cNvGrpSpPr/>
          <p:nvPr/>
        </p:nvGrpSpPr>
        <p:grpSpPr>
          <a:xfrm>
            <a:off x="6665140" y="2924246"/>
            <a:ext cx="3130522" cy="3550177"/>
            <a:chOff x="6665140" y="2924246"/>
            <a:chExt cx="3130522" cy="3550177"/>
          </a:xfrm>
        </p:grpSpPr>
        <p:sp>
          <p:nvSpPr>
            <p:cNvPr id="13" name="Oval 12">
              <a:extLst>
                <a:ext uri="{FF2B5EF4-FFF2-40B4-BE49-F238E27FC236}">
                  <a16:creationId xmlns:a16="http://schemas.microsoft.com/office/drawing/2014/main" id="{9252C23C-55F7-440A-8E6A-FF67B1070F3E}"/>
                </a:ext>
              </a:extLst>
            </p:cNvPr>
            <p:cNvSpPr>
              <a:spLocks noChangeAspect="1"/>
            </p:cNvSpPr>
            <p:nvPr/>
          </p:nvSpPr>
          <p:spPr bwMode="gray">
            <a:xfrm>
              <a:off x="8040619" y="4821825"/>
              <a:ext cx="540000" cy="54000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a:t>62</a:t>
              </a:r>
              <a:endParaRPr lang="bg-BG" sz="1800"/>
            </a:p>
          </p:txBody>
        </p:sp>
        <p:sp>
          <p:nvSpPr>
            <p:cNvPr id="91" name="TextBox 90">
              <a:extLst>
                <a:ext uri="{FF2B5EF4-FFF2-40B4-BE49-F238E27FC236}">
                  <a16:creationId xmlns:a16="http://schemas.microsoft.com/office/drawing/2014/main" id="{8AFC92F6-281E-47B0-8CD1-BE407B7CBCA8}"/>
                </a:ext>
              </a:extLst>
            </p:cNvPr>
            <p:cNvSpPr txBox="1"/>
            <p:nvPr/>
          </p:nvSpPr>
          <p:spPr bwMode="gray">
            <a:xfrm>
              <a:off x="7828142" y="5652800"/>
              <a:ext cx="1048624" cy="332621"/>
            </a:xfrm>
            <a:prstGeom prst="rect">
              <a:avLst/>
            </a:prstGeom>
            <a:noFill/>
          </p:spPr>
          <p:txBody>
            <a:bodyPr wrap="none" lIns="0" tIns="0" rIns="0" bIns="0" rtlCol="0">
              <a:noAutofit/>
            </a:bodyPr>
            <a:lstStyle/>
            <a:p>
              <a:r>
                <a:rPr lang="en-US" sz="1800">
                  <a:solidFill>
                    <a:schemeClr val="bg1"/>
                  </a:solidFill>
                </a:rPr>
                <a:t>2019/2020</a:t>
              </a:r>
            </a:p>
          </p:txBody>
        </p:sp>
        <p:sp>
          <p:nvSpPr>
            <p:cNvPr id="98" name="TextBox 97">
              <a:extLst>
                <a:ext uri="{FF2B5EF4-FFF2-40B4-BE49-F238E27FC236}">
                  <a16:creationId xmlns:a16="http://schemas.microsoft.com/office/drawing/2014/main" id="{A6AF99A4-30E7-40D2-B510-F178C005EE83}"/>
                </a:ext>
              </a:extLst>
            </p:cNvPr>
            <p:cNvSpPr txBox="1"/>
            <p:nvPr/>
          </p:nvSpPr>
          <p:spPr bwMode="gray">
            <a:xfrm>
              <a:off x="6665140" y="2924246"/>
              <a:ext cx="3130522" cy="380096"/>
            </a:xfrm>
            <a:prstGeom prst="rect">
              <a:avLst/>
            </a:prstGeom>
            <a:noFill/>
          </p:spPr>
          <p:txBody>
            <a:bodyPr wrap="none" lIns="0" tIns="0" rIns="0" bIns="0" rtlCol="0">
              <a:noAutofit/>
            </a:bodyPr>
            <a:lstStyle/>
            <a:p>
              <a:pPr algn="ctr"/>
              <a:r>
                <a:rPr lang="en-US" sz="2800" b="1">
                  <a:solidFill>
                    <a:srgbClr val="7030A0"/>
                  </a:solidFill>
                </a:rPr>
                <a:t>Go Live </a:t>
              </a:r>
              <a:r>
                <a:rPr lang="en-US" sz="1800" b="1">
                  <a:solidFill>
                    <a:srgbClr val="7030A0"/>
                  </a:solidFill>
                </a:rPr>
                <a:t>of our </a:t>
              </a:r>
            </a:p>
            <a:p>
              <a:pPr algn="ctr"/>
              <a:r>
                <a:rPr lang="en-US" sz="1800" b="1">
                  <a:solidFill>
                    <a:srgbClr val="7030A0"/>
                  </a:solidFill>
                </a:rPr>
                <a:t>2</a:t>
              </a:r>
              <a:r>
                <a:rPr lang="en-US" sz="1800" b="1" baseline="30000">
                  <a:solidFill>
                    <a:srgbClr val="7030A0"/>
                  </a:solidFill>
                </a:rPr>
                <a:t>nd</a:t>
              </a:r>
              <a:r>
                <a:rPr lang="en-US" sz="1800" b="1">
                  <a:solidFill>
                    <a:srgbClr val="7030A0"/>
                  </a:solidFill>
                </a:rPr>
                <a:t> online shop </a:t>
              </a:r>
            </a:p>
            <a:p>
              <a:pPr algn="ctr"/>
              <a:r>
                <a:rPr lang="en-US" sz="1800" b="1">
                  <a:solidFill>
                    <a:srgbClr val="7030A0"/>
                  </a:solidFill>
                </a:rPr>
                <a:t>in </a:t>
              </a:r>
              <a:r>
                <a:rPr lang="en-US" sz="2800" b="1">
                  <a:solidFill>
                    <a:srgbClr val="7030A0"/>
                  </a:solidFill>
                </a:rPr>
                <a:t>Slovakia</a:t>
              </a:r>
              <a:endParaRPr lang="en-US" sz="1800" b="1">
                <a:solidFill>
                  <a:srgbClr val="7030A0"/>
                </a:solidFill>
              </a:endParaRPr>
            </a:p>
          </p:txBody>
        </p:sp>
        <p:pic>
          <p:nvPicPr>
            <p:cNvPr id="69" name="Picture 2" descr="Bildergebnis für slovakia">
              <a:extLst>
                <a:ext uri="{FF2B5EF4-FFF2-40B4-BE49-F238E27FC236}">
                  <a16:creationId xmlns:a16="http://schemas.microsoft.com/office/drawing/2014/main" id="{241FAD7F-A057-496F-905C-CC382D53B00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28816" y="4157340"/>
              <a:ext cx="412943" cy="274539"/>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108" name="Graphic 107" descr="Shopping cart">
              <a:extLst>
                <a:ext uri="{FF2B5EF4-FFF2-40B4-BE49-F238E27FC236}">
                  <a16:creationId xmlns:a16="http://schemas.microsoft.com/office/drawing/2014/main" id="{DC88BDD3-A658-4FEC-9DA4-B8D87599856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14122" y="5997759"/>
              <a:ext cx="476664" cy="476664"/>
            </a:xfrm>
            <a:prstGeom prst="rect">
              <a:avLst/>
            </a:prstGeom>
          </p:spPr>
        </p:pic>
      </p:grpSp>
      <p:grpSp>
        <p:nvGrpSpPr>
          <p:cNvPr id="6" name="Group 5">
            <a:extLst>
              <a:ext uri="{FF2B5EF4-FFF2-40B4-BE49-F238E27FC236}">
                <a16:creationId xmlns:a16="http://schemas.microsoft.com/office/drawing/2014/main" id="{18BA850D-B89D-40A0-9AF0-65476E27D440}"/>
              </a:ext>
            </a:extLst>
          </p:cNvPr>
          <p:cNvGrpSpPr/>
          <p:nvPr/>
        </p:nvGrpSpPr>
        <p:grpSpPr>
          <a:xfrm>
            <a:off x="2472557" y="1914299"/>
            <a:ext cx="2566161" cy="4471293"/>
            <a:chOff x="2472557" y="1914299"/>
            <a:chExt cx="2566161" cy="4471293"/>
          </a:xfrm>
        </p:grpSpPr>
        <p:sp>
          <p:nvSpPr>
            <p:cNvPr id="10" name="Oval 9">
              <a:extLst>
                <a:ext uri="{FF2B5EF4-FFF2-40B4-BE49-F238E27FC236}">
                  <a16:creationId xmlns:a16="http://schemas.microsoft.com/office/drawing/2014/main" id="{CA55C539-5071-4C0B-99BC-C88822F83300}"/>
                </a:ext>
              </a:extLst>
            </p:cNvPr>
            <p:cNvSpPr>
              <a:spLocks noChangeAspect="1"/>
            </p:cNvSpPr>
            <p:nvPr/>
          </p:nvSpPr>
          <p:spPr bwMode="gray">
            <a:xfrm>
              <a:off x="3462685" y="4829798"/>
              <a:ext cx="540000" cy="54000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a:t>15</a:t>
              </a:r>
              <a:endParaRPr lang="bg-BG" sz="1800"/>
            </a:p>
          </p:txBody>
        </p:sp>
        <p:sp>
          <p:nvSpPr>
            <p:cNvPr id="86" name="TextBox 85">
              <a:extLst>
                <a:ext uri="{FF2B5EF4-FFF2-40B4-BE49-F238E27FC236}">
                  <a16:creationId xmlns:a16="http://schemas.microsoft.com/office/drawing/2014/main" id="{0E2F4B70-3537-4698-AC0E-F1ABFA6E691D}"/>
                </a:ext>
              </a:extLst>
            </p:cNvPr>
            <p:cNvSpPr txBox="1"/>
            <p:nvPr/>
          </p:nvSpPr>
          <p:spPr bwMode="gray">
            <a:xfrm>
              <a:off x="3124775" y="5652801"/>
              <a:ext cx="1048624" cy="332621"/>
            </a:xfrm>
            <a:prstGeom prst="rect">
              <a:avLst/>
            </a:prstGeom>
            <a:noFill/>
          </p:spPr>
          <p:txBody>
            <a:bodyPr wrap="none" lIns="0" tIns="0" rIns="0" bIns="0" rtlCol="0">
              <a:noAutofit/>
            </a:bodyPr>
            <a:lstStyle/>
            <a:p>
              <a:r>
                <a:rPr lang="en-US" sz="1800">
                  <a:solidFill>
                    <a:schemeClr val="bg1"/>
                  </a:solidFill>
                </a:rPr>
                <a:t>March 2018</a:t>
              </a:r>
            </a:p>
          </p:txBody>
        </p:sp>
        <p:sp>
          <p:nvSpPr>
            <p:cNvPr id="94" name="TextBox 93">
              <a:extLst>
                <a:ext uri="{FF2B5EF4-FFF2-40B4-BE49-F238E27FC236}">
                  <a16:creationId xmlns:a16="http://schemas.microsoft.com/office/drawing/2014/main" id="{8B02C082-4C86-4D0E-859A-E255D14B2EB3}"/>
                </a:ext>
              </a:extLst>
            </p:cNvPr>
            <p:cNvSpPr txBox="1"/>
            <p:nvPr/>
          </p:nvSpPr>
          <p:spPr bwMode="gray">
            <a:xfrm>
              <a:off x="2472557" y="1914299"/>
              <a:ext cx="2566161" cy="1202479"/>
            </a:xfrm>
            <a:prstGeom prst="rect">
              <a:avLst/>
            </a:prstGeom>
            <a:noFill/>
          </p:spPr>
          <p:txBody>
            <a:bodyPr wrap="none" lIns="0" tIns="0" rIns="0" bIns="0" rtlCol="0">
              <a:noAutofit/>
            </a:bodyPr>
            <a:lstStyle/>
            <a:p>
              <a:pPr algn="ctr"/>
              <a:r>
                <a:rPr lang="en-US" sz="1800" b="1" dirty="0">
                  <a:solidFill>
                    <a:srgbClr val="7030A0"/>
                  </a:solidFill>
                </a:rPr>
                <a:t>We open our </a:t>
              </a:r>
            </a:p>
            <a:p>
              <a:pPr algn="ctr"/>
              <a:r>
                <a:rPr lang="en-US" sz="2800" b="1" dirty="0">
                  <a:solidFill>
                    <a:srgbClr val="7030A0"/>
                  </a:solidFill>
                </a:rPr>
                <a:t>own office </a:t>
              </a:r>
            </a:p>
            <a:p>
              <a:pPr algn="ctr"/>
              <a:r>
                <a:rPr lang="en-US" sz="1800" b="1" dirty="0">
                  <a:solidFill>
                    <a:srgbClr val="7030A0"/>
                  </a:solidFill>
                </a:rPr>
                <a:t>in Business Park </a:t>
              </a:r>
            </a:p>
            <a:p>
              <a:pPr algn="ctr"/>
              <a:r>
                <a:rPr lang="en-US" sz="1800" b="1" dirty="0">
                  <a:solidFill>
                    <a:srgbClr val="7030A0"/>
                  </a:solidFill>
                </a:rPr>
                <a:t>Sofia Building 3</a:t>
              </a:r>
            </a:p>
          </p:txBody>
        </p:sp>
        <p:pic>
          <p:nvPicPr>
            <p:cNvPr id="75" name="Graphic 74" descr="Building">
              <a:extLst>
                <a:ext uri="{FF2B5EF4-FFF2-40B4-BE49-F238E27FC236}">
                  <a16:creationId xmlns:a16="http://schemas.microsoft.com/office/drawing/2014/main" id="{9E71E282-2936-4153-A9B9-2C6EF88E3AE8}"/>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42894" y="6006013"/>
              <a:ext cx="379579" cy="379579"/>
            </a:xfrm>
            <a:prstGeom prst="rect">
              <a:avLst/>
            </a:prstGeom>
          </p:spPr>
        </p:pic>
        <p:grpSp>
          <p:nvGrpSpPr>
            <p:cNvPr id="111" name="Group 110">
              <a:extLst>
                <a:ext uri="{FF2B5EF4-FFF2-40B4-BE49-F238E27FC236}">
                  <a16:creationId xmlns:a16="http://schemas.microsoft.com/office/drawing/2014/main" id="{D1F0826D-D575-415C-A15F-AF163D679EC8}"/>
                </a:ext>
              </a:extLst>
            </p:cNvPr>
            <p:cNvGrpSpPr/>
            <p:nvPr/>
          </p:nvGrpSpPr>
          <p:grpSpPr>
            <a:xfrm>
              <a:off x="2902019" y="3276130"/>
              <a:ext cx="1707239" cy="1385635"/>
              <a:chOff x="329710" y="1055171"/>
              <a:chExt cx="2448200" cy="1836150"/>
            </a:xfrm>
          </p:grpSpPr>
          <p:pic>
            <p:nvPicPr>
              <p:cNvPr id="114" name="Picture 113">
                <a:extLst>
                  <a:ext uri="{FF2B5EF4-FFF2-40B4-BE49-F238E27FC236}">
                    <a16:creationId xmlns:a16="http://schemas.microsoft.com/office/drawing/2014/main" id="{5AFD4D9B-85A3-45A6-B59D-E4F804AB380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29710" y="1055171"/>
                <a:ext cx="2448200" cy="1836150"/>
              </a:xfrm>
              <a:prstGeom prst="rect">
                <a:avLst/>
              </a:prstGeom>
              <a:ln w="38100">
                <a:solidFill>
                  <a:schemeClr val="bg1"/>
                </a:solidFill>
              </a:ln>
            </p:spPr>
          </p:pic>
          <p:sp>
            <p:nvSpPr>
              <p:cNvPr id="115" name="Freeform: Shape 114">
                <a:extLst>
                  <a:ext uri="{FF2B5EF4-FFF2-40B4-BE49-F238E27FC236}">
                    <a16:creationId xmlns:a16="http://schemas.microsoft.com/office/drawing/2014/main" id="{A8B3791F-75C4-4F76-8B3F-9590836E460C}"/>
                  </a:ext>
                </a:extLst>
              </p:cNvPr>
              <p:cNvSpPr/>
              <p:nvPr/>
            </p:nvSpPr>
            <p:spPr bwMode="gray">
              <a:xfrm>
                <a:off x="444500" y="1644650"/>
                <a:ext cx="1962150" cy="336550"/>
              </a:xfrm>
              <a:custGeom>
                <a:avLst/>
                <a:gdLst>
                  <a:gd name="connsiteX0" fmla="*/ 0 w 1962150"/>
                  <a:gd name="connsiteY0" fmla="*/ 222250 h 336550"/>
                  <a:gd name="connsiteX1" fmla="*/ 1955800 w 1962150"/>
                  <a:gd name="connsiteY1" fmla="*/ 0 h 336550"/>
                  <a:gd name="connsiteX2" fmla="*/ 1962150 w 1962150"/>
                  <a:gd name="connsiteY2" fmla="*/ 234950 h 336550"/>
                  <a:gd name="connsiteX3" fmla="*/ 0 w 1962150"/>
                  <a:gd name="connsiteY3" fmla="*/ 336550 h 336550"/>
                  <a:gd name="connsiteX4" fmla="*/ 0 w 1962150"/>
                  <a:gd name="connsiteY4" fmla="*/ 222250 h 33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2150" h="336550">
                    <a:moveTo>
                      <a:pt x="0" y="222250"/>
                    </a:moveTo>
                    <a:lnTo>
                      <a:pt x="1955800" y="0"/>
                    </a:lnTo>
                    <a:lnTo>
                      <a:pt x="1962150" y="234950"/>
                    </a:lnTo>
                    <a:lnTo>
                      <a:pt x="0" y="336550"/>
                    </a:lnTo>
                    <a:lnTo>
                      <a:pt x="0" y="222250"/>
                    </a:lnTo>
                    <a:close/>
                  </a:path>
                </a:pathLst>
              </a:custGeom>
              <a:no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err="1">
                  <a:solidFill>
                    <a:schemeClr val="accent1"/>
                  </a:solidFill>
                </a:endParaRPr>
              </a:p>
            </p:txBody>
          </p:sp>
          <p:pic>
            <p:nvPicPr>
              <p:cNvPr id="116" name="Picture 115">
                <a:extLst>
                  <a:ext uri="{FF2B5EF4-FFF2-40B4-BE49-F238E27FC236}">
                    <a16:creationId xmlns:a16="http://schemas.microsoft.com/office/drawing/2014/main" id="{6D17D465-8A2B-4532-A334-6E1A1CA7AA2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028744" y="1515056"/>
                <a:ext cx="410822" cy="208280"/>
              </a:xfrm>
              <a:prstGeom prst="rect">
                <a:avLst/>
              </a:prstGeom>
              <a:solidFill>
                <a:schemeClr val="bg1"/>
              </a:solidFill>
            </p:spPr>
          </p:pic>
        </p:grpSp>
      </p:grpSp>
      <p:grpSp>
        <p:nvGrpSpPr>
          <p:cNvPr id="7" name="Group 6">
            <a:extLst>
              <a:ext uri="{FF2B5EF4-FFF2-40B4-BE49-F238E27FC236}">
                <a16:creationId xmlns:a16="http://schemas.microsoft.com/office/drawing/2014/main" id="{310C122F-5DA4-4F34-9FBE-7EC522E2452B}"/>
              </a:ext>
            </a:extLst>
          </p:cNvPr>
          <p:cNvGrpSpPr/>
          <p:nvPr/>
        </p:nvGrpSpPr>
        <p:grpSpPr>
          <a:xfrm>
            <a:off x="4184571" y="1241050"/>
            <a:ext cx="3479167" cy="5229148"/>
            <a:chOff x="4184571" y="1241050"/>
            <a:chExt cx="3479167" cy="5229148"/>
          </a:xfrm>
        </p:grpSpPr>
        <p:sp>
          <p:nvSpPr>
            <p:cNvPr id="42" name="Oval 41">
              <a:extLst>
                <a:ext uri="{FF2B5EF4-FFF2-40B4-BE49-F238E27FC236}">
                  <a16:creationId xmlns:a16="http://schemas.microsoft.com/office/drawing/2014/main" id="{58750208-646A-40A8-A7A4-845F48B70BC8}"/>
                </a:ext>
              </a:extLst>
            </p:cNvPr>
            <p:cNvSpPr>
              <a:spLocks noChangeAspect="1"/>
            </p:cNvSpPr>
            <p:nvPr/>
          </p:nvSpPr>
          <p:spPr bwMode="gray">
            <a:xfrm>
              <a:off x="5671233" y="4857261"/>
              <a:ext cx="540000" cy="54000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a:t>50</a:t>
              </a:r>
              <a:endParaRPr lang="bg-BG" sz="1800"/>
            </a:p>
          </p:txBody>
        </p:sp>
        <p:sp>
          <p:nvSpPr>
            <p:cNvPr id="88" name="TextBox 87">
              <a:extLst>
                <a:ext uri="{FF2B5EF4-FFF2-40B4-BE49-F238E27FC236}">
                  <a16:creationId xmlns:a16="http://schemas.microsoft.com/office/drawing/2014/main" id="{ED155708-B0AF-4EAD-B4E3-FDFFFA1F60E2}"/>
                </a:ext>
              </a:extLst>
            </p:cNvPr>
            <p:cNvSpPr txBox="1"/>
            <p:nvPr/>
          </p:nvSpPr>
          <p:spPr bwMode="gray">
            <a:xfrm>
              <a:off x="5441141" y="5652801"/>
              <a:ext cx="1048624" cy="332621"/>
            </a:xfrm>
            <a:prstGeom prst="rect">
              <a:avLst/>
            </a:prstGeom>
            <a:noFill/>
          </p:spPr>
          <p:txBody>
            <a:bodyPr wrap="none" lIns="0" tIns="0" rIns="0" bIns="0" rtlCol="0">
              <a:noAutofit/>
            </a:bodyPr>
            <a:lstStyle/>
            <a:p>
              <a:r>
                <a:rPr lang="en-US" sz="1800">
                  <a:solidFill>
                    <a:schemeClr val="bg1"/>
                  </a:solidFill>
                </a:rPr>
                <a:t>March 2019</a:t>
              </a:r>
            </a:p>
          </p:txBody>
        </p:sp>
        <p:sp>
          <p:nvSpPr>
            <p:cNvPr id="95" name="TextBox 94">
              <a:extLst>
                <a:ext uri="{FF2B5EF4-FFF2-40B4-BE49-F238E27FC236}">
                  <a16:creationId xmlns:a16="http://schemas.microsoft.com/office/drawing/2014/main" id="{193CC6D0-EFFD-4925-B682-2A30A519D3FE}"/>
                </a:ext>
              </a:extLst>
            </p:cNvPr>
            <p:cNvSpPr txBox="1"/>
            <p:nvPr/>
          </p:nvSpPr>
          <p:spPr bwMode="gray">
            <a:xfrm>
              <a:off x="4184571" y="1241050"/>
              <a:ext cx="3479167" cy="1753630"/>
            </a:xfrm>
            <a:prstGeom prst="rect">
              <a:avLst/>
            </a:prstGeom>
            <a:noFill/>
          </p:spPr>
          <p:txBody>
            <a:bodyPr wrap="none" lIns="0" tIns="0" rIns="0" bIns="0" rtlCol="0">
              <a:noAutofit/>
            </a:bodyPr>
            <a:lstStyle/>
            <a:p>
              <a:pPr algn="ctr"/>
              <a:r>
                <a:rPr lang="en-US" sz="2400" b="1" dirty="0">
                  <a:solidFill>
                    <a:srgbClr val="7030A0"/>
                  </a:solidFill>
                </a:rPr>
                <a:t>We are growing </a:t>
              </a:r>
              <a:r>
                <a:rPr lang="en-US" sz="1400" b="1" dirty="0">
                  <a:solidFill>
                    <a:srgbClr val="7030A0"/>
                  </a:solidFill>
                </a:rPr>
                <a:t> </a:t>
              </a:r>
            </a:p>
            <a:p>
              <a:pPr algn="ctr"/>
              <a:r>
                <a:rPr lang="en-US" sz="1400" b="1" dirty="0">
                  <a:solidFill>
                    <a:srgbClr val="7030A0"/>
                  </a:solidFill>
                </a:rPr>
                <a:t>Our 2</a:t>
              </a:r>
              <a:r>
                <a:rPr lang="en-US" sz="1400" b="1" baseline="30000" dirty="0">
                  <a:solidFill>
                    <a:srgbClr val="7030A0"/>
                  </a:solidFill>
                </a:rPr>
                <a:t>nd</a:t>
              </a:r>
              <a:r>
                <a:rPr lang="en-US" sz="1400" b="1" dirty="0">
                  <a:solidFill>
                    <a:srgbClr val="7030A0"/>
                  </a:solidFill>
                </a:rPr>
                <a:t> office opens in Building 15</a:t>
              </a:r>
            </a:p>
            <a:p>
              <a:pPr algn="ctr"/>
              <a:endParaRPr lang="en-US" sz="1400" b="1" dirty="0">
                <a:solidFill>
                  <a:srgbClr val="7030A0"/>
                </a:solidFill>
              </a:endParaRPr>
            </a:p>
            <a:p>
              <a:pPr algn="ctr"/>
              <a:endParaRPr lang="en-US" sz="1400" b="1" dirty="0">
                <a:solidFill>
                  <a:srgbClr val="7030A0"/>
                </a:solidFill>
              </a:endParaRPr>
            </a:p>
            <a:p>
              <a:pPr algn="ctr"/>
              <a:endParaRPr lang="en-US" sz="1400" b="1" dirty="0">
                <a:solidFill>
                  <a:srgbClr val="7030A0"/>
                </a:solidFill>
              </a:endParaRPr>
            </a:p>
            <a:p>
              <a:pPr algn="ctr"/>
              <a:endParaRPr lang="en-US" sz="1400" b="1" dirty="0">
                <a:solidFill>
                  <a:srgbClr val="7030A0"/>
                </a:solidFill>
              </a:endParaRPr>
            </a:p>
            <a:p>
              <a:pPr algn="ctr"/>
              <a:endParaRPr lang="en-US" sz="1400" b="1" dirty="0">
                <a:solidFill>
                  <a:srgbClr val="7030A0"/>
                </a:solidFill>
              </a:endParaRPr>
            </a:p>
            <a:p>
              <a:pPr algn="ctr"/>
              <a:endParaRPr lang="en-US" sz="1400" b="1" dirty="0">
                <a:solidFill>
                  <a:srgbClr val="7030A0"/>
                </a:solidFill>
              </a:endParaRPr>
            </a:p>
            <a:p>
              <a:pPr algn="ctr"/>
              <a:endParaRPr lang="en-US" sz="1400" b="1" dirty="0">
                <a:solidFill>
                  <a:srgbClr val="7030A0"/>
                </a:solidFill>
              </a:endParaRPr>
            </a:p>
            <a:p>
              <a:pPr algn="ctr"/>
              <a:endParaRPr lang="en-US" sz="1400" b="1" dirty="0">
                <a:solidFill>
                  <a:srgbClr val="7030A0"/>
                </a:solidFill>
              </a:endParaRPr>
            </a:p>
            <a:p>
              <a:pPr algn="ctr"/>
              <a:r>
                <a:rPr lang="en-US" sz="1800" b="1" dirty="0">
                  <a:solidFill>
                    <a:srgbClr val="7030A0"/>
                  </a:solidFill>
                </a:rPr>
                <a:t>Go Live </a:t>
              </a:r>
            </a:p>
            <a:p>
              <a:pPr algn="ctr"/>
              <a:r>
                <a:rPr lang="en-US" sz="1400" b="1" dirty="0">
                  <a:solidFill>
                    <a:srgbClr val="7030A0"/>
                  </a:solidFill>
                </a:rPr>
                <a:t>of our 1</a:t>
              </a:r>
              <a:r>
                <a:rPr lang="en-US" sz="1400" b="1" baseline="30000" dirty="0">
                  <a:solidFill>
                    <a:srgbClr val="7030A0"/>
                  </a:solidFill>
                </a:rPr>
                <a:t>st</a:t>
              </a:r>
              <a:r>
                <a:rPr lang="en-US" sz="1400" b="1" dirty="0">
                  <a:solidFill>
                    <a:srgbClr val="7030A0"/>
                  </a:solidFill>
                </a:rPr>
                <a:t> online shop in </a:t>
              </a:r>
            </a:p>
            <a:p>
              <a:pPr algn="ctr"/>
              <a:r>
                <a:rPr lang="en-US" sz="1800" b="1" dirty="0">
                  <a:solidFill>
                    <a:srgbClr val="7030A0"/>
                  </a:solidFill>
                </a:rPr>
                <a:t>Poland</a:t>
              </a:r>
              <a:endParaRPr lang="en-US" sz="1400" b="1" dirty="0">
                <a:solidFill>
                  <a:srgbClr val="7030A0"/>
                </a:solidFill>
              </a:endParaRPr>
            </a:p>
            <a:p>
              <a:pPr algn="ctr"/>
              <a:endParaRPr lang="en-US" sz="1400" b="1" dirty="0">
                <a:solidFill>
                  <a:srgbClr val="7030A0"/>
                </a:solidFill>
              </a:endParaRPr>
            </a:p>
          </p:txBody>
        </p:sp>
        <p:pic>
          <p:nvPicPr>
            <p:cNvPr id="2052" name="Picture 4" descr="Bildergebnis für polen">
              <a:extLst>
                <a:ext uri="{FF2B5EF4-FFF2-40B4-BE49-F238E27FC236}">
                  <a16:creationId xmlns:a16="http://schemas.microsoft.com/office/drawing/2014/main" id="{93317F78-6861-4424-9CFC-F70935DAA172}"/>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711728" y="4368150"/>
              <a:ext cx="412943" cy="257633"/>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102" name="Graphic 101" descr="City">
              <a:extLst>
                <a:ext uri="{FF2B5EF4-FFF2-40B4-BE49-F238E27FC236}">
                  <a16:creationId xmlns:a16="http://schemas.microsoft.com/office/drawing/2014/main" id="{47DE43BE-60C6-422F-8EDE-903F712D81F2}"/>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490283" y="5937014"/>
              <a:ext cx="510487" cy="510487"/>
            </a:xfrm>
            <a:prstGeom prst="rect">
              <a:avLst/>
            </a:prstGeom>
          </p:spPr>
        </p:pic>
        <p:pic>
          <p:nvPicPr>
            <p:cNvPr id="113" name="Graphic 112" descr="Shopping cart">
              <a:extLst>
                <a:ext uri="{FF2B5EF4-FFF2-40B4-BE49-F238E27FC236}">
                  <a16:creationId xmlns:a16="http://schemas.microsoft.com/office/drawing/2014/main" id="{F6D9DEBE-886A-44BD-BE93-4742D52AD55B}"/>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049912" y="5993534"/>
              <a:ext cx="476664" cy="476664"/>
            </a:xfrm>
            <a:prstGeom prst="rect">
              <a:avLst/>
            </a:prstGeom>
          </p:spPr>
        </p:pic>
        <p:grpSp>
          <p:nvGrpSpPr>
            <p:cNvPr id="112" name="Group 111">
              <a:extLst>
                <a:ext uri="{FF2B5EF4-FFF2-40B4-BE49-F238E27FC236}">
                  <a16:creationId xmlns:a16="http://schemas.microsoft.com/office/drawing/2014/main" id="{D6FAEBD8-4F07-41E8-AEC7-805B90A95E05}"/>
                </a:ext>
              </a:extLst>
            </p:cNvPr>
            <p:cNvGrpSpPr/>
            <p:nvPr/>
          </p:nvGrpSpPr>
          <p:grpSpPr>
            <a:xfrm>
              <a:off x="4985934" y="1943826"/>
              <a:ext cx="1801435" cy="1360516"/>
              <a:chOff x="6667500" y="627280"/>
              <a:chExt cx="1801435" cy="1360516"/>
            </a:xfrm>
          </p:grpSpPr>
          <p:pic>
            <p:nvPicPr>
              <p:cNvPr id="118" name="Picture 117">
                <a:extLst>
                  <a:ext uri="{FF2B5EF4-FFF2-40B4-BE49-F238E27FC236}">
                    <a16:creationId xmlns:a16="http://schemas.microsoft.com/office/drawing/2014/main" id="{DA3D8BC5-A8D1-498E-82AC-3C671FD4F998}"/>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6668735" y="627280"/>
                <a:ext cx="1800200" cy="1360516"/>
              </a:xfrm>
              <a:prstGeom prst="rect">
                <a:avLst/>
              </a:prstGeom>
              <a:ln w="38100">
                <a:solidFill>
                  <a:schemeClr val="bg1"/>
                </a:solidFill>
              </a:ln>
            </p:spPr>
          </p:pic>
          <p:sp>
            <p:nvSpPr>
              <p:cNvPr id="119" name="Freeform: Shape 118">
                <a:extLst>
                  <a:ext uri="{FF2B5EF4-FFF2-40B4-BE49-F238E27FC236}">
                    <a16:creationId xmlns:a16="http://schemas.microsoft.com/office/drawing/2014/main" id="{B4858115-5443-4F3B-AC66-3A8F5E7F4207}"/>
                  </a:ext>
                </a:extLst>
              </p:cNvPr>
              <p:cNvSpPr/>
              <p:nvPr/>
            </p:nvSpPr>
            <p:spPr bwMode="gray">
              <a:xfrm>
                <a:off x="6667500" y="1320800"/>
                <a:ext cx="1060450" cy="228600"/>
              </a:xfrm>
              <a:prstGeom prst="rect">
                <a:avLst/>
              </a:prstGeom>
              <a:no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err="1">
                  <a:solidFill>
                    <a:schemeClr val="accent1"/>
                  </a:solidFill>
                </a:endParaRPr>
              </a:p>
            </p:txBody>
          </p:sp>
          <p:pic>
            <p:nvPicPr>
              <p:cNvPr id="120" name="Picture 119">
                <a:extLst>
                  <a:ext uri="{FF2B5EF4-FFF2-40B4-BE49-F238E27FC236}">
                    <a16:creationId xmlns:a16="http://schemas.microsoft.com/office/drawing/2014/main" id="{6F8FAA47-3A25-40FA-A7D0-E64E17695AA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719645" y="1410916"/>
                <a:ext cx="410822" cy="208280"/>
              </a:xfrm>
              <a:prstGeom prst="rect">
                <a:avLst/>
              </a:prstGeom>
              <a:solidFill>
                <a:schemeClr val="bg1"/>
              </a:solidFill>
            </p:spPr>
          </p:pic>
        </p:grpSp>
      </p:grpSp>
      <p:grpSp>
        <p:nvGrpSpPr>
          <p:cNvPr id="17" name="Group 16">
            <a:extLst>
              <a:ext uri="{FF2B5EF4-FFF2-40B4-BE49-F238E27FC236}">
                <a16:creationId xmlns:a16="http://schemas.microsoft.com/office/drawing/2014/main" id="{F3AE187D-EFB5-4265-9C79-5B826ED7EB6E}"/>
              </a:ext>
            </a:extLst>
          </p:cNvPr>
          <p:cNvGrpSpPr/>
          <p:nvPr/>
        </p:nvGrpSpPr>
        <p:grpSpPr>
          <a:xfrm>
            <a:off x="8541759" y="255982"/>
            <a:ext cx="3479167" cy="6272087"/>
            <a:chOff x="8541759" y="255982"/>
            <a:chExt cx="3479167" cy="6272087"/>
          </a:xfrm>
        </p:grpSpPr>
        <p:grpSp>
          <p:nvGrpSpPr>
            <p:cNvPr id="12" name="Group 11">
              <a:extLst>
                <a:ext uri="{FF2B5EF4-FFF2-40B4-BE49-F238E27FC236}">
                  <a16:creationId xmlns:a16="http://schemas.microsoft.com/office/drawing/2014/main" id="{28916615-B958-4E7A-B602-ACE275E6582E}"/>
                </a:ext>
              </a:extLst>
            </p:cNvPr>
            <p:cNvGrpSpPr/>
            <p:nvPr/>
          </p:nvGrpSpPr>
          <p:grpSpPr>
            <a:xfrm>
              <a:off x="9375410" y="1525327"/>
              <a:ext cx="2576428" cy="5002742"/>
              <a:chOff x="9375410" y="1525327"/>
              <a:chExt cx="2576428" cy="5002742"/>
            </a:xfrm>
          </p:grpSpPr>
          <p:sp>
            <p:nvSpPr>
              <p:cNvPr id="96" name="Oval 95">
                <a:extLst>
                  <a:ext uri="{FF2B5EF4-FFF2-40B4-BE49-F238E27FC236}">
                    <a16:creationId xmlns:a16="http://schemas.microsoft.com/office/drawing/2014/main" id="{E1263FA5-B509-4EC3-B114-8BFDEBB1E15B}"/>
                  </a:ext>
                </a:extLst>
              </p:cNvPr>
              <p:cNvSpPr>
                <a:spLocks noChangeAspect="1"/>
              </p:cNvSpPr>
              <p:nvPr/>
            </p:nvSpPr>
            <p:spPr bwMode="gray">
              <a:xfrm>
                <a:off x="10387347" y="4848857"/>
                <a:ext cx="540000" cy="54000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a:t>65</a:t>
                </a:r>
                <a:endParaRPr lang="bg-BG" sz="1800"/>
              </a:p>
            </p:txBody>
          </p:sp>
          <p:sp>
            <p:nvSpPr>
              <p:cNvPr id="92" name="TextBox 91">
                <a:extLst>
                  <a:ext uri="{FF2B5EF4-FFF2-40B4-BE49-F238E27FC236}">
                    <a16:creationId xmlns:a16="http://schemas.microsoft.com/office/drawing/2014/main" id="{CD154B93-8B2A-4837-8C07-3F394A5F522B}"/>
                  </a:ext>
                </a:extLst>
              </p:cNvPr>
              <p:cNvSpPr txBox="1"/>
              <p:nvPr/>
            </p:nvSpPr>
            <p:spPr bwMode="gray">
              <a:xfrm>
                <a:off x="10101476" y="5642440"/>
                <a:ext cx="1048624" cy="332621"/>
              </a:xfrm>
              <a:prstGeom prst="rect">
                <a:avLst/>
              </a:prstGeom>
              <a:noFill/>
            </p:spPr>
            <p:txBody>
              <a:bodyPr wrap="none" lIns="0" tIns="0" rIns="0" bIns="0" rtlCol="0">
                <a:noAutofit/>
              </a:bodyPr>
              <a:lstStyle/>
              <a:p>
                <a:r>
                  <a:rPr lang="en-US" sz="1800" dirty="0">
                    <a:solidFill>
                      <a:schemeClr val="bg1"/>
                    </a:solidFill>
                  </a:rPr>
                  <a:t>Nov/2020</a:t>
                </a:r>
              </a:p>
            </p:txBody>
          </p:sp>
          <p:sp>
            <p:nvSpPr>
              <p:cNvPr id="99" name="TextBox 98">
                <a:extLst>
                  <a:ext uri="{FF2B5EF4-FFF2-40B4-BE49-F238E27FC236}">
                    <a16:creationId xmlns:a16="http://schemas.microsoft.com/office/drawing/2014/main" id="{EA46D0A5-C364-4882-BB7B-9EF8815B0BE6}"/>
                  </a:ext>
                </a:extLst>
              </p:cNvPr>
              <p:cNvSpPr txBox="1"/>
              <p:nvPr/>
            </p:nvSpPr>
            <p:spPr bwMode="gray">
              <a:xfrm>
                <a:off x="9375410" y="1525327"/>
                <a:ext cx="2576428" cy="757471"/>
              </a:xfrm>
              <a:prstGeom prst="rect">
                <a:avLst/>
              </a:prstGeom>
              <a:noFill/>
            </p:spPr>
            <p:txBody>
              <a:bodyPr wrap="none" lIns="0" tIns="0" rIns="0" bIns="0" rtlCol="0">
                <a:noAutofit/>
              </a:bodyPr>
              <a:lstStyle/>
              <a:p>
                <a:pPr algn="ctr"/>
                <a:endParaRPr lang="en-US" sz="2800" b="1">
                  <a:solidFill>
                    <a:srgbClr val="7030A0"/>
                  </a:solidFill>
                </a:endParaRPr>
              </a:p>
              <a:p>
                <a:pPr algn="ctr"/>
                <a:r>
                  <a:rPr lang="en-US" sz="2800" b="1">
                    <a:solidFill>
                      <a:srgbClr val="7030A0"/>
                    </a:solidFill>
                  </a:rPr>
                  <a:t>Migration</a:t>
                </a:r>
                <a:r>
                  <a:rPr lang="en-US" sz="1800" b="1">
                    <a:solidFill>
                      <a:srgbClr val="7030A0"/>
                    </a:solidFill>
                  </a:rPr>
                  <a:t> of our </a:t>
                </a:r>
              </a:p>
              <a:p>
                <a:pPr algn="ctr"/>
                <a:r>
                  <a:rPr lang="en-US" sz="1800" b="1">
                    <a:solidFill>
                      <a:srgbClr val="7030A0"/>
                    </a:solidFill>
                  </a:rPr>
                  <a:t>existing </a:t>
                </a:r>
              </a:p>
              <a:p>
                <a:pPr algn="ctr"/>
                <a:r>
                  <a:rPr lang="en-US" sz="1800" b="1">
                    <a:solidFill>
                      <a:srgbClr val="7030A0"/>
                    </a:solidFill>
                  </a:rPr>
                  <a:t>Online Shops</a:t>
                </a:r>
              </a:p>
              <a:p>
                <a:pPr algn="ctr"/>
                <a:r>
                  <a:rPr lang="en-US" sz="1800" b="1">
                    <a:solidFill>
                      <a:srgbClr val="7030A0"/>
                    </a:solidFill>
                  </a:rPr>
                  <a:t>DE, CZ, BE, NL, ES</a:t>
                </a:r>
              </a:p>
              <a:p>
                <a:pPr algn="ctr"/>
                <a:r>
                  <a:rPr lang="en-US" sz="1800" b="1">
                    <a:solidFill>
                      <a:srgbClr val="7030A0"/>
                    </a:solidFill>
                  </a:rPr>
                  <a:t>to the new platform</a:t>
                </a:r>
              </a:p>
            </p:txBody>
          </p:sp>
          <p:pic>
            <p:nvPicPr>
              <p:cNvPr id="104" name="Graphic 103" descr="Upward trend">
                <a:extLst>
                  <a:ext uri="{FF2B5EF4-FFF2-40B4-BE49-F238E27FC236}">
                    <a16:creationId xmlns:a16="http://schemas.microsoft.com/office/drawing/2014/main" id="{C8B9A173-2D1C-4D10-9F01-8CCB163CA06D}"/>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075927" y="6017582"/>
                <a:ext cx="510487" cy="510487"/>
              </a:xfrm>
              <a:prstGeom prst="rect">
                <a:avLst/>
              </a:prstGeom>
            </p:spPr>
          </p:pic>
          <p:pic>
            <p:nvPicPr>
              <p:cNvPr id="110" name="Graphic 109" descr="Signpost">
                <a:extLst>
                  <a:ext uri="{FF2B5EF4-FFF2-40B4-BE49-F238E27FC236}">
                    <a16:creationId xmlns:a16="http://schemas.microsoft.com/office/drawing/2014/main" id="{691CDA66-6645-4298-A823-35EC21FD736B}"/>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0521086" y="6005368"/>
                <a:ext cx="484200" cy="484200"/>
              </a:xfrm>
              <a:prstGeom prst="rect">
                <a:avLst/>
              </a:prstGeom>
            </p:spPr>
          </p:pic>
          <p:pic>
            <p:nvPicPr>
              <p:cNvPr id="41" name="Picture 18" descr="© INSCALE GmbH, 14.06.2010">
                <a:extLst>
                  <a:ext uri="{FF2B5EF4-FFF2-40B4-BE49-F238E27FC236}">
                    <a16:creationId xmlns:a16="http://schemas.microsoft.com/office/drawing/2014/main" id="{FF733C8A-247F-414B-A53D-A7FDD72B31AC}"/>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10691616" y="4071050"/>
                <a:ext cx="455536"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25" descr="© INSCALE GmbH, 14.06.2010">
                <a:extLst>
                  <a:ext uri="{FF2B5EF4-FFF2-40B4-BE49-F238E27FC236}">
                    <a16:creationId xmlns:a16="http://schemas.microsoft.com/office/drawing/2014/main" id="{10384740-59A2-4C97-BAE3-E56DE4EA14A6}"/>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9863510" y="3685404"/>
                <a:ext cx="455536"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8" descr="© INSCALE GmbH, 14.06.2010">
                <a:extLst>
                  <a:ext uri="{FF2B5EF4-FFF2-40B4-BE49-F238E27FC236}">
                    <a16:creationId xmlns:a16="http://schemas.microsoft.com/office/drawing/2014/main" id="{EC4BF4A8-B82D-4B71-A442-DCA1F1A8CB5B}"/>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10129715" y="4070701"/>
                <a:ext cx="455536"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21" descr="© INSCALE GmbH, 14.06.2010">
                <a:extLst>
                  <a:ext uri="{FF2B5EF4-FFF2-40B4-BE49-F238E27FC236}">
                    <a16:creationId xmlns:a16="http://schemas.microsoft.com/office/drawing/2014/main" id="{1E734DC0-778F-48D4-8123-1315C3642365}"/>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10919384" y="3681981"/>
                <a:ext cx="455536"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27" descr="tschechien">
                <a:extLst>
                  <a:ext uri="{FF2B5EF4-FFF2-40B4-BE49-F238E27FC236}">
                    <a16:creationId xmlns:a16="http://schemas.microsoft.com/office/drawing/2014/main" id="{10AD1E67-5257-4AE8-90FE-EF136C0D4288}"/>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10391323" y="3681981"/>
                <a:ext cx="455536" cy="288000"/>
              </a:xfrm>
              <a:prstGeom prst="rect">
                <a:avLst/>
              </a:prstGeom>
              <a:noFill/>
            </p:spPr>
          </p:pic>
        </p:grpSp>
        <p:grpSp>
          <p:nvGrpSpPr>
            <p:cNvPr id="16" name="Group 15">
              <a:extLst>
                <a:ext uri="{FF2B5EF4-FFF2-40B4-BE49-F238E27FC236}">
                  <a16:creationId xmlns:a16="http://schemas.microsoft.com/office/drawing/2014/main" id="{ED7C58AA-23AD-4E3E-AB51-861F6D6459C1}"/>
                </a:ext>
              </a:extLst>
            </p:cNvPr>
            <p:cNvGrpSpPr/>
            <p:nvPr/>
          </p:nvGrpSpPr>
          <p:grpSpPr>
            <a:xfrm>
              <a:off x="8541759" y="255982"/>
              <a:ext cx="3479167" cy="1637953"/>
              <a:chOff x="9189479" y="625360"/>
              <a:chExt cx="2663214" cy="1194091"/>
            </a:xfrm>
          </p:grpSpPr>
          <p:pic>
            <p:nvPicPr>
              <p:cNvPr id="52" name="Picture 51">
                <a:extLst>
                  <a:ext uri="{FF2B5EF4-FFF2-40B4-BE49-F238E27FC236}">
                    <a16:creationId xmlns:a16="http://schemas.microsoft.com/office/drawing/2014/main" id="{BB5B3E08-46D1-457B-8B96-4D23AEAA95EF}"/>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9189479" y="631160"/>
                <a:ext cx="2663214" cy="1188291"/>
              </a:xfrm>
              <a:prstGeom prst="rect">
                <a:avLst/>
              </a:prstGeom>
            </p:spPr>
          </p:pic>
          <p:sp>
            <p:nvSpPr>
              <p:cNvPr id="51" name="Rectangle 50">
                <a:extLst>
                  <a:ext uri="{FF2B5EF4-FFF2-40B4-BE49-F238E27FC236}">
                    <a16:creationId xmlns:a16="http://schemas.microsoft.com/office/drawing/2014/main" id="{1C10AE9B-C576-4467-A93A-0FA64A6689B0}"/>
                  </a:ext>
                </a:extLst>
              </p:cNvPr>
              <p:cNvSpPr/>
              <p:nvPr/>
            </p:nvSpPr>
            <p:spPr bwMode="gray">
              <a:xfrm>
                <a:off x="9189479" y="625360"/>
                <a:ext cx="2663214" cy="1158487"/>
              </a:xfrm>
              <a:prstGeom prst="rect">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bg-BG" sz="1800"/>
              </a:p>
            </p:txBody>
          </p:sp>
        </p:grpSp>
      </p:grpSp>
    </p:spTree>
    <p:extLst>
      <p:ext uri="{BB962C8B-B14F-4D97-AF65-F5344CB8AC3E}">
        <p14:creationId xmlns:p14="http://schemas.microsoft.com/office/powerpoint/2010/main" val="191584722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FB9A987-FAAD-4824-948E-2C04B5CC3206}"/>
              </a:ext>
            </a:extLst>
          </p:cNvPr>
          <p:cNvSpPr/>
          <p:nvPr/>
        </p:nvSpPr>
        <p:spPr>
          <a:xfrm>
            <a:off x="-579635" y="2627341"/>
            <a:ext cx="5189043" cy="1933860"/>
          </a:xfrm>
          <a:custGeom>
            <a:avLst/>
            <a:gdLst>
              <a:gd name="connsiteX0" fmla="*/ 5568315 w 5648325"/>
              <a:gd name="connsiteY0" fmla="*/ 1066865 h 2105025"/>
              <a:gd name="connsiteX1" fmla="*/ 5335905 w 5648325"/>
              <a:gd name="connsiteY1" fmla="*/ 1066865 h 2105025"/>
              <a:gd name="connsiteX2" fmla="*/ 5278755 w 5648325"/>
              <a:gd name="connsiteY2" fmla="*/ 1039243 h 2105025"/>
              <a:gd name="connsiteX3" fmla="*/ 5160645 w 5648325"/>
              <a:gd name="connsiteY3" fmla="*/ 823978 h 2105025"/>
              <a:gd name="connsiteX4" fmla="*/ 5030153 w 5648325"/>
              <a:gd name="connsiteY4" fmla="*/ 758255 h 2105025"/>
              <a:gd name="connsiteX5" fmla="*/ 4921568 w 5648325"/>
              <a:gd name="connsiteY5" fmla="*/ 852553 h 2105025"/>
              <a:gd name="connsiteX6" fmla="*/ 4720590 w 5648325"/>
              <a:gd name="connsiteY6" fmla="*/ 1783145 h 2105025"/>
              <a:gd name="connsiteX7" fmla="*/ 4460558 w 5648325"/>
              <a:gd name="connsiteY7" fmla="*/ 101983 h 2105025"/>
              <a:gd name="connsiteX8" fmla="*/ 4338638 w 5648325"/>
              <a:gd name="connsiteY8" fmla="*/ 65 h 2105025"/>
              <a:gd name="connsiteX9" fmla="*/ 4211003 w 5648325"/>
              <a:gd name="connsiteY9" fmla="*/ 96268 h 2105025"/>
              <a:gd name="connsiteX10" fmla="*/ 3975735 w 5648325"/>
              <a:gd name="connsiteY10" fmla="*/ 1181165 h 2105025"/>
              <a:gd name="connsiteX11" fmla="*/ 3848100 w 5648325"/>
              <a:gd name="connsiteY11" fmla="*/ 856363 h 2105025"/>
              <a:gd name="connsiteX12" fmla="*/ 3716655 w 5648325"/>
              <a:gd name="connsiteY12" fmla="*/ 768733 h 2105025"/>
              <a:gd name="connsiteX13" fmla="*/ 3581400 w 5648325"/>
              <a:gd name="connsiteY13" fmla="*/ 851600 h 2105025"/>
              <a:gd name="connsiteX14" fmla="*/ 3506153 w 5648325"/>
              <a:gd name="connsiteY14" fmla="*/ 1026860 h 2105025"/>
              <a:gd name="connsiteX15" fmla="*/ 3430905 w 5648325"/>
              <a:gd name="connsiteY15" fmla="*/ 1065913 h 2105025"/>
              <a:gd name="connsiteX16" fmla="*/ 3095625 w 5648325"/>
              <a:gd name="connsiteY16" fmla="*/ 1065913 h 2105025"/>
              <a:gd name="connsiteX17" fmla="*/ 3091815 w 5648325"/>
              <a:gd name="connsiteY17" fmla="*/ 1065913 h 2105025"/>
              <a:gd name="connsiteX18" fmla="*/ 2634615 w 5648325"/>
              <a:gd name="connsiteY18" fmla="*/ 1065913 h 2105025"/>
              <a:gd name="connsiteX19" fmla="*/ 2577465 w 5648325"/>
              <a:gd name="connsiteY19" fmla="*/ 1038290 h 2105025"/>
              <a:gd name="connsiteX20" fmla="*/ 2459355 w 5648325"/>
              <a:gd name="connsiteY20" fmla="*/ 823025 h 2105025"/>
              <a:gd name="connsiteX21" fmla="*/ 2328863 w 5648325"/>
              <a:gd name="connsiteY21" fmla="*/ 757303 h 2105025"/>
              <a:gd name="connsiteX22" fmla="*/ 2220278 w 5648325"/>
              <a:gd name="connsiteY22" fmla="*/ 851600 h 2105025"/>
              <a:gd name="connsiteX23" fmla="*/ 2019300 w 5648325"/>
              <a:gd name="connsiteY23" fmla="*/ 1782193 h 2105025"/>
              <a:gd name="connsiteX24" fmla="*/ 1761173 w 5648325"/>
              <a:gd name="connsiteY24" fmla="*/ 101983 h 2105025"/>
              <a:gd name="connsiteX25" fmla="*/ 1639253 w 5648325"/>
              <a:gd name="connsiteY25" fmla="*/ 65 h 2105025"/>
              <a:gd name="connsiteX26" fmla="*/ 1511618 w 5648325"/>
              <a:gd name="connsiteY26" fmla="*/ 96268 h 2105025"/>
              <a:gd name="connsiteX27" fmla="*/ 1276350 w 5648325"/>
              <a:gd name="connsiteY27" fmla="*/ 1181165 h 2105025"/>
              <a:gd name="connsiteX28" fmla="*/ 1149668 w 5648325"/>
              <a:gd name="connsiteY28" fmla="*/ 855410 h 2105025"/>
              <a:gd name="connsiteX29" fmla="*/ 1018223 w 5648325"/>
              <a:gd name="connsiteY29" fmla="*/ 767780 h 2105025"/>
              <a:gd name="connsiteX30" fmla="*/ 882968 w 5648325"/>
              <a:gd name="connsiteY30" fmla="*/ 850648 h 2105025"/>
              <a:gd name="connsiteX31" fmla="*/ 807720 w 5648325"/>
              <a:gd name="connsiteY31" fmla="*/ 1025908 h 2105025"/>
              <a:gd name="connsiteX32" fmla="*/ 732473 w 5648325"/>
              <a:gd name="connsiteY32" fmla="*/ 1064960 h 2105025"/>
              <a:gd name="connsiteX33" fmla="*/ 81915 w 5648325"/>
              <a:gd name="connsiteY33" fmla="*/ 1064960 h 2105025"/>
              <a:gd name="connsiteX34" fmla="*/ 0 w 5648325"/>
              <a:gd name="connsiteY34" fmla="*/ 1146875 h 2105025"/>
              <a:gd name="connsiteX35" fmla="*/ 81915 w 5648325"/>
              <a:gd name="connsiteY35" fmla="*/ 1228790 h 2105025"/>
              <a:gd name="connsiteX36" fmla="*/ 731520 w 5648325"/>
              <a:gd name="connsiteY36" fmla="*/ 1228790 h 2105025"/>
              <a:gd name="connsiteX37" fmla="*/ 958215 w 5648325"/>
              <a:gd name="connsiteY37" fmla="*/ 1089725 h 2105025"/>
              <a:gd name="connsiteX38" fmla="*/ 1014413 w 5648325"/>
              <a:gd name="connsiteY38" fmla="*/ 959233 h 2105025"/>
              <a:gd name="connsiteX39" fmla="*/ 1165860 w 5648325"/>
              <a:gd name="connsiteY39" fmla="*/ 1348805 h 2105025"/>
              <a:gd name="connsiteX40" fmla="*/ 1296353 w 5648325"/>
              <a:gd name="connsiteY40" fmla="*/ 1426910 h 2105025"/>
              <a:gd name="connsiteX41" fmla="*/ 1410653 w 5648325"/>
              <a:gd name="connsiteY41" fmla="*/ 1331660 h 2105025"/>
              <a:gd name="connsiteX42" fmla="*/ 1628775 w 5648325"/>
              <a:gd name="connsiteY42" fmla="*/ 322010 h 2105025"/>
              <a:gd name="connsiteX43" fmla="*/ 1888808 w 5648325"/>
              <a:gd name="connsiteY43" fmla="*/ 2004125 h 2105025"/>
              <a:gd name="connsiteX44" fmla="*/ 2010728 w 5648325"/>
              <a:gd name="connsiteY44" fmla="*/ 2106043 h 2105025"/>
              <a:gd name="connsiteX45" fmla="*/ 2014538 w 5648325"/>
              <a:gd name="connsiteY45" fmla="*/ 2106043 h 2105025"/>
              <a:gd name="connsiteX46" fmla="*/ 2139315 w 5648325"/>
              <a:gd name="connsiteY46" fmla="*/ 2009840 h 2105025"/>
              <a:gd name="connsiteX47" fmla="*/ 2360295 w 5648325"/>
              <a:gd name="connsiteY47" fmla="*/ 983045 h 2105025"/>
              <a:gd name="connsiteX48" fmla="*/ 2431733 w 5648325"/>
              <a:gd name="connsiteY48" fmla="*/ 1113538 h 2105025"/>
              <a:gd name="connsiteX49" fmla="*/ 2634615 w 5648325"/>
              <a:gd name="connsiteY49" fmla="*/ 1230695 h 2105025"/>
              <a:gd name="connsiteX50" fmla="*/ 2776538 w 5648325"/>
              <a:gd name="connsiteY50" fmla="*/ 1230695 h 2105025"/>
              <a:gd name="connsiteX51" fmla="*/ 2780348 w 5648325"/>
              <a:gd name="connsiteY51" fmla="*/ 1230695 h 2105025"/>
              <a:gd name="connsiteX52" fmla="*/ 3429953 w 5648325"/>
              <a:gd name="connsiteY52" fmla="*/ 1230695 h 2105025"/>
              <a:gd name="connsiteX53" fmla="*/ 3656648 w 5648325"/>
              <a:gd name="connsiteY53" fmla="*/ 1091630 h 2105025"/>
              <a:gd name="connsiteX54" fmla="*/ 3712845 w 5648325"/>
              <a:gd name="connsiteY54" fmla="*/ 961138 h 2105025"/>
              <a:gd name="connsiteX55" fmla="*/ 3864293 w 5648325"/>
              <a:gd name="connsiteY55" fmla="*/ 1350710 h 2105025"/>
              <a:gd name="connsiteX56" fmla="*/ 3994785 w 5648325"/>
              <a:gd name="connsiteY56" fmla="*/ 1428815 h 2105025"/>
              <a:gd name="connsiteX57" fmla="*/ 4109085 w 5648325"/>
              <a:gd name="connsiteY57" fmla="*/ 1333565 h 2105025"/>
              <a:gd name="connsiteX58" fmla="*/ 4329113 w 5648325"/>
              <a:gd name="connsiteY58" fmla="*/ 321058 h 2105025"/>
              <a:gd name="connsiteX59" fmla="*/ 4589145 w 5648325"/>
              <a:gd name="connsiteY59" fmla="*/ 2003173 h 2105025"/>
              <a:gd name="connsiteX60" fmla="*/ 4711065 w 5648325"/>
              <a:gd name="connsiteY60" fmla="*/ 2105090 h 2105025"/>
              <a:gd name="connsiteX61" fmla="*/ 4714875 w 5648325"/>
              <a:gd name="connsiteY61" fmla="*/ 2105090 h 2105025"/>
              <a:gd name="connsiteX62" fmla="*/ 4839653 w 5648325"/>
              <a:gd name="connsiteY62" fmla="*/ 2008888 h 2105025"/>
              <a:gd name="connsiteX63" fmla="*/ 5060633 w 5648325"/>
              <a:gd name="connsiteY63" fmla="*/ 982093 h 2105025"/>
              <a:gd name="connsiteX64" fmla="*/ 5132070 w 5648325"/>
              <a:gd name="connsiteY64" fmla="*/ 1112585 h 2105025"/>
              <a:gd name="connsiteX65" fmla="*/ 5334953 w 5648325"/>
              <a:gd name="connsiteY65" fmla="*/ 1229743 h 2105025"/>
              <a:gd name="connsiteX66" fmla="*/ 5476875 w 5648325"/>
              <a:gd name="connsiteY66" fmla="*/ 1229743 h 2105025"/>
              <a:gd name="connsiteX67" fmla="*/ 5480685 w 5648325"/>
              <a:gd name="connsiteY67" fmla="*/ 1229743 h 2105025"/>
              <a:gd name="connsiteX68" fmla="*/ 5656898 w 5648325"/>
              <a:gd name="connsiteY68" fmla="*/ 1229743 h 2105025"/>
              <a:gd name="connsiteX69" fmla="*/ 5568315 w 5648325"/>
              <a:gd name="connsiteY69" fmla="*/ 106686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48325" h="2105025">
                <a:moveTo>
                  <a:pt x="5568315" y="1066865"/>
                </a:moveTo>
                <a:lnTo>
                  <a:pt x="5335905" y="1066865"/>
                </a:lnTo>
                <a:cubicBezTo>
                  <a:pt x="5307330" y="1066865"/>
                  <a:pt x="5285423" y="1052578"/>
                  <a:pt x="5278755" y="1039243"/>
                </a:cubicBezTo>
                <a:lnTo>
                  <a:pt x="5160645" y="823978"/>
                </a:lnTo>
                <a:cubicBezTo>
                  <a:pt x="5136833" y="778258"/>
                  <a:pt x="5084445" y="751588"/>
                  <a:pt x="5030153" y="758255"/>
                </a:cubicBezTo>
                <a:cubicBezTo>
                  <a:pt x="4975860" y="764923"/>
                  <a:pt x="4932998" y="802070"/>
                  <a:pt x="4921568" y="852553"/>
                </a:cubicBezTo>
                <a:lnTo>
                  <a:pt x="4720590" y="1783145"/>
                </a:lnTo>
                <a:lnTo>
                  <a:pt x="4460558" y="101983"/>
                </a:lnTo>
                <a:cubicBezTo>
                  <a:pt x="4451033" y="43880"/>
                  <a:pt x="4400550" y="1970"/>
                  <a:pt x="4338638" y="65"/>
                </a:cubicBezTo>
                <a:cubicBezTo>
                  <a:pt x="4275773" y="-887"/>
                  <a:pt x="4223385" y="38165"/>
                  <a:pt x="4211003" y="96268"/>
                </a:cubicBezTo>
                <a:lnTo>
                  <a:pt x="3975735" y="1181165"/>
                </a:lnTo>
                <a:lnTo>
                  <a:pt x="3848100" y="856363"/>
                </a:lnTo>
                <a:cubicBezTo>
                  <a:pt x="3828098" y="803975"/>
                  <a:pt x="3776663" y="770638"/>
                  <a:pt x="3716655" y="768733"/>
                </a:cubicBezTo>
                <a:cubicBezTo>
                  <a:pt x="3656648" y="767780"/>
                  <a:pt x="3604260" y="800165"/>
                  <a:pt x="3581400" y="851600"/>
                </a:cubicBezTo>
                <a:lnTo>
                  <a:pt x="3506153" y="1026860"/>
                </a:lnTo>
                <a:cubicBezTo>
                  <a:pt x="3496628" y="1049720"/>
                  <a:pt x="3464243" y="1065913"/>
                  <a:pt x="3430905" y="1065913"/>
                </a:cubicBezTo>
                <a:lnTo>
                  <a:pt x="3095625" y="1065913"/>
                </a:lnTo>
                <a:cubicBezTo>
                  <a:pt x="3094673" y="1065913"/>
                  <a:pt x="3092768" y="1065913"/>
                  <a:pt x="3091815" y="1065913"/>
                </a:cubicBezTo>
                <a:lnTo>
                  <a:pt x="2634615" y="1065913"/>
                </a:lnTo>
                <a:cubicBezTo>
                  <a:pt x="2606040" y="1065913"/>
                  <a:pt x="2584133" y="1051625"/>
                  <a:pt x="2577465" y="1038290"/>
                </a:cubicBezTo>
                <a:lnTo>
                  <a:pt x="2459355" y="823025"/>
                </a:lnTo>
                <a:cubicBezTo>
                  <a:pt x="2435543" y="777305"/>
                  <a:pt x="2383155" y="750635"/>
                  <a:pt x="2328863" y="757303"/>
                </a:cubicBezTo>
                <a:cubicBezTo>
                  <a:pt x="2274570" y="763970"/>
                  <a:pt x="2231708" y="801118"/>
                  <a:pt x="2220278" y="851600"/>
                </a:cubicBezTo>
                <a:lnTo>
                  <a:pt x="2019300" y="1782193"/>
                </a:lnTo>
                <a:lnTo>
                  <a:pt x="1761173" y="101983"/>
                </a:lnTo>
                <a:cubicBezTo>
                  <a:pt x="1751648" y="43880"/>
                  <a:pt x="1701165" y="1970"/>
                  <a:pt x="1639253" y="65"/>
                </a:cubicBezTo>
                <a:cubicBezTo>
                  <a:pt x="1576388" y="-1840"/>
                  <a:pt x="1524000" y="38165"/>
                  <a:pt x="1511618" y="96268"/>
                </a:cubicBezTo>
                <a:lnTo>
                  <a:pt x="1276350" y="1181165"/>
                </a:lnTo>
                <a:lnTo>
                  <a:pt x="1149668" y="855410"/>
                </a:lnTo>
                <a:cubicBezTo>
                  <a:pt x="1129665" y="803023"/>
                  <a:pt x="1078230" y="768733"/>
                  <a:pt x="1018223" y="767780"/>
                </a:cubicBezTo>
                <a:cubicBezTo>
                  <a:pt x="958215" y="766828"/>
                  <a:pt x="905828" y="799213"/>
                  <a:pt x="882968" y="850648"/>
                </a:cubicBezTo>
                <a:lnTo>
                  <a:pt x="807720" y="1025908"/>
                </a:lnTo>
                <a:cubicBezTo>
                  <a:pt x="798195" y="1048768"/>
                  <a:pt x="765810" y="1064960"/>
                  <a:pt x="732473" y="1064960"/>
                </a:cubicBezTo>
                <a:lnTo>
                  <a:pt x="81915" y="1064960"/>
                </a:lnTo>
                <a:cubicBezTo>
                  <a:pt x="36195" y="1064960"/>
                  <a:pt x="0" y="1102108"/>
                  <a:pt x="0" y="1146875"/>
                </a:cubicBezTo>
                <a:cubicBezTo>
                  <a:pt x="0" y="1192595"/>
                  <a:pt x="37148" y="1228790"/>
                  <a:pt x="81915" y="1228790"/>
                </a:cubicBezTo>
                <a:lnTo>
                  <a:pt x="731520" y="1228790"/>
                </a:lnTo>
                <a:cubicBezTo>
                  <a:pt x="832485" y="1228790"/>
                  <a:pt x="922020" y="1174498"/>
                  <a:pt x="958215" y="1089725"/>
                </a:cubicBezTo>
                <a:lnTo>
                  <a:pt x="1014413" y="959233"/>
                </a:lnTo>
                <a:lnTo>
                  <a:pt x="1165860" y="1348805"/>
                </a:lnTo>
                <a:cubicBezTo>
                  <a:pt x="1185863" y="1400240"/>
                  <a:pt x="1238250" y="1431673"/>
                  <a:pt x="1296353" y="1426910"/>
                </a:cubicBezTo>
                <a:cubicBezTo>
                  <a:pt x="1353503" y="1422148"/>
                  <a:pt x="1399223" y="1384048"/>
                  <a:pt x="1410653" y="1331660"/>
                </a:cubicBezTo>
                <a:lnTo>
                  <a:pt x="1628775" y="322010"/>
                </a:lnTo>
                <a:lnTo>
                  <a:pt x="1888808" y="2004125"/>
                </a:lnTo>
                <a:cubicBezTo>
                  <a:pt x="1898333" y="2062228"/>
                  <a:pt x="1948815" y="2104138"/>
                  <a:pt x="2010728" y="2106043"/>
                </a:cubicBezTo>
                <a:cubicBezTo>
                  <a:pt x="2011680" y="2106043"/>
                  <a:pt x="2013585" y="2106043"/>
                  <a:pt x="2014538" y="2106043"/>
                </a:cubicBezTo>
                <a:cubicBezTo>
                  <a:pt x="2075498" y="2106043"/>
                  <a:pt x="2125980" y="2066990"/>
                  <a:pt x="2139315" y="2009840"/>
                </a:cubicBezTo>
                <a:lnTo>
                  <a:pt x="2360295" y="983045"/>
                </a:lnTo>
                <a:lnTo>
                  <a:pt x="2431733" y="1113538"/>
                </a:lnTo>
                <a:cubicBezTo>
                  <a:pt x="2467928" y="1184023"/>
                  <a:pt x="2547938" y="1230695"/>
                  <a:pt x="2634615" y="1230695"/>
                </a:cubicBezTo>
                <a:lnTo>
                  <a:pt x="2776538" y="1230695"/>
                </a:lnTo>
                <a:cubicBezTo>
                  <a:pt x="2777490" y="1230695"/>
                  <a:pt x="2779395" y="1230695"/>
                  <a:pt x="2780348" y="1230695"/>
                </a:cubicBezTo>
                <a:lnTo>
                  <a:pt x="3429953" y="1230695"/>
                </a:lnTo>
                <a:cubicBezTo>
                  <a:pt x="3530918" y="1230695"/>
                  <a:pt x="3619500" y="1176403"/>
                  <a:pt x="3656648" y="1091630"/>
                </a:cubicBezTo>
                <a:lnTo>
                  <a:pt x="3712845" y="961138"/>
                </a:lnTo>
                <a:lnTo>
                  <a:pt x="3864293" y="1350710"/>
                </a:lnTo>
                <a:cubicBezTo>
                  <a:pt x="3884295" y="1402145"/>
                  <a:pt x="3936683" y="1433578"/>
                  <a:pt x="3994785" y="1428815"/>
                </a:cubicBezTo>
                <a:cubicBezTo>
                  <a:pt x="4051935" y="1424053"/>
                  <a:pt x="4097655" y="1385953"/>
                  <a:pt x="4109085" y="1333565"/>
                </a:cubicBezTo>
                <a:lnTo>
                  <a:pt x="4329113" y="321058"/>
                </a:lnTo>
                <a:lnTo>
                  <a:pt x="4589145" y="2003173"/>
                </a:lnTo>
                <a:cubicBezTo>
                  <a:pt x="4598670" y="2061275"/>
                  <a:pt x="4649153" y="2103185"/>
                  <a:pt x="4711065" y="2105090"/>
                </a:cubicBezTo>
                <a:cubicBezTo>
                  <a:pt x="4712018" y="2105090"/>
                  <a:pt x="4713923" y="2105090"/>
                  <a:pt x="4714875" y="2105090"/>
                </a:cubicBezTo>
                <a:cubicBezTo>
                  <a:pt x="4775835" y="2105090"/>
                  <a:pt x="4826318" y="2066038"/>
                  <a:pt x="4839653" y="2008888"/>
                </a:cubicBezTo>
                <a:lnTo>
                  <a:pt x="5060633" y="982093"/>
                </a:lnTo>
                <a:lnTo>
                  <a:pt x="5132070" y="1112585"/>
                </a:lnTo>
                <a:cubicBezTo>
                  <a:pt x="5168265" y="1183070"/>
                  <a:pt x="5248275" y="1229743"/>
                  <a:pt x="5334953" y="1229743"/>
                </a:cubicBezTo>
                <a:lnTo>
                  <a:pt x="5476875" y="1229743"/>
                </a:lnTo>
                <a:cubicBezTo>
                  <a:pt x="5477828" y="1229743"/>
                  <a:pt x="5479733" y="1229743"/>
                  <a:pt x="5480685" y="1229743"/>
                </a:cubicBezTo>
                <a:lnTo>
                  <a:pt x="5656898" y="1229743"/>
                </a:lnTo>
                <a:cubicBezTo>
                  <a:pt x="5623560" y="1173545"/>
                  <a:pt x="5594033" y="1118300"/>
                  <a:pt x="5568315" y="1066865"/>
                </a:cubicBezTo>
                <a:close/>
              </a:path>
            </a:pathLst>
          </a:custGeom>
          <a:solidFill>
            <a:srgbClr val="FFFFFF"/>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prstClr val="black"/>
              </a:solidFill>
              <a:effectLst/>
              <a:uLnTx/>
              <a:uFillTx/>
              <a:latin typeface="Arial"/>
              <a:ea typeface="+mn-ea"/>
              <a:cs typeface="+mn-cs"/>
            </a:endParaRPr>
          </a:p>
        </p:txBody>
      </p:sp>
      <p:sp>
        <p:nvSpPr>
          <p:cNvPr id="11" name="Freihandform: Form 9">
            <a:extLst>
              <a:ext uri="{FF2B5EF4-FFF2-40B4-BE49-F238E27FC236}">
                <a16:creationId xmlns:a16="http://schemas.microsoft.com/office/drawing/2014/main" id="{1CC03C6B-8301-4349-96A3-82CCED858526}"/>
              </a:ext>
            </a:extLst>
          </p:cNvPr>
          <p:cNvSpPr/>
          <p:nvPr/>
        </p:nvSpPr>
        <p:spPr>
          <a:xfrm>
            <a:off x="8120000" y="2535901"/>
            <a:ext cx="4751809" cy="1932125"/>
          </a:xfrm>
          <a:custGeom>
            <a:avLst/>
            <a:gdLst>
              <a:gd name="connsiteX0" fmla="*/ 1145857 w 5172392"/>
              <a:gd name="connsiteY0" fmla="*/ 17 h 2103137"/>
              <a:gd name="connsiteX1" fmla="*/ 1267777 w 5172392"/>
              <a:gd name="connsiteY1" fmla="*/ 101935 h 2103137"/>
              <a:gd name="connsiteX2" fmla="*/ 1527810 w 5172392"/>
              <a:gd name="connsiteY2" fmla="*/ 1783097 h 2103137"/>
              <a:gd name="connsiteX3" fmla="*/ 1728788 w 5172392"/>
              <a:gd name="connsiteY3" fmla="*/ 852505 h 2103137"/>
              <a:gd name="connsiteX4" fmla="*/ 1837373 w 5172392"/>
              <a:gd name="connsiteY4" fmla="*/ 758207 h 2103137"/>
              <a:gd name="connsiteX5" fmla="*/ 1967865 w 5172392"/>
              <a:gd name="connsiteY5" fmla="*/ 823930 h 2103137"/>
              <a:gd name="connsiteX6" fmla="*/ 2085975 w 5172392"/>
              <a:gd name="connsiteY6" fmla="*/ 1039195 h 2103137"/>
              <a:gd name="connsiteX7" fmla="*/ 2143125 w 5172392"/>
              <a:gd name="connsiteY7" fmla="*/ 1066817 h 2103137"/>
              <a:gd name="connsiteX8" fmla="*/ 2574869 w 5172392"/>
              <a:gd name="connsiteY8" fmla="*/ 1066817 h 2103137"/>
              <a:gd name="connsiteX9" fmla="*/ 2575877 w 5172392"/>
              <a:gd name="connsiteY9" fmla="*/ 1064912 h 2103137"/>
              <a:gd name="connsiteX10" fmla="*/ 2728277 w 5172392"/>
              <a:gd name="connsiteY10" fmla="*/ 1064912 h 2103137"/>
              <a:gd name="connsiteX11" fmla="*/ 2803525 w 5172392"/>
              <a:gd name="connsiteY11" fmla="*/ 1025860 h 2103137"/>
              <a:gd name="connsiteX12" fmla="*/ 2878773 w 5172392"/>
              <a:gd name="connsiteY12" fmla="*/ 850600 h 2103137"/>
              <a:gd name="connsiteX13" fmla="*/ 3014027 w 5172392"/>
              <a:gd name="connsiteY13" fmla="*/ 767732 h 2103137"/>
              <a:gd name="connsiteX14" fmla="*/ 3145473 w 5172392"/>
              <a:gd name="connsiteY14" fmla="*/ 855362 h 2103137"/>
              <a:gd name="connsiteX15" fmla="*/ 3272155 w 5172392"/>
              <a:gd name="connsiteY15" fmla="*/ 1181117 h 2103137"/>
              <a:gd name="connsiteX16" fmla="*/ 3507423 w 5172392"/>
              <a:gd name="connsiteY16" fmla="*/ 96220 h 2103137"/>
              <a:gd name="connsiteX17" fmla="*/ 3635057 w 5172392"/>
              <a:gd name="connsiteY17" fmla="*/ 17 h 2103137"/>
              <a:gd name="connsiteX18" fmla="*/ 3756977 w 5172392"/>
              <a:gd name="connsiteY18" fmla="*/ 101935 h 2103137"/>
              <a:gd name="connsiteX19" fmla="*/ 4017010 w 5172392"/>
              <a:gd name="connsiteY19" fmla="*/ 1783097 h 2103137"/>
              <a:gd name="connsiteX20" fmla="*/ 4217988 w 5172392"/>
              <a:gd name="connsiteY20" fmla="*/ 852505 h 2103137"/>
              <a:gd name="connsiteX21" fmla="*/ 4326573 w 5172392"/>
              <a:gd name="connsiteY21" fmla="*/ 758207 h 2103137"/>
              <a:gd name="connsiteX22" fmla="*/ 4457065 w 5172392"/>
              <a:gd name="connsiteY22" fmla="*/ 823930 h 2103137"/>
              <a:gd name="connsiteX23" fmla="*/ 4575175 w 5172392"/>
              <a:gd name="connsiteY23" fmla="*/ 1039195 h 2103137"/>
              <a:gd name="connsiteX24" fmla="*/ 4632325 w 5172392"/>
              <a:gd name="connsiteY24" fmla="*/ 1066817 h 2103137"/>
              <a:gd name="connsiteX25" fmla="*/ 5089525 w 5172392"/>
              <a:gd name="connsiteY25" fmla="*/ 1066817 h 2103137"/>
              <a:gd name="connsiteX26" fmla="*/ 5172392 w 5172392"/>
              <a:gd name="connsiteY26" fmla="*/ 1145875 h 2103137"/>
              <a:gd name="connsiteX27" fmla="*/ 5090477 w 5172392"/>
              <a:gd name="connsiteY27" fmla="*/ 1227790 h 2103137"/>
              <a:gd name="connsiteX28" fmla="*/ 4633277 w 5172392"/>
              <a:gd name="connsiteY28" fmla="*/ 1227790 h 2103137"/>
              <a:gd name="connsiteX29" fmla="*/ 4430396 w 5172392"/>
              <a:gd name="connsiteY29" fmla="*/ 1110632 h 2103137"/>
              <a:gd name="connsiteX30" fmla="*/ 4358958 w 5172392"/>
              <a:gd name="connsiteY30" fmla="*/ 980140 h 2103137"/>
              <a:gd name="connsiteX31" fmla="*/ 4137977 w 5172392"/>
              <a:gd name="connsiteY31" fmla="*/ 2006935 h 2103137"/>
              <a:gd name="connsiteX32" fmla="*/ 4013200 w 5172392"/>
              <a:gd name="connsiteY32" fmla="*/ 2103137 h 2103137"/>
              <a:gd name="connsiteX33" fmla="*/ 4009390 w 5172392"/>
              <a:gd name="connsiteY33" fmla="*/ 2103137 h 2103137"/>
              <a:gd name="connsiteX34" fmla="*/ 3887471 w 5172392"/>
              <a:gd name="connsiteY34" fmla="*/ 2001220 h 2103137"/>
              <a:gd name="connsiteX35" fmla="*/ 3627438 w 5172392"/>
              <a:gd name="connsiteY35" fmla="*/ 319105 h 2103137"/>
              <a:gd name="connsiteX36" fmla="*/ 3407410 w 5172392"/>
              <a:gd name="connsiteY36" fmla="*/ 1331612 h 2103137"/>
              <a:gd name="connsiteX37" fmla="*/ 3293110 w 5172392"/>
              <a:gd name="connsiteY37" fmla="*/ 1426862 h 2103137"/>
              <a:gd name="connsiteX38" fmla="*/ 3162618 w 5172392"/>
              <a:gd name="connsiteY38" fmla="*/ 1348757 h 2103137"/>
              <a:gd name="connsiteX39" fmla="*/ 3011170 w 5172392"/>
              <a:gd name="connsiteY39" fmla="*/ 959185 h 2103137"/>
              <a:gd name="connsiteX40" fmla="*/ 2954973 w 5172392"/>
              <a:gd name="connsiteY40" fmla="*/ 1089677 h 2103137"/>
              <a:gd name="connsiteX41" fmla="*/ 2728277 w 5172392"/>
              <a:gd name="connsiteY41" fmla="*/ 1228742 h 2103137"/>
              <a:gd name="connsiteX42" fmla="*/ 2489200 w 5172392"/>
              <a:gd name="connsiteY42" fmla="*/ 1228742 h 2103137"/>
              <a:gd name="connsiteX43" fmla="*/ 2489704 w 5172392"/>
              <a:gd name="connsiteY43" fmla="*/ 1227790 h 2103137"/>
              <a:gd name="connsiteX44" fmla="*/ 2144077 w 5172392"/>
              <a:gd name="connsiteY44" fmla="*/ 1227790 h 2103137"/>
              <a:gd name="connsiteX45" fmla="*/ 1941196 w 5172392"/>
              <a:gd name="connsiteY45" fmla="*/ 1110632 h 2103137"/>
              <a:gd name="connsiteX46" fmla="*/ 1869758 w 5172392"/>
              <a:gd name="connsiteY46" fmla="*/ 980140 h 2103137"/>
              <a:gd name="connsiteX47" fmla="*/ 1648777 w 5172392"/>
              <a:gd name="connsiteY47" fmla="*/ 2006935 h 2103137"/>
              <a:gd name="connsiteX48" fmla="*/ 1524000 w 5172392"/>
              <a:gd name="connsiteY48" fmla="*/ 2103137 h 2103137"/>
              <a:gd name="connsiteX49" fmla="*/ 1520190 w 5172392"/>
              <a:gd name="connsiteY49" fmla="*/ 2103137 h 2103137"/>
              <a:gd name="connsiteX50" fmla="*/ 1398271 w 5172392"/>
              <a:gd name="connsiteY50" fmla="*/ 2001220 h 2103137"/>
              <a:gd name="connsiteX51" fmla="*/ 1138238 w 5172392"/>
              <a:gd name="connsiteY51" fmla="*/ 319105 h 2103137"/>
              <a:gd name="connsiteX52" fmla="*/ 918210 w 5172392"/>
              <a:gd name="connsiteY52" fmla="*/ 1331612 h 2103137"/>
              <a:gd name="connsiteX53" fmla="*/ 803910 w 5172392"/>
              <a:gd name="connsiteY53" fmla="*/ 1426862 h 2103137"/>
              <a:gd name="connsiteX54" fmla="*/ 673418 w 5172392"/>
              <a:gd name="connsiteY54" fmla="*/ 1348757 h 2103137"/>
              <a:gd name="connsiteX55" fmla="*/ 521970 w 5172392"/>
              <a:gd name="connsiteY55" fmla="*/ 959185 h 2103137"/>
              <a:gd name="connsiteX56" fmla="*/ 465773 w 5172392"/>
              <a:gd name="connsiteY56" fmla="*/ 1089677 h 2103137"/>
              <a:gd name="connsiteX57" fmla="*/ 239077 w 5172392"/>
              <a:gd name="connsiteY57" fmla="*/ 1228742 h 2103137"/>
              <a:gd name="connsiteX58" fmla="*/ 0 w 5172392"/>
              <a:gd name="connsiteY58" fmla="*/ 1228742 h 2103137"/>
              <a:gd name="connsiteX59" fmla="*/ 86677 w 5172392"/>
              <a:gd name="connsiteY59" fmla="*/ 1064912 h 2103137"/>
              <a:gd name="connsiteX60" fmla="*/ 239077 w 5172392"/>
              <a:gd name="connsiteY60" fmla="*/ 1064912 h 2103137"/>
              <a:gd name="connsiteX61" fmla="*/ 314325 w 5172392"/>
              <a:gd name="connsiteY61" fmla="*/ 1025860 h 2103137"/>
              <a:gd name="connsiteX62" fmla="*/ 389573 w 5172392"/>
              <a:gd name="connsiteY62" fmla="*/ 850600 h 2103137"/>
              <a:gd name="connsiteX63" fmla="*/ 524827 w 5172392"/>
              <a:gd name="connsiteY63" fmla="*/ 767732 h 2103137"/>
              <a:gd name="connsiteX64" fmla="*/ 656273 w 5172392"/>
              <a:gd name="connsiteY64" fmla="*/ 855362 h 2103137"/>
              <a:gd name="connsiteX65" fmla="*/ 782955 w 5172392"/>
              <a:gd name="connsiteY65" fmla="*/ 1181117 h 2103137"/>
              <a:gd name="connsiteX66" fmla="*/ 1018223 w 5172392"/>
              <a:gd name="connsiteY66" fmla="*/ 96220 h 2103137"/>
              <a:gd name="connsiteX67" fmla="*/ 1145857 w 5172392"/>
              <a:gd name="connsiteY67" fmla="*/ 17 h 210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172392" h="2103137">
                <a:moveTo>
                  <a:pt x="1145857" y="17"/>
                </a:moveTo>
                <a:cubicBezTo>
                  <a:pt x="1207771" y="1922"/>
                  <a:pt x="1258252" y="43832"/>
                  <a:pt x="1267777" y="101935"/>
                </a:cubicBezTo>
                <a:lnTo>
                  <a:pt x="1527810" y="1783097"/>
                </a:lnTo>
                <a:lnTo>
                  <a:pt x="1728788" y="852505"/>
                </a:lnTo>
                <a:cubicBezTo>
                  <a:pt x="1740217" y="802022"/>
                  <a:pt x="1783080" y="764875"/>
                  <a:pt x="1837373" y="758207"/>
                </a:cubicBezTo>
                <a:cubicBezTo>
                  <a:pt x="1891665" y="751540"/>
                  <a:pt x="1944052" y="778210"/>
                  <a:pt x="1967865" y="823930"/>
                </a:cubicBezTo>
                <a:lnTo>
                  <a:pt x="2085975" y="1039195"/>
                </a:lnTo>
                <a:cubicBezTo>
                  <a:pt x="2092642" y="1052530"/>
                  <a:pt x="2114550" y="1066817"/>
                  <a:pt x="2143125" y="1066817"/>
                </a:cubicBezTo>
                <a:lnTo>
                  <a:pt x="2574869" y="1066817"/>
                </a:lnTo>
                <a:lnTo>
                  <a:pt x="2575877" y="1064912"/>
                </a:lnTo>
                <a:lnTo>
                  <a:pt x="2728277" y="1064912"/>
                </a:lnTo>
                <a:cubicBezTo>
                  <a:pt x="2761615" y="1064912"/>
                  <a:pt x="2794000" y="1048720"/>
                  <a:pt x="2803525" y="1025860"/>
                </a:cubicBezTo>
                <a:lnTo>
                  <a:pt x="2878773" y="850600"/>
                </a:lnTo>
                <a:cubicBezTo>
                  <a:pt x="2901632" y="799165"/>
                  <a:pt x="2954973" y="766780"/>
                  <a:pt x="3014027" y="767732"/>
                </a:cubicBezTo>
                <a:cubicBezTo>
                  <a:pt x="3074035" y="769637"/>
                  <a:pt x="3125470" y="802975"/>
                  <a:pt x="3145473" y="855362"/>
                </a:cubicBezTo>
                <a:lnTo>
                  <a:pt x="3272155" y="1181117"/>
                </a:lnTo>
                <a:lnTo>
                  <a:pt x="3507423" y="96220"/>
                </a:lnTo>
                <a:cubicBezTo>
                  <a:pt x="3519805" y="38117"/>
                  <a:pt x="3572193" y="-935"/>
                  <a:pt x="3635057" y="17"/>
                </a:cubicBezTo>
                <a:cubicBezTo>
                  <a:pt x="3696971" y="1922"/>
                  <a:pt x="3747452" y="43832"/>
                  <a:pt x="3756977" y="101935"/>
                </a:cubicBezTo>
                <a:lnTo>
                  <a:pt x="4017010" y="1783097"/>
                </a:lnTo>
                <a:lnTo>
                  <a:pt x="4217988" y="852505"/>
                </a:lnTo>
                <a:cubicBezTo>
                  <a:pt x="4229417" y="802022"/>
                  <a:pt x="4272280" y="764875"/>
                  <a:pt x="4326573" y="758207"/>
                </a:cubicBezTo>
                <a:cubicBezTo>
                  <a:pt x="4380865" y="751540"/>
                  <a:pt x="4433252" y="778210"/>
                  <a:pt x="4457065" y="823930"/>
                </a:cubicBezTo>
                <a:lnTo>
                  <a:pt x="4575175" y="1039195"/>
                </a:lnTo>
                <a:cubicBezTo>
                  <a:pt x="4581842" y="1052530"/>
                  <a:pt x="4603750" y="1066817"/>
                  <a:pt x="4632325" y="1066817"/>
                </a:cubicBezTo>
                <a:lnTo>
                  <a:pt x="5089525" y="1066817"/>
                </a:lnTo>
                <a:cubicBezTo>
                  <a:pt x="5134292" y="1066817"/>
                  <a:pt x="5171440" y="1103012"/>
                  <a:pt x="5172392" y="1145875"/>
                </a:cubicBezTo>
                <a:cubicBezTo>
                  <a:pt x="5172392" y="1190642"/>
                  <a:pt x="5136198" y="1227790"/>
                  <a:pt x="5090477" y="1227790"/>
                </a:cubicBezTo>
                <a:lnTo>
                  <a:pt x="4633277" y="1227790"/>
                </a:lnTo>
                <a:cubicBezTo>
                  <a:pt x="4546600" y="1227790"/>
                  <a:pt x="4466590" y="1181117"/>
                  <a:pt x="4430396" y="1110632"/>
                </a:cubicBezTo>
                <a:lnTo>
                  <a:pt x="4358958" y="980140"/>
                </a:lnTo>
                <a:lnTo>
                  <a:pt x="4137977" y="2006935"/>
                </a:lnTo>
                <a:cubicBezTo>
                  <a:pt x="4124642" y="2064085"/>
                  <a:pt x="4074160" y="2103137"/>
                  <a:pt x="4013200" y="2103137"/>
                </a:cubicBezTo>
                <a:cubicBezTo>
                  <a:pt x="4012248" y="2103137"/>
                  <a:pt x="4010342" y="2103137"/>
                  <a:pt x="4009390" y="2103137"/>
                </a:cubicBezTo>
                <a:cubicBezTo>
                  <a:pt x="3947477" y="2101232"/>
                  <a:pt x="3896996" y="2059322"/>
                  <a:pt x="3887471" y="2001220"/>
                </a:cubicBezTo>
                <a:lnTo>
                  <a:pt x="3627438" y="319105"/>
                </a:lnTo>
                <a:lnTo>
                  <a:pt x="3407410" y="1331612"/>
                </a:lnTo>
                <a:cubicBezTo>
                  <a:pt x="3395980" y="1384000"/>
                  <a:pt x="3350260" y="1422100"/>
                  <a:pt x="3293110" y="1426862"/>
                </a:cubicBezTo>
                <a:cubicBezTo>
                  <a:pt x="3235007" y="1431625"/>
                  <a:pt x="3182620" y="1400192"/>
                  <a:pt x="3162618" y="1348757"/>
                </a:cubicBezTo>
                <a:lnTo>
                  <a:pt x="3011170" y="959185"/>
                </a:lnTo>
                <a:lnTo>
                  <a:pt x="2954973" y="1089677"/>
                </a:lnTo>
                <a:cubicBezTo>
                  <a:pt x="2918777" y="1174450"/>
                  <a:pt x="2829243" y="1228742"/>
                  <a:pt x="2728277" y="1228742"/>
                </a:cubicBezTo>
                <a:lnTo>
                  <a:pt x="2489200" y="1228742"/>
                </a:lnTo>
                <a:lnTo>
                  <a:pt x="2489704" y="1227790"/>
                </a:lnTo>
                <a:lnTo>
                  <a:pt x="2144077" y="1227790"/>
                </a:lnTo>
                <a:cubicBezTo>
                  <a:pt x="2057400" y="1227790"/>
                  <a:pt x="1977390" y="1181117"/>
                  <a:pt x="1941196" y="1110632"/>
                </a:cubicBezTo>
                <a:lnTo>
                  <a:pt x="1869758" y="980140"/>
                </a:lnTo>
                <a:lnTo>
                  <a:pt x="1648777" y="2006935"/>
                </a:lnTo>
                <a:cubicBezTo>
                  <a:pt x="1635442" y="2064085"/>
                  <a:pt x="1584960" y="2103137"/>
                  <a:pt x="1524000" y="2103137"/>
                </a:cubicBezTo>
                <a:cubicBezTo>
                  <a:pt x="1523048" y="2103137"/>
                  <a:pt x="1521142" y="2103137"/>
                  <a:pt x="1520190" y="2103137"/>
                </a:cubicBezTo>
                <a:cubicBezTo>
                  <a:pt x="1458277" y="2101232"/>
                  <a:pt x="1407796" y="2059322"/>
                  <a:pt x="1398271" y="2001220"/>
                </a:cubicBezTo>
                <a:lnTo>
                  <a:pt x="1138238" y="319105"/>
                </a:lnTo>
                <a:lnTo>
                  <a:pt x="918210" y="1331612"/>
                </a:lnTo>
                <a:cubicBezTo>
                  <a:pt x="906780" y="1384000"/>
                  <a:pt x="861060" y="1422100"/>
                  <a:pt x="803910" y="1426862"/>
                </a:cubicBezTo>
                <a:cubicBezTo>
                  <a:pt x="745807" y="1431625"/>
                  <a:pt x="693420" y="1400192"/>
                  <a:pt x="673418" y="1348757"/>
                </a:cubicBezTo>
                <a:lnTo>
                  <a:pt x="521970" y="959185"/>
                </a:lnTo>
                <a:lnTo>
                  <a:pt x="465773" y="1089677"/>
                </a:lnTo>
                <a:cubicBezTo>
                  <a:pt x="429577" y="1174450"/>
                  <a:pt x="340043" y="1228742"/>
                  <a:pt x="239077" y="1228742"/>
                </a:cubicBezTo>
                <a:lnTo>
                  <a:pt x="0" y="1228742"/>
                </a:lnTo>
                <a:cubicBezTo>
                  <a:pt x="32385" y="1171592"/>
                  <a:pt x="60960" y="1117300"/>
                  <a:pt x="86677" y="1064912"/>
                </a:cubicBezTo>
                <a:lnTo>
                  <a:pt x="239077" y="1064912"/>
                </a:lnTo>
                <a:cubicBezTo>
                  <a:pt x="272415" y="1064912"/>
                  <a:pt x="304800" y="1048720"/>
                  <a:pt x="314325" y="1025860"/>
                </a:cubicBezTo>
                <a:lnTo>
                  <a:pt x="389573" y="850600"/>
                </a:lnTo>
                <a:cubicBezTo>
                  <a:pt x="412432" y="799165"/>
                  <a:pt x="465773" y="766780"/>
                  <a:pt x="524827" y="767732"/>
                </a:cubicBezTo>
                <a:cubicBezTo>
                  <a:pt x="584835" y="769637"/>
                  <a:pt x="636270" y="802975"/>
                  <a:pt x="656273" y="855362"/>
                </a:cubicBezTo>
                <a:lnTo>
                  <a:pt x="782955" y="1181117"/>
                </a:lnTo>
                <a:lnTo>
                  <a:pt x="1018223" y="96220"/>
                </a:lnTo>
                <a:cubicBezTo>
                  <a:pt x="1030605" y="38117"/>
                  <a:pt x="1082993" y="-935"/>
                  <a:pt x="1145857" y="17"/>
                </a:cubicBezTo>
                <a:close/>
              </a:path>
            </a:pathLst>
          </a:custGeom>
          <a:solidFill>
            <a:srgbClr val="FFFFFF"/>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prstClr val="black"/>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13983C6A-3A6C-4E10-84D8-7AC0AC4E6A8E}"/>
              </a:ext>
            </a:extLst>
          </p:cNvPr>
          <p:cNvGrpSpPr/>
          <p:nvPr/>
        </p:nvGrpSpPr>
        <p:grpSpPr>
          <a:xfrm>
            <a:off x="3454282" y="1293966"/>
            <a:ext cx="5189043" cy="4780174"/>
            <a:chOff x="3962401" y="1590675"/>
            <a:chExt cx="3601444" cy="3389524"/>
          </a:xfrm>
        </p:grpSpPr>
        <p:sp>
          <p:nvSpPr>
            <p:cNvPr id="9" name="Freihandform: Form 7">
              <a:extLst>
                <a:ext uri="{FF2B5EF4-FFF2-40B4-BE49-F238E27FC236}">
                  <a16:creationId xmlns:a16="http://schemas.microsoft.com/office/drawing/2014/main" id="{85C906FA-E33F-4399-B934-8C4AA5567E4C}"/>
                </a:ext>
              </a:extLst>
            </p:cNvPr>
            <p:cNvSpPr/>
            <p:nvPr/>
          </p:nvSpPr>
          <p:spPr>
            <a:xfrm>
              <a:off x="3962401" y="1590675"/>
              <a:ext cx="3601444" cy="3389524"/>
            </a:xfrm>
            <a:custGeom>
              <a:avLst/>
              <a:gdLst>
                <a:gd name="connsiteX0" fmla="*/ 2300405 w 3190875"/>
                <a:gd name="connsiteY0" fmla="*/ 109 h 3000375"/>
                <a:gd name="connsiteX1" fmla="*/ 1591745 w 3190875"/>
                <a:gd name="connsiteY1" fmla="*/ 372537 h 3000375"/>
                <a:gd name="connsiteX2" fmla="*/ 872607 w 3190875"/>
                <a:gd name="connsiteY2" fmla="*/ 22017 h 3000375"/>
                <a:gd name="connsiteX3" fmla="*/ 118 w 3190875"/>
                <a:gd name="connsiteY3" fmla="*/ 918319 h 3000375"/>
                <a:gd name="connsiteX4" fmla="*/ 50600 w 3190875"/>
                <a:gd name="connsiteY4" fmla="*/ 1204069 h 3000375"/>
                <a:gd name="connsiteX5" fmla="*/ 1461252 w 3190875"/>
                <a:gd name="connsiteY5" fmla="*/ 2938572 h 3000375"/>
                <a:gd name="connsiteX6" fmla="*/ 1799390 w 3190875"/>
                <a:gd name="connsiteY6" fmla="*/ 2933810 h 3000375"/>
                <a:gd name="connsiteX7" fmla="*/ 3149082 w 3190875"/>
                <a:gd name="connsiteY7" fmla="*/ 1182162 h 3000375"/>
                <a:gd name="connsiteX8" fmla="*/ 3199565 w 3190875"/>
                <a:gd name="connsiteY8" fmla="*/ 873552 h 3000375"/>
                <a:gd name="connsiteX9" fmla="*/ 2300405 w 3190875"/>
                <a:gd name="connsiteY9" fmla="*/ 109 h 3000375"/>
                <a:gd name="connsiteX10" fmla="*/ 2300405 w 3190875"/>
                <a:gd name="connsiteY10" fmla="*/ 109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90875" h="3000375">
                  <a:moveTo>
                    <a:pt x="2300405" y="109"/>
                  </a:moveTo>
                  <a:cubicBezTo>
                    <a:pt x="2019418" y="3919"/>
                    <a:pt x="1755575" y="142984"/>
                    <a:pt x="1591745" y="372537"/>
                  </a:cubicBezTo>
                  <a:cubicBezTo>
                    <a:pt x="1421248" y="148699"/>
                    <a:pt x="1153595" y="17254"/>
                    <a:pt x="872607" y="22017"/>
                  </a:cubicBezTo>
                  <a:cubicBezTo>
                    <a:pt x="384927" y="29637"/>
                    <a:pt x="-5598" y="431592"/>
                    <a:pt x="118" y="918319"/>
                  </a:cubicBezTo>
                  <a:cubicBezTo>
                    <a:pt x="-835" y="932607"/>
                    <a:pt x="2975" y="1088817"/>
                    <a:pt x="50600" y="1204069"/>
                  </a:cubicBezTo>
                  <a:cubicBezTo>
                    <a:pt x="165852" y="1565067"/>
                    <a:pt x="503990" y="2158475"/>
                    <a:pt x="1461252" y="2938572"/>
                  </a:cubicBezTo>
                  <a:cubicBezTo>
                    <a:pt x="1572695" y="3038585"/>
                    <a:pt x="1708902" y="3024297"/>
                    <a:pt x="1799390" y="2933810"/>
                  </a:cubicBezTo>
                  <a:cubicBezTo>
                    <a:pt x="2715695" y="2139425"/>
                    <a:pt x="3039545" y="1543159"/>
                    <a:pt x="3149082" y="1182162"/>
                  </a:cubicBezTo>
                  <a:cubicBezTo>
                    <a:pt x="3198613" y="1041192"/>
                    <a:pt x="3199565" y="877362"/>
                    <a:pt x="3199565" y="873552"/>
                  </a:cubicBezTo>
                  <a:cubicBezTo>
                    <a:pt x="3192898" y="383967"/>
                    <a:pt x="2789038" y="-7511"/>
                    <a:pt x="2300405" y="109"/>
                  </a:cubicBezTo>
                  <a:lnTo>
                    <a:pt x="2300405" y="109"/>
                  </a:lnTo>
                  <a:close/>
                </a:path>
              </a:pathLst>
            </a:custGeom>
            <a:solidFill>
              <a:srgbClr val="FFFFFF"/>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prstClr val="black"/>
                </a:solidFill>
                <a:effectLst/>
                <a:uLnTx/>
                <a:uFillTx/>
                <a:latin typeface="Arial"/>
                <a:ea typeface="+mn-ea"/>
                <a:cs typeface="+mn-cs"/>
              </a:endParaRPr>
            </a:p>
          </p:txBody>
        </p:sp>
        <p:sp>
          <p:nvSpPr>
            <p:cNvPr id="10" name="Freihandform: Form 8">
              <a:extLst>
                <a:ext uri="{FF2B5EF4-FFF2-40B4-BE49-F238E27FC236}">
                  <a16:creationId xmlns:a16="http://schemas.microsoft.com/office/drawing/2014/main" id="{F50CF2C4-1C8E-4A76-90A6-594C5873A074}"/>
                </a:ext>
              </a:extLst>
            </p:cNvPr>
            <p:cNvSpPr/>
            <p:nvPr/>
          </p:nvSpPr>
          <p:spPr>
            <a:xfrm>
              <a:off x="4133850" y="1762125"/>
              <a:ext cx="3297549" cy="3073791"/>
            </a:xfrm>
            <a:custGeom>
              <a:avLst/>
              <a:gdLst>
                <a:gd name="connsiteX0" fmla="*/ 2116912 w 2876550"/>
                <a:gd name="connsiteY0" fmla="*/ 953 h 2676525"/>
                <a:gd name="connsiteX1" fmla="*/ 2877960 w 2876550"/>
                <a:gd name="connsiteY1" fmla="*/ 762000 h 2676525"/>
                <a:gd name="connsiteX2" fmla="*/ 2877960 w 2876550"/>
                <a:gd name="connsiteY2" fmla="*/ 777240 h 2676525"/>
                <a:gd name="connsiteX3" fmla="*/ 2877007 w 2876550"/>
                <a:gd name="connsiteY3" fmla="*/ 797243 h 2676525"/>
                <a:gd name="connsiteX4" fmla="*/ 2830335 w 2876550"/>
                <a:gd name="connsiteY4" fmla="*/ 1028700 h 2676525"/>
                <a:gd name="connsiteX5" fmla="*/ 1548270 w 2876550"/>
                <a:gd name="connsiteY5" fmla="*/ 2636520 h 2676525"/>
                <a:gd name="connsiteX6" fmla="*/ 1439685 w 2876550"/>
                <a:gd name="connsiteY6" fmla="*/ 2676525 h 2676525"/>
                <a:gd name="connsiteX7" fmla="*/ 1331100 w 2876550"/>
                <a:gd name="connsiteY7" fmla="*/ 2636520 h 2676525"/>
                <a:gd name="connsiteX8" fmla="*/ 40462 w 2876550"/>
                <a:gd name="connsiteY8" fmla="*/ 1004888 h 2676525"/>
                <a:gd name="connsiteX9" fmla="*/ 6172 w 2876550"/>
                <a:gd name="connsiteY9" fmla="*/ 855345 h 2676525"/>
                <a:gd name="connsiteX10" fmla="*/ 457 w 2876550"/>
                <a:gd name="connsiteY10" fmla="*/ 761048 h 2676525"/>
                <a:gd name="connsiteX11" fmla="*/ 761505 w 2876550"/>
                <a:gd name="connsiteY11" fmla="*/ 0 h 2676525"/>
                <a:gd name="connsiteX12" fmla="*/ 1377773 w 2876550"/>
                <a:gd name="connsiteY12" fmla="*/ 315278 h 2676525"/>
                <a:gd name="connsiteX13" fmla="*/ 1439685 w 2876550"/>
                <a:gd name="connsiteY13" fmla="*/ 346710 h 2676525"/>
                <a:gd name="connsiteX14" fmla="*/ 1501598 w 2876550"/>
                <a:gd name="connsiteY14" fmla="*/ 315278 h 2676525"/>
                <a:gd name="connsiteX15" fmla="*/ 2116912 w 2876550"/>
                <a:gd name="connsiteY15" fmla="*/ 953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6550" h="2676525">
                  <a:moveTo>
                    <a:pt x="2116912" y="953"/>
                  </a:moveTo>
                  <a:cubicBezTo>
                    <a:pt x="2536965" y="953"/>
                    <a:pt x="2877960" y="341948"/>
                    <a:pt x="2877960" y="762000"/>
                  </a:cubicBezTo>
                  <a:cubicBezTo>
                    <a:pt x="2877960" y="766763"/>
                    <a:pt x="2877960" y="772478"/>
                    <a:pt x="2877960" y="777240"/>
                  </a:cubicBezTo>
                  <a:cubicBezTo>
                    <a:pt x="2877960" y="782003"/>
                    <a:pt x="2877960" y="788670"/>
                    <a:pt x="2877007" y="797243"/>
                  </a:cubicBezTo>
                  <a:cubicBezTo>
                    <a:pt x="2873198" y="878205"/>
                    <a:pt x="2857005" y="956310"/>
                    <a:pt x="2830335" y="1028700"/>
                  </a:cubicBezTo>
                  <a:cubicBezTo>
                    <a:pt x="2732228" y="1333500"/>
                    <a:pt x="2436953" y="1889760"/>
                    <a:pt x="1548270" y="2636520"/>
                  </a:cubicBezTo>
                  <a:cubicBezTo>
                    <a:pt x="1516837" y="2663190"/>
                    <a:pt x="1478737" y="2676525"/>
                    <a:pt x="1439685" y="2676525"/>
                  </a:cubicBezTo>
                  <a:cubicBezTo>
                    <a:pt x="1400632" y="2676525"/>
                    <a:pt x="1362532" y="2663190"/>
                    <a:pt x="1331100" y="2636520"/>
                  </a:cubicBezTo>
                  <a:cubicBezTo>
                    <a:pt x="419557" y="1869758"/>
                    <a:pt x="130950" y="1304925"/>
                    <a:pt x="40462" y="1004888"/>
                  </a:cubicBezTo>
                  <a:cubicBezTo>
                    <a:pt x="24270" y="957263"/>
                    <a:pt x="12840" y="906780"/>
                    <a:pt x="6172" y="855345"/>
                  </a:cubicBezTo>
                  <a:cubicBezTo>
                    <a:pt x="-2400" y="793433"/>
                    <a:pt x="457" y="761048"/>
                    <a:pt x="457" y="761048"/>
                  </a:cubicBezTo>
                  <a:cubicBezTo>
                    <a:pt x="457" y="340995"/>
                    <a:pt x="341453" y="0"/>
                    <a:pt x="761505" y="0"/>
                  </a:cubicBezTo>
                  <a:cubicBezTo>
                    <a:pt x="1014870" y="0"/>
                    <a:pt x="1239660" y="124778"/>
                    <a:pt x="1377773" y="315278"/>
                  </a:cubicBezTo>
                  <a:cubicBezTo>
                    <a:pt x="1393012" y="336233"/>
                    <a:pt x="1415873" y="346710"/>
                    <a:pt x="1439685" y="346710"/>
                  </a:cubicBezTo>
                  <a:cubicBezTo>
                    <a:pt x="1463498" y="346710"/>
                    <a:pt x="1486357" y="336233"/>
                    <a:pt x="1501598" y="315278"/>
                  </a:cubicBezTo>
                  <a:cubicBezTo>
                    <a:pt x="1638757" y="124778"/>
                    <a:pt x="1863548" y="953"/>
                    <a:pt x="2116912" y="953"/>
                  </a:cubicBezTo>
                </a:path>
              </a:pathLst>
            </a:custGeom>
            <a:solidFill>
              <a:schemeClr val="accent1"/>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prstClr val="black"/>
                </a:solidFill>
                <a:effectLst/>
                <a:uLnTx/>
                <a:uFillTx/>
                <a:latin typeface="Arial"/>
                <a:ea typeface="+mn-ea"/>
                <a:cs typeface="+mn-cs"/>
              </a:endParaRPr>
            </a:p>
          </p:txBody>
        </p:sp>
      </p:grpSp>
      <p:sp>
        <p:nvSpPr>
          <p:cNvPr id="3" name="Subtitle 2">
            <a:extLst>
              <a:ext uri="{FF2B5EF4-FFF2-40B4-BE49-F238E27FC236}">
                <a16:creationId xmlns:a16="http://schemas.microsoft.com/office/drawing/2014/main" id="{DE3FEEA9-23A0-455A-BE2F-893399ECEB6C}"/>
              </a:ext>
            </a:extLst>
          </p:cNvPr>
          <p:cNvSpPr>
            <a:spLocks noGrp="1"/>
          </p:cNvSpPr>
          <p:nvPr>
            <p:ph type="subTitle" idx="1"/>
          </p:nvPr>
        </p:nvSpPr>
        <p:spPr>
          <a:xfrm>
            <a:off x="4101589" y="2399460"/>
            <a:ext cx="3950625" cy="1275619"/>
          </a:xfrm>
        </p:spPr>
        <p:txBody>
          <a:bodyPr/>
          <a:lstStyle/>
          <a:p>
            <a:pPr algn="ctr"/>
            <a:r>
              <a:rPr lang="en-US" sz="3600" dirty="0">
                <a:solidFill>
                  <a:schemeClr val="bg1"/>
                </a:solidFill>
              </a:rPr>
              <a:t>SCHWARZ IT </a:t>
            </a:r>
          </a:p>
          <a:p>
            <a:pPr algn="ctr"/>
            <a:r>
              <a:rPr lang="en-US" sz="3600" dirty="0">
                <a:solidFill>
                  <a:schemeClr val="bg1"/>
                </a:solidFill>
              </a:rPr>
              <a:t>SIT Bulgaria </a:t>
            </a:r>
          </a:p>
          <a:p>
            <a:pPr algn="ctr"/>
            <a:r>
              <a:rPr lang="en-US" sz="3200" b="0" dirty="0">
                <a:solidFill>
                  <a:schemeClr val="bg1"/>
                </a:solidFill>
              </a:rPr>
              <a:t>01.12.2020</a:t>
            </a:r>
            <a:endParaRPr lang="bg-BG" sz="3200" b="0" dirty="0">
              <a:solidFill>
                <a:schemeClr val="bg1"/>
              </a:solidFill>
            </a:endParaRPr>
          </a:p>
        </p:txBody>
      </p:sp>
      <p:pic>
        <p:nvPicPr>
          <p:cNvPr id="12" name="Grafik 57" descr="Klatschende Hände">
            <a:extLst>
              <a:ext uri="{FF2B5EF4-FFF2-40B4-BE49-F238E27FC236}">
                <a16:creationId xmlns:a16="http://schemas.microsoft.com/office/drawing/2014/main" id="{5A43F0B0-F4EE-4306-990E-FBFB1771318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8851" y="4243553"/>
            <a:ext cx="2019166" cy="2019166"/>
          </a:xfrm>
          <a:prstGeom prst="rect">
            <a:avLst/>
          </a:prstGeom>
        </p:spPr>
      </p:pic>
      <p:pic>
        <p:nvPicPr>
          <p:cNvPr id="15" name="Grafik 57" descr="Klatschende Hände">
            <a:extLst>
              <a:ext uri="{FF2B5EF4-FFF2-40B4-BE49-F238E27FC236}">
                <a16:creationId xmlns:a16="http://schemas.microsoft.com/office/drawing/2014/main" id="{03B5EC33-4B23-4BE5-8C60-83ADE0873B8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9908520" y="3971298"/>
            <a:ext cx="2163873" cy="2171961"/>
          </a:xfrm>
          <a:prstGeom prst="rect">
            <a:avLst/>
          </a:prstGeom>
        </p:spPr>
      </p:pic>
      <p:pic>
        <p:nvPicPr>
          <p:cNvPr id="16" name="Grafik 57" descr="Klatschende Hände">
            <a:extLst>
              <a:ext uri="{FF2B5EF4-FFF2-40B4-BE49-F238E27FC236}">
                <a16:creationId xmlns:a16="http://schemas.microsoft.com/office/drawing/2014/main" id="{005A9D18-1ECC-4763-BE01-02410907BEB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63712" y="5320357"/>
            <a:ext cx="1094762" cy="1094762"/>
          </a:xfrm>
          <a:prstGeom prst="rect">
            <a:avLst/>
          </a:prstGeom>
        </p:spPr>
      </p:pic>
      <p:pic>
        <p:nvPicPr>
          <p:cNvPr id="17" name="Grafik 57" descr="Klatschende Hände">
            <a:extLst>
              <a:ext uri="{FF2B5EF4-FFF2-40B4-BE49-F238E27FC236}">
                <a16:creationId xmlns:a16="http://schemas.microsoft.com/office/drawing/2014/main" id="{0778F19D-9584-463C-A595-A28A526015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9565184" y="5314620"/>
            <a:ext cx="1173220" cy="1177605"/>
          </a:xfrm>
          <a:prstGeom prst="rect">
            <a:avLst/>
          </a:prstGeom>
        </p:spPr>
      </p:pic>
      <p:sp>
        <p:nvSpPr>
          <p:cNvPr id="13" name="Foliennummernplatzhalter 12">
            <a:extLst>
              <a:ext uri="{FF2B5EF4-FFF2-40B4-BE49-F238E27FC236}">
                <a16:creationId xmlns:a16="http://schemas.microsoft.com/office/drawing/2014/main" id="{5E2172F4-047A-4BD5-9B24-782D5EBBF10E}"/>
              </a:ext>
            </a:extLst>
          </p:cNvPr>
          <p:cNvSpPr>
            <a:spLocks noGrp="1"/>
          </p:cNvSpPr>
          <p:nvPr>
            <p:ph type="sldNum" sz="quarter" idx="12"/>
          </p:nvPr>
        </p:nvSpPr>
        <p:spPr/>
        <p:txBody>
          <a:bodyPr/>
          <a:lstStyle/>
          <a:p>
            <a:fld id="{0C7C1E0B-BD27-42F8-BC6B-2F0636970842}" type="slidenum">
              <a:rPr lang="de-DE" smtClean="0"/>
              <a:pPr/>
              <a:t>39</a:t>
            </a:fld>
            <a:endParaRPr lang="de-DE"/>
          </a:p>
        </p:txBody>
      </p:sp>
    </p:spTree>
    <p:extLst>
      <p:ext uri="{BB962C8B-B14F-4D97-AF65-F5344CB8AC3E}">
        <p14:creationId xmlns:p14="http://schemas.microsoft.com/office/powerpoint/2010/main" val="8451736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D2CC002-6FDA-4FF3-804B-D944222306FF}"/>
              </a:ext>
            </a:extLst>
          </p:cNvPr>
          <p:cNvSpPr>
            <a:spLocks noGrp="1"/>
          </p:cNvSpPr>
          <p:nvPr>
            <p:ph type="sldNum" sz="quarter" idx="12"/>
          </p:nvPr>
        </p:nvSpPr>
        <p:spPr/>
        <p:txBody>
          <a:bodyPr/>
          <a:lstStyle/>
          <a:p>
            <a:fld id="{0C7C1E0B-BD27-42F8-BC6B-2F0636970842}" type="slidenum">
              <a:rPr lang="de-DE" smtClean="0"/>
              <a:pPr/>
              <a:t>4</a:t>
            </a:fld>
            <a:endParaRPr lang="de-DE"/>
          </a:p>
        </p:txBody>
      </p:sp>
      <p:sp>
        <p:nvSpPr>
          <p:cNvPr id="3" name="Subtitle 2">
            <a:extLst>
              <a:ext uri="{FF2B5EF4-FFF2-40B4-BE49-F238E27FC236}">
                <a16:creationId xmlns:a16="http://schemas.microsoft.com/office/drawing/2014/main" id="{3A6CE49E-5B0D-44D3-9FA0-C3274C934AEB}"/>
              </a:ext>
            </a:extLst>
          </p:cNvPr>
          <p:cNvSpPr>
            <a:spLocks noGrp="1"/>
          </p:cNvSpPr>
          <p:nvPr>
            <p:ph type="subTitle" idx="4294967295"/>
          </p:nvPr>
        </p:nvSpPr>
        <p:spPr>
          <a:xfrm>
            <a:off x="426720" y="739775"/>
            <a:ext cx="10922318" cy="425450"/>
          </a:xfrm>
        </p:spPr>
        <p:txBody>
          <a:bodyPr/>
          <a:lstStyle/>
          <a:p>
            <a:r>
              <a:rPr lang="en-US" sz="1866" dirty="0"/>
              <a:t>The largest </a:t>
            </a:r>
            <a:r>
              <a:rPr lang="en-US" sz="1866"/>
              <a:t>European retailer</a:t>
            </a:r>
            <a:endParaRPr lang="en-US" sz="1866" dirty="0"/>
          </a:p>
        </p:txBody>
      </p:sp>
      <p:sp>
        <p:nvSpPr>
          <p:cNvPr id="11" name="Textplatzhalter 18">
            <a:extLst>
              <a:ext uri="{FF2B5EF4-FFF2-40B4-BE49-F238E27FC236}">
                <a16:creationId xmlns:a16="http://schemas.microsoft.com/office/drawing/2014/main" id="{1378A507-DBEC-40AF-BE09-C4242F2D742A}"/>
              </a:ext>
            </a:extLst>
          </p:cNvPr>
          <p:cNvSpPr txBox="1">
            <a:spLocks/>
          </p:cNvSpPr>
          <p:nvPr/>
        </p:nvSpPr>
        <p:spPr>
          <a:xfrm>
            <a:off x="312512" y="331935"/>
            <a:ext cx="3440027" cy="433560"/>
          </a:xfrm>
          <a:prstGeom prst="rect">
            <a:avLst/>
          </a:prstGeom>
        </p:spPr>
        <p:txBody>
          <a:bodyPr/>
          <a:lstStyle>
            <a:lvl1pPr marL="0" indent="0" algn="l" defTabSz="914400" rtl="0" eaLnBrk="1" latinLnBrk="0" hangingPunct="1">
              <a:lnSpc>
                <a:spcPct val="11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Kaufland Office" panose="020B0503040000020003" pitchFamily="34" charset="0"/>
              <a:buChar char="−"/>
              <a:defRPr sz="1200" b="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SzPct val="90000"/>
              <a:buFont typeface="Kaufland Office" panose="020B0503040000020003" pitchFamily="34" charset="0"/>
              <a:buChar char="−"/>
              <a:defRPr sz="1200" kern="1200">
                <a:solidFill>
                  <a:schemeClr val="tx1"/>
                </a:solidFill>
                <a:latin typeface="+mn-lt"/>
                <a:ea typeface="+mn-ea"/>
                <a:cs typeface="+mn-cs"/>
              </a:defRPr>
            </a:lvl3pPr>
            <a:lvl4pPr marL="180000" indent="-180000" algn="l" defTabSz="914400" rtl="0" eaLnBrk="1" latinLnBrk="0" hangingPunct="1">
              <a:lnSpc>
                <a:spcPct val="110000"/>
              </a:lnSpc>
              <a:spcBef>
                <a:spcPts val="300"/>
              </a:spcBef>
              <a:spcAft>
                <a:spcPts val="300"/>
              </a:spcAft>
              <a:buClr>
                <a:schemeClr val="tx2"/>
              </a:buClr>
              <a:buSzPct val="90000"/>
              <a:buFont typeface="+mj-lt"/>
              <a:buAutoNum type="arabicPeriod"/>
              <a:defRPr sz="1200" kern="1200">
                <a:solidFill>
                  <a:schemeClr val="tx1"/>
                </a:solidFill>
                <a:latin typeface="+mn-lt"/>
                <a:ea typeface="+mn-ea"/>
                <a:cs typeface="+mn-cs"/>
              </a:defRPr>
            </a:lvl4pPr>
            <a:lvl5pPr marL="360000" indent="-180975" algn="l" defTabSz="914400" rtl="0" eaLnBrk="1" latinLnBrk="0" hangingPunct="1">
              <a:lnSpc>
                <a:spcPct val="110000"/>
              </a:lnSpc>
              <a:spcBef>
                <a:spcPts val="300"/>
              </a:spcBef>
              <a:spcAft>
                <a:spcPts val="300"/>
              </a:spcAft>
              <a:buClr>
                <a:schemeClr val="tx2"/>
              </a:buClr>
              <a:buSzPct val="100000"/>
              <a:buFont typeface="+mj-lt"/>
              <a:buAutoNum type="alphaLcPeriod"/>
              <a:defRPr sz="1200" kern="1200" baseline="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Clr>
                <a:schemeClr val="tx2"/>
              </a:buClr>
              <a:buFont typeface="+mj-lt"/>
              <a:buNone/>
              <a:defRPr sz="1400" b="1" kern="1200" cap="all" baseline="0">
                <a:solidFill>
                  <a:schemeClr val="accent4"/>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bg2"/>
                </a:solidFill>
                <a:latin typeface="+mn-lt"/>
                <a:ea typeface="+mn-ea"/>
                <a:cs typeface="+mn-cs"/>
              </a:defRPr>
            </a:lvl8pPr>
            <a:lvl9pPr marL="0" indent="0" algn="l" defTabSz="914400" rtl="0" eaLnBrk="1" latinLnBrk="0" hangingPunct="1">
              <a:lnSpc>
                <a:spcPct val="110000"/>
              </a:lnSpc>
              <a:spcBef>
                <a:spcPts val="300"/>
              </a:spcBef>
              <a:spcAft>
                <a:spcPts val="300"/>
              </a:spcAft>
              <a:buFont typeface="Arial" panose="020B0604020202020204" pitchFamily="34" charset="0"/>
              <a:buNone/>
              <a:defRPr sz="600" kern="1200">
                <a:solidFill>
                  <a:schemeClr val="tx1"/>
                </a:solidFill>
                <a:latin typeface="+mn-lt"/>
                <a:ea typeface="+mn-ea"/>
                <a:cs typeface="+mn-cs"/>
              </a:defRPr>
            </a:lvl9pPr>
          </a:lstStyle>
          <a:p>
            <a:r>
              <a:rPr lang="en-US" sz="2666" b="1" dirty="0">
                <a:solidFill>
                  <a:srgbClr val="7030A0"/>
                </a:solidFill>
              </a:rPr>
              <a:t>SCHWARZ GROUP</a:t>
            </a:r>
          </a:p>
        </p:txBody>
      </p:sp>
      <p:pic>
        <p:nvPicPr>
          <p:cNvPr id="4" name="Picture 3" descr="Table&#10;&#10;Description automatically generated">
            <a:extLst>
              <a:ext uri="{FF2B5EF4-FFF2-40B4-BE49-F238E27FC236}">
                <a16:creationId xmlns:a16="http://schemas.microsoft.com/office/drawing/2014/main" id="{C872C280-694F-4CFC-BE4A-9550EDAE55FA}"/>
              </a:ext>
            </a:extLst>
          </p:cNvPr>
          <p:cNvPicPr>
            <a:picLocks noChangeAspect="1"/>
          </p:cNvPicPr>
          <p:nvPr/>
        </p:nvPicPr>
        <p:blipFill>
          <a:blip r:embed="rId2"/>
          <a:stretch>
            <a:fillRect/>
          </a:stretch>
        </p:blipFill>
        <p:spPr>
          <a:xfrm>
            <a:off x="406400" y="1270000"/>
            <a:ext cx="11308080" cy="5120640"/>
          </a:xfrm>
          <a:prstGeom prst="rect">
            <a:avLst/>
          </a:prstGeom>
        </p:spPr>
      </p:pic>
    </p:spTree>
    <p:extLst>
      <p:ext uri="{BB962C8B-B14F-4D97-AF65-F5344CB8AC3E}">
        <p14:creationId xmlns:p14="http://schemas.microsoft.com/office/powerpoint/2010/main" val="423461501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98152C6-756A-46C9-86E7-5B2CAB16EFC0}"/>
              </a:ext>
            </a:extLst>
          </p:cNvPr>
          <p:cNvSpPr>
            <a:spLocks noGrp="1"/>
          </p:cNvSpPr>
          <p:nvPr>
            <p:ph type="sldNum" sz="quarter" idx="12"/>
          </p:nvPr>
        </p:nvSpPr>
        <p:spPr/>
        <p:txBody>
          <a:bodyPr/>
          <a:lstStyle/>
          <a:p>
            <a:fld id="{0C7C1E0B-BD27-42F8-BC6B-2F0636970842}" type="slidenum">
              <a:rPr lang="de-DE" smtClean="0"/>
              <a:pPr/>
              <a:t>40</a:t>
            </a:fld>
            <a:endParaRPr lang="de-DE" dirty="0"/>
          </a:p>
        </p:txBody>
      </p:sp>
      <p:sp>
        <p:nvSpPr>
          <p:cNvPr id="6" name="Footer Placeholder 5">
            <a:extLst>
              <a:ext uri="{FF2B5EF4-FFF2-40B4-BE49-F238E27FC236}">
                <a16:creationId xmlns:a16="http://schemas.microsoft.com/office/drawing/2014/main" id="{F93FAA6A-14CD-45C3-9B9A-BEF85939D03C}"/>
              </a:ext>
            </a:extLst>
          </p:cNvPr>
          <p:cNvSpPr>
            <a:spLocks noGrp="1"/>
          </p:cNvSpPr>
          <p:nvPr>
            <p:ph type="ftr" sz="quarter" idx="11"/>
          </p:nvPr>
        </p:nvSpPr>
        <p:spPr/>
        <p:txBody>
          <a:bodyPr/>
          <a:lstStyle/>
          <a:p>
            <a:r>
              <a:rPr lang="en-US"/>
              <a:t>Leadership Workshop  //  July 2020</a:t>
            </a:r>
            <a:endParaRPr lang="de-DE" dirty="0"/>
          </a:p>
        </p:txBody>
      </p:sp>
      <p:pic>
        <p:nvPicPr>
          <p:cNvPr id="12" name="Picture 11" descr="Graphical user interface, application&#10;&#10;Description automatically generated">
            <a:extLst>
              <a:ext uri="{FF2B5EF4-FFF2-40B4-BE49-F238E27FC236}">
                <a16:creationId xmlns:a16="http://schemas.microsoft.com/office/drawing/2014/main" id="{D9D629F2-1FE4-4FA0-97BC-1393FF8F3AED}"/>
              </a:ext>
            </a:extLst>
          </p:cNvPr>
          <p:cNvPicPr>
            <a:picLocks noChangeAspect="1"/>
          </p:cNvPicPr>
          <p:nvPr/>
        </p:nvPicPr>
        <p:blipFill>
          <a:blip r:embed="rId2"/>
          <a:stretch>
            <a:fillRect/>
          </a:stretch>
        </p:blipFill>
        <p:spPr>
          <a:xfrm>
            <a:off x="11054079" y="223521"/>
            <a:ext cx="945831" cy="945075"/>
          </a:xfrm>
          <a:prstGeom prst="rect">
            <a:avLst/>
          </a:prstGeom>
        </p:spPr>
      </p:pic>
      <p:pic>
        <p:nvPicPr>
          <p:cNvPr id="4" name="Picture 3" descr="Graphical user interface, application, table&#10;&#10;Description automatically generated">
            <a:extLst>
              <a:ext uri="{FF2B5EF4-FFF2-40B4-BE49-F238E27FC236}">
                <a16:creationId xmlns:a16="http://schemas.microsoft.com/office/drawing/2014/main" id="{48228A65-7480-4EFE-B4CF-787FC1875B50}"/>
              </a:ext>
            </a:extLst>
          </p:cNvPr>
          <p:cNvPicPr>
            <a:picLocks noChangeAspect="1"/>
          </p:cNvPicPr>
          <p:nvPr/>
        </p:nvPicPr>
        <p:blipFill>
          <a:blip r:embed="rId3"/>
          <a:stretch>
            <a:fillRect/>
          </a:stretch>
        </p:blipFill>
        <p:spPr>
          <a:xfrm>
            <a:off x="0" y="-80624"/>
            <a:ext cx="12190413" cy="6857774"/>
          </a:xfrm>
          <a:prstGeom prst="rect">
            <a:avLst/>
          </a:prstGeom>
        </p:spPr>
      </p:pic>
    </p:spTree>
    <p:extLst>
      <p:ext uri="{BB962C8B-B14F-4D97-AF65-F5344CB8AC3E}">
        <p14:creationId xmlns:p14="http://schemas.microsoft.com/office/powerpoint/2010/main" val="580312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A468B9E-7E80-4136-8B6E-613F2557A79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6" imgW="425" imgH="424" progId="TCLayout.ActiveDocument.1">
                  <p:embed/>
                </p:oleObj>
              </mc:Choice>
              <mc:Fallback>
                <p:oleObj name="think-cell Folie" r:id="rId6" imgW="425" imgH="424" progId="TCLayout.ActiveDocument.1">
                  <p:embed/>
                  <p:pic>
                    <p:nvPicPr>
                      <p:cNvPr id="9" name="Objekt 8" hidden="1">
                        <a:extLst>
                          <a:ext uri="{FF2B5EF4-FFF2-40B4-BE49-F238E27FC236}">
                            <a16:creationId xmlns:a16="http://schemas.microsoft.com/office/drawing/2014/main" id="{5A468B9E-7E80-4136-8B6E-613F2557A7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27170EF2-F01F-4A13-96F9-807AF19C028B}"/>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08E9AF2-8F17-4880-B618-515E62ADFAE2}"/>
              </a:ext>
            </a:extLst>
          </p:cNvPr>
          <p:cNvSpPr>
            <a:spLocks noGrp="1"/>
          </p:cNvSpPr>
          <p:nvPr>
            <p:ph type="title"/>
          </p:nvPr>
        </p:nvSpPr>
        <p:spPr>
          <a:xfrm>
            <a:off x="335280" y="262470"/>
            <a:ext cx="11422715" cy="503050"/>
          </a:xfrm>
        </p:spPr>
        <p:txBody>
          <a:bodyPr/>
          <a:lstStyle/>
          <a:p>
            <a:r>
              <a:rPr lang="en-US" dirty="0"/>
              <a:t> </a:t>
            </a:r>
            <a:r>
              <a:rPr lang="en-US" dirty="0" err="1"/>
              <a:t>Shcwarz</a:t>
            </a:r>
            <a:r>
              <a:rPr lang="en-US" dirty="0"/>
              <a:t> IT Bulgaria</a:t>
            </a:r>
          </a:p>
        </p:txBody>
      </p:sp>
      <p:sp>
        <p:nvSpPr>
          <p:cNvPr id="5" name="Subtitle 4">
            <a:extLst>
              <a:ext uri="{FF2B5EF4-FFF2-40B4-BE49-F238E27FC236}">
                <a16:creationId xmlns:a16="http://schemas.microsoft.com/office/drawing/2014/main" id="{CF403F31-BF00-40CD-AB3A-DAF67E54C79C}"/>
              </a:ext>
            </a:extLst>
          </p:cNvPr>
          <p:cNvSpPr>
            <a:spLocks noGrp="1"/>
          </p:cNvSpPr>
          <p:nvPr>
            <p:ph type="subTitle" idx="1"/>
          </p:nvPr>
        </p:nvSpPr>
        <p:spPr/>
        <p:txBody>
          <a:bodyPr/>
          <a:lstStyle/>
          <a:p>
            <a:r>
              <a:rPr lang="en-US" dirty="0"/>
              <a:t>Get to know </a:t>
            </a:r>
            <a:r>
              <a:rPr lang="en-US" dirty="0" err="1"/>
              <a:t>Michail</a:t>
            </a:r>
            <a:r>
              <a:rPr lang="en-US" dirty="0"/>
              <a:t> Petrov – CEO </a:t>
            </a:r>
          </a:p>
        </p:txBody>
      </p:sp>
      <p:sp>
        <p:nvSpPr>
          <p:cNvPr id="3" name="Text Placeholder 2">
            <a:extLst>
              <a:ext uri="{FF2B5EF4-FFF2-40B4-BE49-F238E27FC236}">
                <a16:creationId xmlns:a16="http://schemas.microsoft.com/office/drawing/2014/main" id="{C91F025B-E7A5-4D0D-A65A-5C4AB14870B5}"/>
              </a:ext>
            </a:extLst>
          </p:cNvPr>
          <p:cNvSpPr>
            <a:spLocks noGrp="1"/>
          </p:cNvSpPr>
          <p:nvPr>
            <p:ph type="body" sz="quarter" idx="13"/>
          </p:nvPr>
        </p:nvSpPr>
        <p:spPr/>
        <p:txBody>
          <a:bodyPr/>
          <a:lstStyle/>
          <a:p>
            <a:endParaRPr lang="de-DE" sz="1000" b="1" dirty="0"/>
          </a:p>
          <a:p>
            <a:r>
              <a:rPr lang="en-US" b="1" dirty="0"/>
              <a:t>Previous positions at Schwarz Group: </a:t>
            </a:r>
            <a:r>
              <a:rPr lang="en-US" dirty="0"/>
              <a:t>CFO of Kaufland Bulgaria, </a:t>
            </a:r>
          </a:p>
          <a:p>
            <a:r>
              <a:rPr lang="de-DE" dirty="0"/>
              <a:t>CEO </a:t>
            </a:r>
            <a:r>
              <a:rPr lang="de-DE" dirty="0" err="1"/>
              <a:t>of</a:t>
            </a:r>
            <a:r>
              <a:rPr lang="de-DE" dirty="0"/>
              <a:t> Kaufland Service</a:t>
            </a:r>
            <a:endParaRPr lang="en-US" dirty="0"/>
          </a:p>
          <a:p>
            <a:endParaRPr lang="en-US" sz="1000" dirty="0"/>
          </a:p>
          <a:p>
            <a:r>
              <a:rPr lang="en-US" b="1" dirty="0"/>
              <a:t>Nationality: </a:t>
            </a:r>
            <a:r>
              <a:rPr lang="en-US" dirty="0"/>
              <a:t>BG</a:t>
            </a:r>
          </a:p>
          <a:p>
            <a:endParaRPr lang="en-US" sz="1000" b="1" dirty="0"/>
          </a:p>
          <a:p>
            <a:r>
              <a:rPr lang="en-US" b="1" dirty="0"/>
              <a:t>Work history: </a:t>
            </a:r>
          </a:p>
          <a:p>
            <a:endParaRPr lang="en-US" b="1" dirty="0"/>
          </a:p>
          <a:p>
            <a:r>
              <a:rPr lang="en-US" dirty="0"/>
              <a:t>2001 +:  Assistant Professor In Marketing, University of National and World Economy, Sofia</a:t>
            </a:r>
            <a:r>
              <a:rPr lang="de-DE" dirty="0"/>
              <a:t>  </a:t>
            </a:r>
            <a:endParaRPr lang="en-US" dirty="0"/>
          </a:p>
          <a:p>
            <a:r>
              <a:rPr lang="en-US" dirty="0"/>
              <a:t>03/2000 – 12/2002: Deputy Managing Director, </a:t>
            </a:r>
            <a:r>
              <a:rPr lang="en-US" dirty="0" err="1"/>
              <a:t>Soravia</a:t>
            </a:r>
            <a:r>
              <a:rPr lang="en-US" dirty="0"/>
              <a:t> Group Bulgaria</a:t>
            </a:r>
          </a:p>
          <a:p>
            <a:r>
              <a:rPr lang="en-US" dirty="0"/>
              <a:t>01/2003 – 11/2004: Regional CFO, </a:t>
            </a:r>
            <a:r>
              <a:rPr lang="en-US" dirty="0" err="1"/>
              <a:t>Soravia</a:t>
            </a:r>
            <a:r>
              <a:rPr lang="en-US" dirty="0"/>
              <a:t> Group Austria</a:t>
            </a:r>
          </a:p>
          <a:p>
            <a:r>
              <a:rPr lang="en-US" dirty="0"/>
              <a:t>12/2004 – 11/2020: CFO of Kaufland Bulgaria</a:t>
            </a:r>
          </a:p>
          <a:p>
            <a:r>
              <a:rPr lang="en-US" dirty="0"/>
              <a:t>01/2014 – 12/2019: Member of the Management Board, CFO Club Bulgaria</a:t>
            </a:r>
          </a:p>
          <a:p>
            <a:r>
              <a:rPr lang="en-US" dirty="0"/>
              <a:t>09/2016 – 11/2020: CEO of IT HUB Kaufland</a:t>
            </a:r>
          </a:p>
          <a:p>
            <a:r>
              <a:rPr lang="en-US" dirty="0"/>
              <a:t>12</a:t>
            </a:r>
            <a:r>
              <a:rPr lang="bg-BG" dirty="0"/>
              <a:t>/202</a:t>
            </a:r>
            <a:r>
              <a:rPr lang="en-US" dirty="0"/>
              <a:t>0</a:t>
            </a:r>
            <a:r>
              <a:rPr lang="bg-BG" dirty="0"/>
              <a:t> </a:t>
            </a:r>
            <a:r>
              <a:rPr lang="en-US" dirty="0"/>
              <a:t>+:</a:t>
            </a:r>
            <a:r>
              <a:rPr lang="bg-BG" dirty="0"/>
              <a:t> </a:t>
            </a:r>
            <a:r>
              <a:rPr lang="de-DE" dirty="0"/>
              <a:t>CEO </a:t>
            </a:r>
            <a:r>
              <a:rPr lang="de-DE" dirty="0" err="1"/>
              <a:t>of</a:t>
            </a:r>
            <a:r>
              <a:rPr lang="de-DE" dirty="0"/>
              <a:t> </a:t>
            </a:r>
            <a:r>
              <a:rPr lang="de-DE" dirty="0" err="1"/>
              <a:t>Schwar</a:t>
            </a:r>
            <a:r>
              <a:rPr lang="en-US" dirty="0"/>
              <a:t>z IT Bulgaria</a:t>
            </a:r>
          </a:p>
          <a:p>
            <a:endParaRPr lang="en-US" dirty="0"/>
          </a:p>
          <a:p>
            <a:endParaRPr lang="en-US" dirty="0"/>
          </a:p>
          <a:p>
            <a:endParaRPr lang="en-US" dirty="0"/>
          </a:p>
          <a:p>
            <a:endParaRPr lang="bg-BG" dirty="0"/>
          </a:p>
          <a:p>
            <a:endParaRPr lang="en-US" dirty="0"/>
          </a:p>
          <a:p>
            <a:endParaRPr lang="en-US" dirty="0"/>
          </a:p>
        </p:txBody>
      </p:sp>
      <p:pic>
        <p:nvPicPr>
          <p:cNvPr id="8" name="Picture 7">
            <a:extLst>
              <a:ext uri="{FF2B5EF4-FFF2-40B4-BE49-F238E27FC236}">
                <a16:creationId xmlns:a16="http://schemas.microsoft.com/office/drawing/2014/main" id="{67FE18F1-585D-4850-AC63-6AB6C15D8258}"/>
              </a:ext>
            </a:extLst>
          </p:cNvPr>
          <p:cNvPicPr>
            <a:picLocks noChangeAspect="1"/>
          </p:cNvPicPr>
          <p:nvPr/>
        </p:nvPicPr>
        <p:blipFill>
          <a:blip r:embed="rId8"/>
          <a:stretch>
            <a:fillRect/>
          </a:stretch>
        </p:blipFill>
        <p:spPr>
          <a:xfrm>
            <a:off x="9066601" y="229988"/>
            <a:ext cx="2767415" cy="2767415"/>
          </a:xfrm>
          <a:prstGeom prst="rect">
            <a:avLst/>
          </a:prstGeom>
        </p:spPr>
      </p:pic>
      <p:sp>
        <p:nvSpPr>
          <p:cNvPr id="7" name="Foliennummernplatzhalter 6">
            <a:extLst>
              <a:ext uri="{FF2B5EF4-FFF2-40B4-BE49-F238E27FC236}">
                <a16:creationId xmlns:a16="http://schemas.microsoft.com/office/drawing/2014/main" id="{7E889E48-3325-457E-B2DC-1E2326D4DDD8}"/>
              </a:ext>
            </a:extLst>
          </p:cNvPr>
          <p:cNvSpPr>
            <a:spLocks noGrp="1"/>
          </p:cNvSpPr>
          <p:nvPr>
            <p:ph type="sldNum" sz="quarter" idx="12"/>
          </p:nvPr>
        </p:nvSpPr>
        <p:spPr/>
        <p:txBody>
          <a:bodyPr/>
          <a:lstStyle/>
          <a:p>
            <a:fld id="{0C7C1E0B-BD27-42F8-BC6B-2F0636970842}" type="slidenum">
              <a:rPr lang="de-DE" smtClean="0"/>
              <a:pPr/>
              <a:t>41</a:t>
            </a:fld>
            <a:endParaRPr lang="de-DE"/>
          </a:p>
        </p:txBody>
      </p:sp>
    </p:spTree>
    <p:extLst>
      <p:ext uri="{BB962C8B-B14F-4D97-AF65-F5344CB8AC3E}">
        <p14:creationId xmlns:p14="http://schemas.microsoft.com/office/powerpoint/2010/main" val="261944887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DA0A6E61-F97C-40ED-AB35-868CDCAD9539}"/>
              </a:ext>
            </a:extLst>
          </p:cNvPr>
          <p:cNvSpPr/>
          <p:nvPr/>
        </p:nvSpPr>
        <p:spPr>
          <a:xfrm>
            <a:off x="-619365" y="2556221"/>
            <a:ext cx="5189043" cy="1933860"/>
          </a:xfrm>
          <a:custGeom>
            <a:avLst/>
            <a:gdLst>
              <a:gd name="connsiteX0" fmla="*/ 5568315 w 5648325"/>
              <a:gd name="connsiteY0" fmla="*/ 1066865 h 2105025"/>
              <a:gd name="connsiteX1" fmla="*/ 5335905 w 5648325"/>
              <a:gd name="connsiteY1" fmla="*/ 1066865 h 2105025"/>
              <a:gd name="connsiteX2" fmla="*/ 5278755 w 5648325"/>
              <a:gd name="connsiteY2" fmla="*/ 1039243 h 2105025"/>
              <a:gd name="connsiteX3" fmla="*/ 5160645 w 5648325"/>
              <a:gd name="connsiteY3" fmla="*/ 823978 h 2105025"/>
              <a:gd name="connsiteX4" fmla="*/ 5030153 w 5648325"/>
              <a:gd name="connsiteY4" fmla="*/ 758255 h 2105025"/>
              <a:gd name="connsiteX5" fmla="*/ 4921568 w 5648325"/>
              <a:gd name="connsiteY5" fmla="*/ 852553 h 2105025"/>
              <a:gd name="connsiteX6" fmla="*/ 4720590 w 5648325"/>
              <a:gd name="connsiteY6" fmla="*/ 1783145 h 2105025"/>
              <a:gd name="connsiteX7" fmla="*/ 4460558 w 5648325"/>
              <a:gd name="connsiteY7" fmla="*/ 101983 h 2105025"/>
              <a:gd name="connsiteX8" fmla="*/ 4338638 w 5648325"/>
              <a:gd name="connsiteY8" fmla="*/ 65 h 2105025"/>
              <a:gd name="connsiteX9" fmla="*/ 4211003 w 5648325"/>
              <a:gd name="connsiteY9" fmla="*/ 96268 h 2105025"/>
              <a:gd name="connsiteX10" fmla="*/ 3975735 w 5648325"/>
              <a:gd name="connsiteY10" fmla="*/ 1181165 h 2105025"/>
              <a:gd name="connsiteX11" fmla="*/ 3848100 w 5648325"/>
              <a:gd name="connsiteY11" fmla="*/ 856363 h 2105025"/>
              <a:gd name="connsiteX12" fmla="*/ 3716655 w 5648325"/>
              <a:gd name="connsiteY12" fmla="*/ 768733 h 2105025"/>
              <a:gd name="connsiteX13" fmla="*/ 3581400 w 5648325"/>
              <a:gd name="connsiteY13" fmla="*/ 851600 h 2105025"/>
              <a:gd name="connsiteX14" fmla="*/ 3506153 w 5648325"/>
              <a:gd name="connsiteY14" fmla="*/ 1026860 h 2105025"/>
              <a:gd name="connsiteX15" fmla="*/ 3430905 w 5648325"/>
              <a:gd name="connsiteY15" fmla="*/ 1065913 h 2105025"/>
              <a:gd name="connsiteX16" fmla="*/ 3095625 w 5648325"/>
              <a:gd name="connsiteY16" fmla="*/ 1065913 h 2105025"/>
              <a:gd name="connsiteX17" fmla="*/ 3091815 w 5648325"/>
              <a:gd name="connsiteY17" fmla="*/ 1065913 h 2105025"/>
              <a:gd name="connsiteX18" fmla="*/ 2634615 w 5648325"/>
              <a:gd name="connsiteY18" fmla="*/ 1065913 h 2105025"/>
              <a:gd name="connsiteX19" fmla="*/ 2577465 w 5648325"/>
              <a:gd name="connsiteY19" fmla="*/ 1038290 h 2105025"/>
              <a:gd name="connsiteX20" fmla="*/ 2459355 w 5648325"/>
              <a:gd name="connsiteY20" fmla="*/ 823025 h 2105025"/>
              <a:gd name="connsiteX21" fmla="*/ 2328863 w 5648325"/>
              <a:gd name="connsiteY21" fmla="*/ 757303 h 2105025"/>
              <a:gd name="connsiteX22" fmla="*/ 2220278 w 5648325"/>
              <a:gd name="connsiteY22" fmla="*/ 851600 h 2105025"/>
              <a:gd name="connsiteX23" fmla="*/ 2019300 w 5648325"/>
              <a:gd name="connsiteY23" fmla="*/ 1782193 h 2105025"/>
              <a:gd name="connsiteX24" fmla="*/ 1761173 w 5648325"/>
              <a:gd name="connsiteY24" fmla="*/ 101983 h 2105025"/>
              <a:gd name="connsiteX25" fmla="*/ 1639253 w 5648325"/>
              <a:gd name="connsiteY25" fmla="*/ 65 h 2105025"/>
              <a:gd name="connsiteX26" fmla="*/ 1511618 w 5648325"/>
              <a:gd name="connsiteY26" fmla="*/ 96268 h 2105025"/>
              <a:gd name="connsiteX27" fmla="*/ 1276350 w 5648325"/>
              <a:gd name="connsiteY27" fmla="*/ 1181165 h 2105025"/>
              <a:gd name="connsiteX28" fmla="*/ 1149668 w 5648325"/>
              <a:gd name="connsiteY28" fmla="*/ 855410 h 2105025"/>
              <a:gd name="connsiteX29" fmla="*/ 1018223 w 5648325"/>
              <a:gd name="connsiteY29" fmla="*/ 767780 h 2105025"/>
              <a:gd name="connsiteX30" fmla="*/ 882968 w 5648325"/>
              <a:gd name="connsiteY30" fmla="*/ 850648 h 2105025"/>
              <a:gd name="connsiteX31" fmla="*/ 807720 w 5648325"/>
              <a:gd name="connsiteY31" fmla="*/ 1025908 h 2105025"/>
              <a:gd name="connsiteX32" fmla="*/ 732473 w 5648325"/>
              <a:gd name="connsiteY32" fmla="*/ 1064960 h 2105025"/>
              <a:gd name="connsiteX33" fmla="*/ 81915 w 5648325"/>
              <a:gd name="connsiteY33" fmla="*/ 1064960 h 2105025"/>
              <a:gd name="connsiteX34" fmla="*/ 0 w 5648325"/>
              <a:gd name="connsiteY34" fmla="*/ 1146875 h 2105025"/>
              <a:gd name="connsiteX35" fmla="*/ 81915 w 5648325"/>
              <a:gd name="connsiteY35" fmla="*/ 1228790 h 2105025"/>
              <a:gd name="connsiteX36" fmla="*/ 731520 w 5648325"/>
              <a:gd name="connsiteY36" fmla="*/ 1228790 h 2105025"/>
              <a:gd name="connsiteX37" fmla="*/ 958215 w 5648325"/>
              <a:gd name="connsiteY37" fmla="*/ 1089725 h 2105025"/>
              <a:gd name="connsiteX38" fmla="*/ 1014413 w 5648325"/>
              <a:gd name="connsiteY38" fmla="*/ 959233 h 2105025"/>
              <a:gd name="connsiteX39" fmla="*/ 1165860 w 5648325"/>
              <a:gd name="connsiteY39" fmla="*/ 1348805 h 2105025"/>
              <a:gd name="connsiteX40" fmla="*/ 1296353 w 5648325"/>
              <a:gd name="connsiteY40" fmla="*/ 1426910 h 2105025"/>
              <a:gd name="connsiteX41" fmla="*/ 1410653 w 5648325"/>
              <a:gd name="connsiteY41" fmla="*/ 1331660 h 2105025"/>
              <a:gd name="connsiteX42" fmla="*/ 1628775 w 5648325"/>
              <a:gd name="connsiteY42" fmla="*/ 322010 h 2105025"/>
              <a:gd name="connsiteX43" fmla="*/ 1888808 w 5648325"/>
              <a:gd name="connsiteY43" fmla="*/ 2004125 h 2105025"/>
              <a:gd name="connsiteX44" fmla="*/ 2010728 w 5648325"/>
              <a:gd name="connsiteY44" fmla="*/ 2106043 h 2105025"/>
              <a:gd name="connsiteX45" fmla="*/ 2014538 w 5648325"/>
              <a:gd name="connsiteY45" fmla="*/ 2106043 h 2105025"/>
              <a:gd name="connsiteX46" fmla="*/ 2139315 w 5648325"/>
              <a:gd name="connsiteY46" fmla="*/ 2009840 h 2105025"/>
              <a:gd name="connsiteX47" fmla="*/ 2360295 w 5648325"/>
              <a:gd name="connsiteY47" fmla="*/ 983045 h 2105025"/>
              <a:gd name="connsiteX48" fmla="*/ 2431733 w 5648325"/>
              <a:gd name="connsiteY48" fmla="*/ 1113538 h 2105025"/>
              <a:gd name="connsiteX49" fmla="*/ 2634615 w 5648325"/>
              <a:gd name="connsiteY49" fmla="*/ 1230695 h 2105025"/>
              <a:gd name="connsiteX50" fmla="*/ 2776538 w 5648325"/>
              <a:gd name="connsiteY50" fmla="*/ 1230695 h 2105025"/>
              <a:gd name="connsiteX51" fmla="*/ 2780348 w 5648325"/>
              <a:gd name="connsiteY51" fmla="*/ 1230695 h 2105025"/>
              <a:gd name="connsiteX52" fmla="*/ 3429953 w 5648325"/>
              <a:gd name="connsiteY52" fmla="*/ 1230695 h 2105025"/>
              <a:gd name="connsiteX53" fmla="*/ 3656648 w 5648325"/>
              <a:gd name="connsiteY53" fmla="*/ 1091630 h 2105025"/>
              <a:gd name="connsiteX54" fmla="*/ 3712845 w 5648325"/>
              <a:gd name="connsiteY54" fmla="*/ 961138 h 2105025"/>
              <a:gd name="connsiteX55" fmla="*/ 3864293 w 5648325"/>
              <a:gd name="connsiteY55" fmla="*/ 1350710 h 2105025"/>
              <a:gd name="connsiteX56" fmla="*/ 3994785 w 5648325"/>
              <a:gd name="connsiteY56" fmla="*/ 1428815 h 2105025"/>
              <a:gd name="connsiteX57" fmla="*/ 4109085 w 5648325"/>
              <a:gd name="connsiteY57" fmla="*/ 1333565 h 2105025"/>
              <a:gd name="connsiteX58" fmla="*/ 4329113 w 5648325"/>
              <a:gd name="connsiteY58" fmla="*/ 321058 h 2105025"/>
              <a:gd name="connsiteX59" fmla="*/ 4589145 w 5648325"/>
              <a:gd name="connsiteY59" fmla="*/ 2003173 h 2105025"/>
              <a:gd name="connsiteX60" fmla="*/ 4711065 w 5648325"/>
              <a:gd name="connsiteY60" fmla="*/ 2105090 h 2105025"/>
              <a:gd name="connsiteX61" fmla="*/ 4714875 w 5648325"/>
              <a:gd name="connsiteY61" fmla="*/ 2105090 h 2105025"/>
              <a:gd name="connsiteX62" fmla="*/ 4839653 w 5648325"/>
              <a:gd name="connsiteY62" fmla="*/ 2008888 h 2105025"/>
              <a:gd name="connsiteX63" fmla="*/ 5060633 w 5648325"/>
              <a:gd name="connsiteY63" fmla="*/ 982093 h 2105025"/>
              <a:gd name="connsiteX64" fmla="*/ 5132070 w 5648325"/>
              <a:gd name="connsiteY64" fmla="*/ 1112585 h 2105025"/>
              <a:gd name="connsiteX65" fmla="*/ 5334953 w 5648325"/>
              <a:gd name="connsiteY65" fmla="*/ 1229743 h 2105025"/>
              <a:gd name="connsiteX66" fmla="*/ 5476875 w 5648325"/>
              <a:gd name="connsiteY66" fmla="*/ 1229743 h 2105025"/>
              <a:gd name="connsiteX67" fmla="*/ 5480685 w 5648325"/>
              <a:gd name="connsiteY67" fmla="*/ 1229743 h 2105025"/>
              <a:gd name="connsiteX68" fmla="*/ 5656898 w 5648325"/>
              <a:gd name="connsiteY68" fmla="*/ 1229743 h 2105025"/>
              <a:gd name="connsiteX69" fmla="*/ 5568315 w 5648325"/>
              <a:gd name="connsiteY69" fmla="*/ 106686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48325" h="2105025">
                <a:moveTo>
                  <a:pt x="5568315" y="1066865"/>
                </a:moveTo>
                <a:lnTo>
                  <a:pt x="5335905" y="1066865"/>
                </a:lnTo>
                <a:cubicBezTo>
                  <a:pt x="5307330" y="1066865"/>
                  <a:pt x="5285423" y="1052578"/>
                  <a:pt x="5278755" y="1039243"/>
                </a:cubicBezTo>
                <a:lnTo>
                  <a:pt x="5160645" y="823978"/>
                </a:lnTo>
                <a:cubicBezTo>
                  <a:pt x="5136833" y="778258"/>
                  <a:pt x="5084445" y="751588"/>
                  <a:pt x="5030153" y="758255"/>
                </a:cubicBezTo>
                <a:cubicBezTo>
                  <a:pt x="4975860" y="764923"/>
                  <a:pt x="4932998" y="802070"/>
                  <a:pt x="4921568" y="852553"/>
                </a:cubicBezTo>
                <a:lnTo>
                  <a:pt x="4720590" y="1783145"/>
                </a:lnTo>
                <a:lnTo>
                  <a:pt x="4460558" y="101983"/>
                </a:lnTo>
                <a:cubicBezTo>
                  <a:pt x="4451033" y="43880"/>
                  <a:pt x="4400550" y="1970"/>
                  <a:pt x="4338638" y="65"/>
                </a:cubicBezTo>
                <a:cubicBezTo>
                  <a:pt x="4275773" y="-887"/>
                  <a:pt x="4223385" y="38165"/>
                  <a:pt x="4211003" y="96268"/>
                </a:cubicBezTo>
                <a:lnTo>
                  <a:pt x="3975735" y="1181165"/>
                </a:lnTo>
                <a:lnTo>
                  <a:pt x="3848100" y="856363"/>
                </a:lnTo>
                <a:cubicBezTo>
                  <a:pt x="3828098" y="803975"/>
                  <a:pt x="3776663" y="770638"/>
                  <a:pt x="3716655" y="768733"/>
                </a:cubicBezTo>
                <a:cubicBezTo>
                  <a:pt x="3656648" y="767780"/>
                  <a:pt x="3604260" y="800165"/>
                  <a:pt x="3581400" y="851600"/>
                </a:cubicBezTo>
                <a:lnTo>
                  <a:pt x="3506153" y="1026860"/>
                </a:lnTo>
                <a:cubicBezTo>
                  <a:pt x="3496628" y="1049720"/>
                  <a:pt x="3464243" y="1065913"/>
                  <a:pt x="3430905" y="1065913"/>
                </a:cubicBezTo>
                <a:lnTo>
                  <a:pt x="3095625" y="1065913"/>
                </a:lnTo>
                <a:cubicBezTo>
                  <a:pt x="3094673" y="1065913"/>
                  <a:pt x="3092768" y="1065913"/>
                  <a:pt x="3091815" y="1065913"/>
                </a:cubicBezTo>
                <a:lnTo>
                  <a:pt x="2634615" y="1065913"/>
                </a:lnTo>
                <a:cubicBezTo>
                  <a:pt x="2606040" y="1065913"/>
                  <a:pt x="2584133" y="1051625"/>
                  <a:pt x="2577465" y="1038290"/>
                </a:cubicBezTo>
                <a:lnTo>
                  <a:pt x="2459355" y="823025"/>
                </a:lnTo>
                <a:cubicBezTo>
                  <a:pt x="2435543" y="777305"/>
                  <a:pt x="2383155" y="750635"/>
                  <a:pt x="2328863" y="757303"/>
                </a:cubicBezTo>
                <a:cubicBezTo>
                  <a:pt x="2274570" y="763970"/>
                  <a:pt x="2231708" y="801118"/>
                  <a:pt x="2220278" y="851600"/>
                </a:cubicBezTo>
                <a:lnTo>
                  <a:pt x="2019300" y="1782193"/>
                </a:lnTo>
                <a:lnTo>
                  <a:pt x="1761173" y="101983"/>
                </a:lnTo>
                <a:cubicBezTo>
                  <a:pt x="1751648" y="43880"/>
                  <a:pt x="1701165" y="1970"/>
                  <a:pt x="1639253" y="65"/>
                </a:cubicBezTo>
                <a:cubicBezTo>
                  <a:pt x="1576388" y="-1840"/>
                  <a:pt x="1524000" y="38165"/>
                  <a:pt x="1511618" y="96268"/>
                </a:cubicBezTo>
                <a:lnTo>
                  <a:pt x="1276350" y="1181165"/>
                </a:lnTo>
                <a:lnTo>
                  <a:pt x="1149668" y="855410"/>
                </a:lnTo>
                <a:cubicBezTo>
                  <a:pt x="1129665" y="803023"/>
                  <a:pt x="1078230" y="768733"/>
                  <a:pt x="1018223" y="767780"/>
                </a:cubicBezTo>
                <a:cubicBezTo>
                  <a:pt x="958215" y="766828"/>
                  <a:pt x="905828" y="799213"/>
                  <a:pt x="882968" y="850648"/>
                </a:cubicBezTo>
                <a:lnTo>
                  <a:pt x="807720" y="1025908"/>
                </a:lnTo>
                <a:cubicBezTo>
                  <a:pt x="798195" y="1048768"/>
                  <a:pt x="765810" y="1064960"/>
                  <a:pt x="732473" y="1064960"/>
                </a:cubicBezTo>
                <a:lnTo>
                  <a:pt x="81915" y="1064960"/>
                </a:lnTo>
                <a:cubicBezTo>
                  <a:pt x="36195" y="1064960"/>
                  <a:pt x="0" y="1102108"/>
                  <a:pt x="0" y="1146875"/>
                </a:cubicBezTo>
                <a:cubicBezTo>
                  <a:pt x="0" y="1192595"/>
                  <a:pt x="37148" y="1228790"/>
                  <a:pt x="81915" y="1228790"/>
                </a:cubicBezTo>
                <a:lnTo>
                  <a:pt x="731520" y="1228790"/>
                </a:lnTo>
                <a:cubicBezTo>
                  <a:pt x="832485" y="1228790"/>
                  <a:pt x="922020" y="1174498"/>
                  <a:pt x="958215" y="1089725"/>
                </a:cubicBezTo>
                <a:lnTo>
                  <a:pt x="1014413" y="959233"/>
                </a:lnTo>
                <a:lnTo>
                  <a:pt x="1165860" y="1348805"/>
                </a:lnTo>
                <a:cubicBezTo>
                  <a:pt x="1185863" y="1400240"/>
                  <a:pt x="1238250" y="1431673"/>
                  <a:pt x="1296353" y="1426910"/>
                </a:cubicBezTo>
                <a:cubicBezTo>
                  <a:pt x="1353503" y="1422148"/>
                  <a:pt x="1399223" y="1384048"/>
                  <a:pt x="1410653" y="1331660"/>
                </a:cubicBezTo>
                <a:lnTo>
                  <a:pt x="1628775" y="322010"/>
                </a:lnTo>
                <a:lnTo>
                  <a:pt x="1888808" y="2004125"/>
                </a:lnTo>
                <a:cubicBezTo>
                  <a:pt x="1898333" y="2062228"/>
                  <a:pt x="1948815" y="2104138"/>
                  <a:pt x="2010728" y="2106043"/>
                </a:cubicBezTo>
                <a:cubicBezTo>
                  <a:pt x="2011680" y="2106043"/>
                  <a:pt x="2013585" y="2106043"/>
                  <a:pt x="2014538" y="2106043"/>
                </a:cubicBezTo>
                <a:cubicBezTo>
                  <a:pt x="2075498" y="2106043"/>
                  <a:pt x="2125980" y="2066990"/>
                  <a:pt x="2139315" y="2009840"/>
                </a:cubicBezTo>
                <a:lnTo>
                  <a:pt x="2360295" y="983045"/>
                </a:lnTo>
                <a:lnTo>
                  <a:pt x="2431733" y="1113538"/>
                </a:lnTo>
                <a:cubicBezTo>
                  <a:pt x="2467928" y="1184023"/>
                  <a:pt x="2547938" y="1230695"/>
                  <a:pt x="2634615" y="1230695"/>
                </a:cubicBezTo>
                <a:lnTo>
                  <a:pt x="2776538" y="1230695"/>
                </a:lnTo>
                <a:cubicBezTo>
                  <a:pt x="2777490" y="1230695"/>
                  <a:pt x="2779395" y="1230695"/>
                  <a:pt x="2780348" y="1230695"/>
                </a:cubicBezTo>
                <a:lnTo>
                  <a:pt x="3429953" y="1230695"/>
                </a:lnTo>
                <a:cubicBezTo>
                  <a:pt x="3530918" y="1230695"/>
                  <a:pt x="3619500" y="1176403"/>
                  <a:pt x="3656648" y="1091630"/>
                </a:cubicBezTo>
                <a:lnTo>
                  <a:pt x="3712845" y="961138"/>
                </a:lnTo>
                <a:lnTo>
                  <a:pt x="3864293" y="1350710"/>
                </a:lnTo>
                <a:cubicBezTo>
                  <a:pt x="3884295" y="1402145"/>
                  <a:pt x="3936683" y="1433578"/>
                  <a:pt x="3994785" y="1428815"/>
                </a:cubicBezTo>
                <a:cubicBezTo>
                  <a:pt x="4051935" y="1424053"/>
                  <a:pt x="4097655" y="1385953"/>
                  <a:pt x="4109085" y="1333565"/>
                </a:cubicBezTo>
                <a:lnTo>
                  <a:pt x="4329113" y="321058"/>
                </a:lnTo>
                <a:lnTo>
                  <a:pt x="4589145" y="2003173"/>
                </a:lnTo>
                <a:cubicBezTo>
                  <a:pt x="4598670" y="2061275"/>
                  <a:pt x="4649153" y="2103185"/>
                  <a:pt x="4711065" y="2105090"/>
                </a:cubicBezTo>
                <a:cubicBezTo>
                  <a:pt x="4712018" y="2105090"/>
                  <a:pt x="4713923" y="2105090"/>
                  <a:pt x="4714875" y="2105090"/>
                </a:cubicBezTo>
                <a:cubicBezTo>
                  <a:pt x="4775835" y="2105090"/>
                  <a:pt x="4826318" y="2066038"/>
                  <a:pt x="4839653" y="2008888"/>
                </a:cubicBezTo>
                <a:lnTo>
                  <a:pt x="5060633" y="982093"/>
                </a:lnTo>
                <a:lnTo>
                  <a:pt x="5132070" y="1112585"/>
                </a:lnTo>
                <a:cubicBezTo>
                  <a:pt x="5168265" y="1183070"/>
                  <a:pt x="5248275" y="1229743"/>
                  <a:pt x="5334953" y="1229743"/>
                </a:cubicBezTo>
                <a:lnTo>
                  <a:pt x="5476875" y="1229743"/>
                </a:lnTo>
                <a:cubicBezTo>
                  <a:pt x="5477828" y="1229743"/>
                  <a:pt x="5479733" y="1229743"/>
                  <a:pt x="5480685" y="1229743"/>
                </a:cubicBezTo>
                <a:lnTo>
                  <a:pt x="5656898" y="1229743"/>
                </a:lnTo>
                <a:cubicBezTo>
                  <a:pt x="5623560" y="1173545"/>
                  <a:pt x="5594033" y="1118300"/>
                  <a:pt x="5568315" y="1066865"/>
                </a:cubicBezTo>
                <a:close/>
              </a:path>
            </a:pathLst>
          </a:custGeom>
          <a:solidFill>
            <a:srgbClr val="FFFFFF"/>
          </a:solidFill>
          <a:ln w="9525" cap="flat">
            <a:noFill/>
            <a:prstDash val="solid"/>
            <a:miter/>
          </a:ln>
        </p:spPr>
        <p:txBody>
          <a:bodyPr rtlCol="0" anchor="ctr"/>
          <a:lstStyle/>
          <a:p>
            <a:endParaRPr lang="de-DE"/>
          </a:p>
        </p:txBody>
      </p:sp>
      <p:grpSp>
        <p:nvGrpSpPr>
          <p:cNvPr id="4" name="Group 3">
            <a:extLst>
              <a:ext uri="{FF2B5EF4-FFF2-40B4-BE49-F238E27FC236}">
                <a16:creationId xmlns:a16="http://schemas.microsoft.com/office/drawing/2014/main" id="{D405E367-2E88-45E1-820A-BD39D1A17EFF}"/>
              </a:ext>
            </a:extLst>
          </p:cNvPr>
          <p:cNvGrpSpPr/>
          <p:nvPr/>
        </p:nvGrpSpPr>
        <p:grpSpPr>
          <a:xfrm>
            <a:off x="3300378" y="1293966"/>
            <a:ext cx="5189043" cy="4780174"/>
            <a:chOff x="3962401" y="1590675"/>
            <a:chExt cx="3601444" cy="3389524"/>
          </a:xfrm>
        </p:grpSpPr>
        <p:sp>
          <p:nvSpPr>
            <p:cNvPr id="8" name="Freihandform: Form 7">
              <a:extLst>
                <a:ext uri="{FF2B5EF4-FFF2-40B4-BE49-F238E27FC236}">
                  <a16:creationId xmlns:a16="http://schemas.microsoft.com/office/drawing/2014/main" id="{5C645B93-7524-4C8A-98C8-858BB220C093}"/>
                </a:ext>
              </a:extLst>
            </p:cNvPr>
            <p:cNvSpPr/>
            <p:nvPr/>
          </p:nvSpPr>
          <p:spPr>
            <a:xfrm>
              <a:off x="3962401" y="1590675"/>
              <a:ext cx="3601444" cy="3389524"/>
            </a:xfrm>
            <a:custGeom>
              <a:avLst/>
              <a:gdLst>
                <a:gd name="connsiteX0" fmla="*/ 2300405 w 3190875"/>
                <a:gd name="connsiteY0" fmla="*/ 109 h 3000375"/>
                <a:gd name="connsiteX1" fmla="*/ 1591745 w 3190875"/>
                <a:gd name="connsiteY1" fmla="*/ 372537 h 3000375"/>
                <a:gd name="connsiteX2" fmla="*/ 872607 w 3190875"/>
                <a:gd name="connsiteY2" fmla="*/ 22017 h 3000375"/>
                <a:gd name="connsiteX3" fmla="*/ 118 w 3190875"/>
                <a:gd name="connsiteY3" fmla="*/ 918319 h 3000375"/>
                <a:gd name="connsiteX4" fmla="*/ 50600 w 3190875"/>
                <a:gd name="connsiteY4" fmla="*/ 1204069 h 3000375"/>
                <a:gd name="connsiteX5" fmla="*/ 1461252 w 3190875"/>
                <a:gd name="connsiteY5" fmla="*/ 2938572 h 3000375"/>
                <a:gd name="connsiteX6" fmla="*/ 1799390 w 3190875"/>
                <a:gd name="connsiteY6" fmla="*/ 2933810 h 3000375"/>
                <a:gd name="connsiteX7" fmla="*/ 3149082 w 3190875"/>
                <a:gd name="connsiteY7" fmla="*/ 1182162 h 3000375"/>
                <a:gd name="connsiteX8" fmla="*/ 3199565 w 3190875"/>
                <a:gd name="connsiteY8" fmla="*/ 873552 h 3000375"/>
                <a:gd name="connsiteX9" fmla="*/ 2300405 w 3190875"/>
                <a:gd name="connsiteY9" fmla="*/ 109 h 3000375"/>
                <a:gd name="connsiteX10" fmla="*/ 2300405 w 3190875"/>
                <a:gd name="connsiteY10" fmla="*/ 109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90875" h="3000375">
                  <a:moveTo>
                    <a:pt x="2300405" y="109"/>
                  </a:moveTo>
                  <a:cubicBezTo>
                    <a:pt x="2019418" y="3919"/>
                    <a:pt x="1755575" y="142984"/>
                    <a:pt x="1591745" y="372537"/>
                  </a:cubicBezTo>
                  <a:cubicBezTo>
                    <a:pt x="1421248" y="148699"/>
                    <a:pt x="1153595" y="17254"/>
                    <a:pt x="872607" y="22017"/>
                  </a:cubicBezTo>
                  <a:cubicBezTo>
                    <a:pt x="384927" y="29637"/>
                    <a:pt x="-5598" y="431592"/>
                    <a:pt x="118" y="918319"/>
                  </a:cubicBezTo>
                  <a:cubicBezTo>
                    <a:pt x="-835" y="932607"/>
                    <a:pt x="2975" y="1088817"/>
                    <a:pt x="50600" y="1204069"/>
                  </a:cubicBezTo>
                  <a:cubicBezTo>
                    <a:pt x="165852" y="1565067"/>
                    <a:pt x="503990" y="2158475"/>
                    <a:pt x="1461252" y="2938572"/>
                  </a:cubicBezTo>
                  <a:cubicBezTo>
                    <a:pt x="1572695" y="3038585"/>
                    <a:pt x="1708902" y="3024297"/>
                    <a:pt x="1799390" y="2933810"/>
                  </a:cubicBezTo>
                  <a:cubicBezTo>
                    <a:pt x="2715695" y="2139425"/>
                    <a:pt x="3039545" y="1543159"/>
                    <a:pt x="3149082" y="1182162"/>
                  </a:cubicBezTo>
                  <a:cubicBezTo>
                    <a:pt x="3198613" y="1041192"/>
                    <a:pt x="3199565" y="877362"/>
                    <a:pt x="3199565" y="873552"/>
                  </a:cubicBezTo>
                  <a:cubicBezTo>
                    <a:pt x="3192898" y="383967"/>
                    <a:pt x="2789038" y="-7511"/>
                    <a:pt x="2300405" y="109"/>
                  </a:cubicBezTo>
                  <a:lnTo>
                    <a:pt x="2300405" y="109"/>
                  </a:lnTo>
                  <a:close/>
                </a:path>
              </a:pathLst>
            </a:custGeom>
            <a:solidFill>
              <a:srgbClr val="FFFFFF"/>
            </a:solidFill>
            <a:ln w="9525"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275C2ED3-C477-40BA-9A0B-F2FE32C1C04B}"/>
                </a:ext>
              </a:extLst>
            </p:cNvPr>
            <p:cNvSpPr/>
            <p:nvPr/>
          </p:nvSpPr>
          <p:spPr>
            <a:xfrm>
              <a:off x="4133850" y="1762125"/>
              <a:ext cx="3297549" cy="3073791"/>
            </a:xfrm>
            <a:custGeom>
              <a:avLst/>
              <a:gdLst>
                <a:gd name="connsiteX0" fmla="*/ 2116912 w 2876550"/>
                <a:gd name="connsiteY0" fmla="*/ 953 h 2676525"/>
                <a:gd name="connsiteX1" fmla="*/ 2877960 w 2876550"/>
                <a:gd name="connsiteY1" fmla="*/ 762000 h 2676525"/>
                <a:gd name="connsiteX2" fmla="*/ 2877960 w 2876550"/>
                <a:gd name="connsiteY2" fmla="*/ 777240 h 2676525"/>
                <a:gd name="connsiteX3" fmla="*/ 2877007 w 2876550"/>
                <a:gd name="connsiteY3" fmla="*/ 797243 h 2676525"/>
                <a:gd name="connsiteX4" fmla="*/ 2830335 w 2876550"/>
                <a:gd name="connsiteY4" fmla="*/ 1028700 h 2676525"/>
                <a:gd name="connsiteX5" fmla="*/ 1548270 w 2876550"/>
                <a:gd name="connsiteY5" fmla="*/ 2636520 h 2676525"/>
                <a:gd name="connsiteX6" fmla="*/ 1439685 w 2876550"/>
                <a:gd name="connsiteY6" fmla="*/ 2676525 h 2676525"/>
                <a:gd name="connsiteX7" fmla="*/ 1331100 w 2876550"/>
                <a:gd name="connsiteY7" fmla="*/ 2636520 h 2676525"/>
                <a:gd name="connsiteX8" fmla="*/ 40462 w 2876550"/>
                <a:gd name="connsiteY8" fmla="*/ 1004888 h 2676525"/>
                <a:gd name="connsiteX9" fmla="*/ 6172 w 2876550"/>
                <a:gd name="connsiteY9" fmla="*/ 855345 h 2676525"/>
                <a:gd name="connsiteX10" fmla="*/ 457 w 2876550"/>
                <a:gd name="connsiteY10" fmla="*/ 761048 h 2676525"/>
                <a:gd name="connsiteX11" fmla="*/ 761505 w 2876550"/>
                <a:gd name="connsiteY11" fmla="*/ 0 h 2676525"/>
                <a:gd name="connsiteX12" fmla="*/ 1377773 w 2876550"/>
                <a:gd name="connsiteY12" fmla="*/ 315278 h 2676525"/>
                <a:gd name="connsiteX13" fmla="*/ 1439685 w 2876550"/>
                <a:gd name="connsiteY13" fmla="*/ 346710 h 2676525"/>
                <a:gd name="connsiteX14" fmla="*/ 1501598 w 2876550"/>
                <a:gd name="connsiteY14" fmla="*/ 315278 h 2676525"/>
                <a:gd name="connsiteX15" fmla="*/ 2116912 w 2876550"/>
                <a:gd name="connsiteY15" fmla="*/ 953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6550" h="2676525">
                  <a:moveTo>
                    <a:pt x="2116912" y="953"/>
                  </a:moveTo>
                  <a:cubicBezTo>
                    <a:pt x="2536965" y="953"/>
                    <a:pt x="2877960" y="341948"/>
                    <a:pt x="2877960" y="762000"/>
                  </a:cubicBezTo>
                  <a:cubicBezTo>
                    <a:pt x="2877960" y="766763"/>
                    <a:pt x="2877960" y="772478"/>
                    <a:pt x="2877960" y="777240"/>
                  </a:cubicBezTo>
                  <a:cubicBezTo>
                    <a:pt x="2877960" y="782003"/>
                    <a:pt x="2877960" y="788670"/>
                    <a:pt x="2877007" y="797243"/>
                  </a:cubicBezTo>
                  <a:cubicBezTo>
                    <a:pt x="2873198" y="878205"/>
                    <a:pt x="2857005" y="956310"/>
                    <a:pt x="2830335" y="1028700"/>
                  </a:cubicBezTo>
                  <a:cubicBezTo>
                    <a:pt x="2732228" y="1333500"/>
                    <a:pt x="2436953" y="1889760"/>
                    <a:pt x="1548270" y="2636520"/>
                  </a:cubicBezTo>
                  <a:cubicBezTo>
                    <a:pt x="1516837" y="2663190"/>
                    <a:pt x="1478737" y="2676525"/>
                    <a:pt x="1439685" y="2676525"/>
                  </a:cubicBezTo>
                  <a:cubicBezTo>
                    <a:pt x="1400632" y="2676525"/>
                    <a:pt x="1362532" y="2663190"/>
                    <a:pt x="1331100" y="2636520"/>
                  </a:cubicBezTo>
                  <a:cubicBezTo>
                    <a:pt x="419557" y="1869758"/>
                    <a:pt x="130950" y="1304925"/>
                    <a:pt x="40462" y="1004888"/>
                  </a:cubicBezTo>
                  <a:cubicBezTo>
                    <a:pt x="24270" y="957263"/>
                    <a:pt x="12840" y="906780"/>
                    <a:pt x="6172" y="855345"/>
                  </a:cubicBezTo>
                  <a:cubicBezTo>
                    <a:pt x="-2400" y="793433"/>
                    <a:pt x="457" y="761048"/>
                    <a:pt x="457" y="761048"/>
                  </a:cubicBezTo>
                  <a:cubicBezTo>
                    <a:pt x="457" y="340995"/>
                    <a:pt x="341453" y="0"/>
                    <a:pt x="761505" y="0"/>
                  </a:cubicBezTo>
                  <a:cubicBezTo>
                    <a:pt x="1014870" y="0"/>
                    <a:pt x="1239660" y="124778"/>
                    <a:pt x="1377773" y="315278"/>
                  </a:cubicBezTo>
                  <a:cubicBezTo>
                    <a:pt x="1393012" y="336233"/>
                    <a:pt x="1415873" y="346710"/>
                    <a:pt x="1439685" y="346710"/>
                  </a:cubicBezTo>
                  <a:cubicBezTo>
                    <a:pt x="1463498" y="346710"/>
                    <a:pt x="1486357" y="336233"/>
                    <a:pt x="1501598" y="315278"/>
                  </a:cubicBezTo>
                  <a:cubicBezTo>
                    <a:pt x="1638757" y="124778"/>
                    <a:pt x="1863548" y="953"/>
                    <a:pt x="2116912" y="953"/>
                  </a:cubicBezTo>
                </a:path>
              </a:pathLst>
            </a:custGeom>
            <a:solidFill>
              <a:schemeClr val="accent1"/>
            </a:solidFill>
            <a:ln w="9525" cap="flat">
              <a:noFill/>
              <a:prstDash val="solid"/>
              <a:miter/>
            </a:ln>
          </p:spPr>
          <p:txBody>
            <a:bodyPr rtlCol="0" anchor="ctr"/>
            <a:lstStyle/>
            <a:p>
              <a:endParaRPr lang="de-DE"/>
            </a:p>
          </p:txBody>
        </p:sp>
      </p:grpSp>
      <p:sp>
        <p:nvSpPr>
          <p:cNvPr id="10" name="Freihandform: Form 9">
            <a:extLst>
              <a:ext uri="{FF2B5EF4-FFF2-40B4-BE49-F238E27FC236}">
                <a16:creationId xmlns:a16="http://schemas.microsoft.com/office/drawing/2014/main" id="{3A440571-F465-4E3D-BAFF-870521B56E34}"/>
              </a:ext>
            </a:extLst>
          </p:cNvPr>
          <p:cNvSpPr/>
          <p:nvPr/>
        </p:nvSpPr>
        <p:spPr>
          <a:xfrm>
            <a:off x="8029470" y="2535901"/>
            <a:ext cx="4751809" cy="1932125"/>
          </a:xfrm>
          <a:custGeom>
            <a:avLst/>
            <a:gdLst>
              <a:gd name="connsiteX0" fmla="*/ 1145857 w 5172392"/>
              <a:gd name="connsiteY0" fmla="*/ 17 h 2103137"/>
              <a:gd name="connsiteX1" fmla="*/ 1267777 w 5172392"/>
              <a:gd name="connsiteY1" fmla="*/ 101935 h 2103137"/>
              <a:gd name="connsiteX2" fmla="*/ 1527810 w 5172392"/>
              <a:gd name="connsiteY2" fmla="*/ 1783097 h 2103137"/>
              <a:gd name="connsiteX3" fmla="*/ 1728788 w 5172392"/>
              <a:gd name="connsiteY3" fmla="*/ 852505 h 2103137"/>
              <a:gd name="connsiteX4" fmla="*/ 1837373 w 5172392"/>
              <a:gd name="connsiteY4" fmla="*/ 758207 h 2103137"/>
              <a:gd name="connsiteX5" fmla="*/ 1967865 w 5172392"/>
              <a:gd name="connsiteY5" fmla="*/ 823930 h 2103137"/>
              <a:gd name="connsiteX6" fmla="*/ 2085975 w 5172392"/>
              <a:gd name="connsiteY6" fmla="*/ 1039195 h 2103137"/>
              <a:gd name="connsiteX7" fmla="*/ 2143125 w 5172392"/>
              <a:gd name="connsiteY7" fmla="*/ 1066817 h 2103137"/>
              <a:gd name="connsiteX8" fmla="*/ 2574869 w 5172392"/>
              <a:gd name="connsiteY8" fmla="*/ 1066817 h 2103137"/>
              <a:gd name="connsiteX9" fmla="*/ 2575877 w 5172392"/>
              <a:gd name="connsiteY9" fmla="*/ 1064912 h 2103137"/>
              <a:gd name="connsiteX10" fmla="*/ 2728277 w 5172392"/>
              <a:gd name="connsiteY10" fmla="*/ 1064912 h 2103137"/>
              <a:gd name="connsiteX11" fmla="*/ 2803525 w 5172392"/>
              <a:gd name="connsiteY11" fmla="*/ 1025860 h 2103137"/>
              <a:gd name="connsiteX12" fmla="*/ 2878773 w 5172392"/>
              <a:gd name="connsiteY12" fmla="*/ 850600 h 2103137"/>
              <a:gd name="connsiteX13" fmla="*/ 3014027 w 5172392"/>
              <a:gd name="connsiteY13" fmla="*/ 767732 h 2103137"/>
              <a:gd name="connsiteX14" fmla="*/ 3145473 w 5172392"/>
              <a:gd name="connsiteY14" fmla="*/ 855362 h 2103137"/>
              <a:gd name="connsiteX15" fmla="*/ 3272155 w 5172392"/>
              <a:gd name="connsiteY15" fmla="*/ 1181117 h 2103137"/>
              <a:gd name="connsiteX16" fmla="*/ 3507423 w 5172392"/>
              <a:gd name="connsiteY16" fmla="*/ 96220 h 2103137"/>
              <a:gd name="connsiteX17" fmla="*/ 3635057 w 5172392"/>
              <a:gd name="connsiteY17" fmla="*/ 17 h 2103137"/>
              <a:gd name="connsiteX18" fmla="*/ 3756977 w 5172392"/>
              <a:gd name="connsiteY18" fmla="*/ 101935 h 2103137"/>
              <a:gd name="connsiteX19" fmla="*/ 4017010 w 5172392"/>
              <a:gd name="connsiteY19" fmla="*/ 1783097 h 2103137"/>
              <a:gd name="connsiteX20" fmla="*/ 4217988 w 5172392"/>
              <a:gd name="connsiteY20" fmla="*/ 852505 h 2103137"/>
              <a:gd name="connsiteX21" fmla="*/ 4326573 w 5172392"/>
              <a:gd name="connsiteY21" fmla="*/ 758207 h 2103137"/>
              <a:gd name="connsiteX22" fmla="*/ 4457065 w 5172392"/>
              <a:gd name="connsiteY22" fmla="*/ 823930 h 2103137"/>
              <a:gd name="connsiteX23" fmla="*/ 4575175 w 5172392"/>
              <a:gd name="connsiteY23" fmla="*/ 1039195 h 2103137"/>
              <a:gd name="connsiteX24" fmla="*/ 4632325 w 5172392"/>
              <a:gd name="connsiteY24" fmla="*/ 1066817 h 2103137"/>
              <a:gd name="connsiteX25" fmla="*/ 5089525 w 5172392"/>
              <a:gd name="connsiteY25" fmla="*/ 1066817 h 2103137"/>
              <a:gd name="connsiteX26" fmla="*/ 5172392 w 5172392"/>
              <a:gd name="connsiteY26" fmla="*/ 1145875 h 2103137"/>
              <a:gd name="connsiteX27" fmla="*/ 5090477 w 5172392"/>
              <a:gd name="connsiteY27" fmla="*/ 1227790 h 2103137"/>
              <a:gd name="connsiteX28" fmla="*/ 4633277 w 5172392"/>
              <a:gd name="connsiteY28" fmla="*/ 1227790 h 2103137"/>
              <a:gd name="connsiteX29" fmla="*/ 4430396 w 5172392"/>
              <a:gd name="connsiteY29" fmla="*/ 1110632 h 2103137"/>
              <a:gd name="connsiteX30" fmla="*/ 4358958 w 5172392"/>
              <a:gd name="connsiteY30" fmla="*/ 980140 h 2103137"/>
              <a:gd name="connsiteX31" fmla="*/ 4137977 w 5172392"/>
              <a:gd name="connsiteY31" fmla="*/ 2006935 h 2103137"/>
              <a:gd name="connsiteX32" fmla="*/ 4013200 w 5172392"/>
              <a:gd name="connsiteY32" fmla="*/ 2103137 h 2103137"/>
              <a:gd name="connsiteX33" fmla="*/ 4009390 w 5172392"/>
              <a:gd name="connsiteY33" fmla="*/ 2103137 h 2103137"/>
              <a:gd name="connsiteX34" fmla="*/ 3887471 w 5172392"/>
              <a:gd name="connsiteY34" fmla="*/ 2001220 h 2103137"/>
              <a:gd name="connsiteX35" fmla="*/ 3627438 w 5172392"/>
              <a:gd name="connsiteY35" fmla="*/ 319105 h 2103137"/>
              <a:gd name="connsiteX36" fmla="*/ 3407410 w 5172392"/>
              <a:gd name="connsiteY36" fmla="*/ 1331612 h 2103137"/>
              <a:gd name="connsiteX37" fmla="*/ 3293110 w 5172392"/>
              <a:gd name="connsiteY37" fmla="*/ 1426862 h 2103137"/>
              <a:gd name="connsiteX38" fmla="*/ 3162618 w 5172392"/>
              <a:gd name="connsiteY38" fmla="*/ 1348757 h 2103137"/>
              <a:gd name="connsiteX39" fmla="*/ 3011170 w 5172392"/>
              <a:gd name="connsiteY39" fmla="*/ 959185 h 2103137"/>
              <a:gd name="connsiteX40" fmla="*/ 2954973 w 5172392"/>
              <a:gd name="connsiteY40" fmla="*/ 1089677 h 2103137"/>
              <a:gd name="connsiteX41" fmla="*/ 2728277 w 5172392"/>
              <a:gd name="connsiteY41" fmla="*/ 1228742 h 2103137"/>
              <a:gd name="connsiteX42" fmla="*/ 2489200 w 5172392"/>
              <a:gd name="connsiteY42" fmla="*/ 1228742 h 2103137"/>
              <a:gd name="connsiteX43" fmla="*/ 2489704 w 5172392"/>
              <a:gd name="connsiteY43" fmla="*/ 1227790 h 2103137"/>
              <a:gd name="connsiteX44" fmla="*/ 2144077 w 5172392"/>
              <a:gd name="connsiteY44" fmla="*/ 1227790 h 2103137"/>
              <a:gd name="connsiteX45" fmla="*/ 1941196 w 5172392"/>
              <a:gd name="connsiteY45" fmla="*/ 1110632 h 2103137"/>
              <a:gd name="connsiteX46" fmla="*/ 1869758 w 5172392"/>
              <a:gd name="connsiteY46" fmla="*/ 980140 h 2103137"/>
              <a:gd name="connsiteX47" fmla="*/ 1648777 w 5172392"/>
              <a:gd name="connsiteY47" fmla="*/ 2006935 h 2103137"/>
              <a:gd name="connsiteX48" fmla="*/ 1524000 w 5172392"/>
              <a:gd name="connsiteY48" fmla="*/ 2103137 h 2103137"/>
              <a:gd name="connsiteX49" fmla="*/ 1520190 w 5172392"/>
              <a:gd name="connsiteY49" fmla="*/ 2103137 h 2103137"/>
              <a:gd name="connsiteX50" fmla="*/ 1398271 w 5172392"/>
              <a:gd name="connsiteY50" fmla="*/ 2001220 h 2103137"/>
              <a:gd name="connsiteX51" fmla="*/ 1138238 w 5172392"/>
              <a:gd name="connsiteY51" fmla="*/ 319105 h 2103137"/>
              <a:gd name="connsiteX52" fmla="*/ 918210 w 5172392"/>
              <a:gd name="connsiteY52" fmla="*/ 1331612 h 2103137"/>
              <a:gd name="connsiteX53" fmla="*/ 803910 w 5172392"/>
              <a:gd name="connsiteY53" fmla="*/ 1426862 h 2103137"/>
              <a:gd name="connsiteX54" fmla="*/ 673418 w 5172392"/>
              <a:gd name="connsiteY54" fmla="*/ 1348757 h 2103137"/>
              <a:gd name="connsiteX55" fmla="*/ 521970 w 5172392"/>
              <a:gd name="connsiteY55" fmla="*/ 959185 h 2103137"/>
              <a:gd name="connsiteX56" fmla="*/ 465773 w 5172392"/>
              <a:gd name="connsiteY56" fmla="*/ 1089677 h 2103137"/>
              <a:gd name="connsiteX57" fmla="*/ 239077 w 5172392"/>
              <a:gd name="connsiteY57" fmla="*/ 1228742 h 2103137"/>
              <a:gd name="connsiteX58" fmla="*/ 0 w 5172392"/>
              <a:gd name="connsiteY58" fmla="*/ 1228742 h 2103137"/>
              <a:gd name="connsiteX59" fmla="*/ 86677 w 5172392"/>
              <a:gd name="connsiteY59" fmla="*/ 1064912 h 2103137"/>
              <a:gd name="connsiteX60" fmla="*/ 239077 w 5172392"/>
              <a:gd name="connsiteY60" fmla="*/ 1064912 h 2103137"/>
              <a:gd name="connsiteX61" fmla="*/ 314325 w 5172392"/>
              <a:gd name="connsiteY61" fmla="*/ 1025860 h 2103137"/>
              <a:gd name="connsiteX62" fmla="*/ 389573 w 5172392"/>
              <a:gd name="connsiteY62" fmla="*/ 850600 h 2103137"/>
              <a:gd name="connsiteX63" fmla="*/ 524827 w 5172392"/>
              <a:gd name="connsiteY63" fmla="*/ 767732 h 2103137"/>
              <a:gd name="connsiteX64" fmla="*/ 656273 w 5172392"/>
              <a:gd name="connsiteY64" fmla="*/ 855362 h 2103137"/>
              <a:gd name="connsiteX65" fmla="*/ 782955 w 5172392"/>
              <a:gd name="connsiteY65" fmla="*/ 1181117 h 2103137"/>
              <a:gd name="connsiteX66" fmla="*/ 1018223 w 5172392"/>
              <a:gd name="connsiteY66" fmla="*/ 96220 h 2103137"/>
              <a:gd name="connsiteX67" fmla="*/ 1145857 w 5172392"/>
              <a:gd name="connsiteY67" fmla="*/ 17 h 210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172392" h="2103137">
                <a:moveTo>
                  <a:pt x="1145857" y="17"/>
                </a:moveTo>
                <a:cubicBezTo>
                  <a:pt x="1207771" y="1922"/>
                  <a:pt x="1258252" y="43832"/>
                  <a:pt x="1267777" y="101935"/>
                </a:cubicBezTo>
                <a:lnTo>
                  <a:pt x="1527810" y="1783097"/>
                </a:lnTo>
                <a:lnTo>
                  <a:pt x="1728788" y="852505"/>
                </a:lnTo>
                <a:cubicBezTo>
                  <a:pt x="1740217" y="802022"/>
                  <a:pt x="1783080" y="764875"/>
                  <a:pt x="1837373" y="758207"/>
                </a:cubicBezTo>
                <a:cubicBezTo>
                  <a:pt x="1891665" y="751540"/>
                  <a:pt x="1944052" y="778210"/>
                  <a:pt x="1967865" y="823930"/>
                </a:cubicBezTo>
                <a:lnTo>
                  <a:pt x="2085975" y="1039195"/>
                </a:lnTo>
                <a:cubicBezTo>
                  <a:pt x="2092642" y="1052530"/>
                  <a:pt x="2114550" y="1066817"/>
                  <a:pt x="2143125" y="1066817"/>
                </a:cubicBezTo>
                <a:lnTo>
                  <a:pt x="2574869" y="1066817"/>
                </a:lnTo>
                <a:lnTo>
                  <a:pt x="2575877" y="1064912"/>
                </a:lnTo>
                <a:lnTo>
                  <a:pt x="2728277" y="1064912"/>
                </a:lnTo>
                <a:cubicBezTo>
                  <a:pt x="2761615" y="1064912"/>
                  <a:pt x="2794000" y="1048720"/>
                  <a:pt x="2803525" y="1025860"/>
                </a:cubicBezTo>
                <a:lnTo>
                  <a:pt x="2878773" y="850600"/>
                </a:lnTo>
                <a:cubicBezTo>
                  <a:pt x="2901632" y="799165"/>
                  <a:pt x="2954973" y="766780"/>
                  <a:pt x="3014027" y="767732"/>
                </a:cubicBezTo>
                <a:cubicBezTo>
                  <a:pt x="3074035" y="769637"/>
                  <a:pt x="3125470" y="802975"/>
                  <a:pt x="3145473" y="855362"/>
                </a:cubicBezTo>
                <a:lnTo>
                  <a:pt x="3272155" y="1181117"/>
                </a:lnTo>
                <a:lnTo>
                  <a:pt x="3507423" y="96220"/>
                </a:lnTo>
                <a:cubicBezTo>
                  <a:pt x="3519805" y="38117"/>
                  <a:pt x="3572193" y="-935"/>
                  <a:pt x="3635057" y="17"/>
                </a:cubicBezTo>
                <a:cubicBezTo>
                  <a:pt x="3696971" y="1922"/>
                  <a:pt x="3747452" y="43832"/>
                  <a:pt x="3756977" y="101935"/>
                </a:cubicBezTo>
                <a:lnTo>
                  <a:pt x="4017010" y="1783097"/>
                </a:lnTo>
                <a:lnTo>
                  <a:pt x="4217988" y="852505"/>
                </a:lnTo>
                <a:cubicBezTo>
                  <a:pt x="4229417" y="802022"/>
                  <a:pt x="4272280" y="764875"/>
                  <a:pt x="4326573" y="758207"/>
                </a:cubicBezTo>
                <a:cubicBezTo>
                  <a:pt x="4380865" y="751540"/>
                  <a:pt x="4433252" y="778210"/>
                  <a:pt x="4457065" y="823930"/>
                </a:cubicBezTo>
                <a:lnTo>
                  <a:pt x="4575175" y="1039195"/>
                </a:lnTo>
                <a:cubicBezTo>
                  <a:pt x="4581842" y="1052530"/>
                  <a:pt x="4603750" y="1066817"/>
                  <a:pt x="4632325" y="1066817"/>
                </a:cubicBezTo>
                <a:lnTo>
                  <a:pt x="5089525" y="1066817"/>
                </a:lnTo>
                <a:cubicBezTo>
                  <a:pt x="5134292" y="1066817"/>
                  <a:pt x="5171440" y="1103012"/>
                  <a:pt x="5172392" y="1145875"/>
                </a:cubicBezTo>
                <a:cubicBezTo>
                  <a:pt x="5172392" y="1190642"/>
                  <a:pt x="5136198" y="1227790"/>
                  <a:pt x="5090477" y="1227790"/>
                </a:cubicBezTo>
                <a:lnTo>
                  <a:pt x="4633277" y="1227790"/>
                </a:lnTo>
                <a:cubicBezTo>
                  <a:pt x="4546600" y="1227790"/>
                  <a:pt x="4466590" y="1181117"/>
                  <a:pt x="4430396" y="1110632"/>
                </a:cubicBezTo>
                <a:lnTo>
                  <a:pt x="4358958" y="980140"/>
                </a:lnTo>
                <a:lnTo>
                  <a:pt x="4137977" y="2006935"/>
                </a:lnTo>
                <a:cubicBezTo>
                  <a:pt x="4124642" y="2064085"/>
                  <a:pt x="4074160" y="2103137"/>
                  <a:pt x="4013200" y="2103137"/>
                </a:cubicBezTo>
                <a:cubicBezTo>
                  <a:pt x="4012248" y="2103137"/>
                  <a:pt x="4010342" y="2103137"/>
                  <a:pt x="4009390" y="2103137"/>
                </a:cubicBezTo>
                <a:cubicBezTo>
                  <a:pt x="3947477" y="2101232"/>
                  <a:pt x="3896996" y="2059322"/>
                  <a:pt x="3887471" y="2001220"/>
                </a:cubicBezTo>
                <a:lnTo>
                  <a:pt x="3627438" y="319105"/>
                </a:lnTo>
                <a:lnTo>
                  <a:pt x="3407410" y="1331612"/>
                </a:lnTo>
                <a:cubicBezTo>
                  <a:pt x="3395980" y="1384000"/>
                  <a:pt x="3350260" y="1422100"/>
                  <a:pt x="3293110" y="1426862"/>
                </a:cubicBezTo>
                <a:cubicBezTo>
                  <a:pt x="3235007" y="1431625"/>
                  <a:pt x="3182620" y="1400192"/>
                  <a:pt x="3162618" y="1348757"/>
                </a:cubicBezTo>
                <a:lnTo>
                  <a:pt x="3011170" y="959185"/>
                </a:lnTo>
                <a:lnTo>
                  <a:pt x="2954973" y="1089677"/>
                </a:lnTo>
                <a:cubicBezTo>
                  <a:pt x="2918777" y="1174450"/>
                  <a:pt x="2829243" y="1228742"/>
                  <a:pt x="2728277" y="1228742"/>
                </a:cubicBezTo>
                <a:lnTo>
                  <a:pt x="2489200" y="1228742"/>
                </a:lnTo>
                <a:lnTo>
                  <a:pt x="2489704" y="1227790"/>
                </a:lnTo>
                <a:lnTo>
                  <a:pt x="2144077" y="1227790"/>
                </a:lnTo>
                <a:cubicBezTo>
                  <a:pt x="2057400" y="1227790"/>
                  <a:pt x="1977390" y="1181117"/>
                  <a:pt x="1941196" y="1110632"/>
                </a:cubicBezTo>
                <a:lnTo>
                  <a:pt x="1869758" y="980140"/>
                </a:lnTo>
                <a:lnTo>
                  <a:pt x="1648777" y="2006935"/>
                </a:lnTo>
                <a:cubicBezTo>
                  <a:pt x="1635442" y="2064085"/>
                  <a:pt x="1584960" y="2103137"/>
                  <a:pt x="1524000" y="2103137"/>
                </a:cubicBezTo>
                <a:cubicBezTo>
                  <a:pt x="1523048" y="2103137"/>
                  <a:pt x="1521142" y="2103137"/>
                  <a:pt x="1520190" y="2103137"/>
                </a:cubicBezTo>
                <a:cubicBezTo>
                  <a:pt x="1458277" y="2101232"/>
                  <a:pt x="1407796" y="2059322"/>
                  <a:pt x="1398271" y="2001220"/>
                </a:cubicBezTo>
                <a:lnTo>
                  <a:pt x="1138238" y="319105"/>
                </a:lnTo>
                <a:lnTo>
                  <a:pt x="918210" y="1331612"/>
                </a:lnTo>
                <a:cubicBezTo>
                  <a:pt x="906780" y="1384000"/>
                  <a:pt x="861060" y="1422100"/>
                  <a:pt x="803910" y="1426862"/>
                </a:cubicBezTo>
                <a:cubicBezTo>
                  <a:pt x="745807" y="1431625"/>
                  <a:pt x="693420" y="1400192"/>
                  <a:pt x="673418" y="1348757"/>
                </a:cubicBezTo>
                <a:lnTo>
                  <a:pt x="521970" y="959185"/>
                </a:lnTo>
                <a:lnTo>
                  <a:pt x="465773" y="1089677"/>
                </a:lnTo>
                <a:cubicBezTo>
                  <a:pt x="429577" y="1174450"/>
                  <a:pt x="340043" y="1228742"/>
                  <a:pt x="239077" y="1228742"/>
                </a:cubicBezTo>
                <a:lnTo>
                  <a:pt x="0" y="1228742"/>
                </a:lnTo>
                <a:cubicBezTo>
                  <a:pt x="32385" y="1171592"/>
                  <a:pt x="60960" y="1117300"/>
                  <a:pt x="86677" y="1064912"/>
                </a:cubicBezTo>
                <a:lnTo>
                  <a:pt x="239077" y="1064912"/>
                </a:lnTo>
                <a:cubicBezTo>
                  <a:pt x="272415" y="1064912"/>
                  <a:pt x="304800" y="1048720"/>
                  <a:pt x="314325" y="1025860"/>
                </a:cubicBezTo>
                <a:lnTo>
                  <a:pt x="389573" y="850600"/>
                </a:lnTo>
                <a:cubicBezTo>
                  <a:pt x="412432" y="799165"/>
                  <a:pt x="465773" y="766780"/>
                  <a:pt x="524827" y="767732"/>
                </a:cubicBezTo>
                <a:cubicBezTo>
                  <a:pt x="584835" y="769637"/>
                  <a:pt x="636270" y="802975"/>
                  <a:pt x="656273" y="855362"/>
                </a:cubicBezTo>
                <a:lnTo>
                  <a:pt x="782955" y="1181117"/>
                </a:lnTo>
                <a:lnTo>
                  <a:pt x="1018223" y="96220"/>
                </a:lnTo>
                <a:cubicBezTo>
                  <a:pt x="1030605" y="38117"/>
                  <a:pt x="1082993" y="-935"/>
                  <a:pt x="1145857" y="17"/>
                </a:cubicBezTo>
                <a:close/>
              </a:path>
            </a:pathLst>
          </a:custGeom>
          <a:solidFill>
            <a:srgbClr val="FFFFFF"/>
          </a:solidFill>
          <a:ln w="9525" cap="flat">
            <a:noFill/>
            <a:prstDash val="solid"/>
            <a:miter/>
          </a:ln>
        </p:spPr>
        <p:txBody>
          <a:bodyPr rtlCol="0" anchor="ctr"/>
          <a:lstStyle/>
          <a:p>
            <a:endParaRPr lang="de-DE"/>
          </a:p>
        </p:txBody>
      </p:sp>
      <p:sp>
        <p:nvSpPr>
          <p:cNvPr id="11" name="Rechteck 10">
            <a:extLst>
              <a:ext uri="{FF2B5EF4-FFF2-40B4-BE49-F238E27FC236}">
                <a16:creationId xmlns:a16="http://schemas.microsoft.com/office/drawing/2014/main" id="{42369BF3-715F-419F-963F-DDC4612D52AC}"/>
              </a:ext>
            </a:extLst>
          </p:cNvPr>
          <p:cNvSpPr/>
          <p:nvPr/>
        </p:nvSpPr>
        <p:spPr bwMode="gray">
          <a:xfrm>
            <a:off x="4291470" y="3205591"/>
            <a:ext cx="3154401" cy="59274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105000"/>
              </a:lnSpc>
            </a:pPr>
            <a:r>
              <a:rPr lang="en-US" sz="2800" b="1" dirty="0">
                <a:solidFill>
                  <a:schemeClr val="bg1"/>
                </a:solidFill>
              </a:rPr>
              <a:t>We are the </a:t>
            </a:r>
          </a:p>
          <a:p>
            <a:pPr lvl="0" algn="ctr">
              <a:lnSpc>
                <a:spcPct val="105000"/>
              </a:lnSpc>
            </a:pPr>
            <a:r>
              <a:rPr lang="en-US" sz="2800" b="1" dirty="0">
                <a:solidFill>
                  <a:schemeClr val="bg1"/>
                </a:solidFill>
              </a:rPr>
              <a:t>digital heartbeat</a:t>
            </a:r>
          </a:p>
          <a:p>
            <a:pPr lvl="0" algn="ctr">
              <a:lnSpc>
                <a:spcPct val="105000"/>
              </a:lnSpc>
            </a:pPr>
            <a:r>
              <a:rPr lang="en-US" sz="2800" b="1" dirty="0">
                <a:solidFill>
                  <a:schemeClr val="bg1"/>
                </a:solidFill>
              </a:rPr>
              <a:t>of one of the </a:t>
            </a:r>
          </a:p>
          <a:p>
            <a:pPr lvl="0" algn="ctr">
              <a:lnSpc>
                <a:spcPct val="105000"/>
              </a:lnSpc>
            </a:pPr>
            <a:r>
              <a:rPr lang="en-US" sz="2800" b="1" dirty="0">
                <a:solidFill>
                  <a:schemeClr val="bg1"/>
                </a:solidFill>
              </a:rPr>
              <a:t>greatest retailers</a:t>
            </a:r>
          </a:p>
          <a:p>
            <a:pPr lvl="0" algn="ctr">
              <a:lnSpc>
                <a:spcPct val="105000"/>
              </a:lnSpc>
            </a:pPr>
            <a:r>
              <a:rPr lang="en-US" sz="2800" b="1" dirty="0">
                <a:solidFill>
                  <a:schemeClr val="bg1"/>
                </a:solidFill>
              </a:rPr>
              <a:t>in the world.</a:t>
            </a:r>
            <a:endParaRPr lang="en-US" sz="2800" b="1" dirty="0"/>
          </a:p>
        </p:txBody>
      </p:sp>
      <p:sp>
        <p:nvSpPr>
          <p:cNvPr id="3" name="Slide Number Placeholder 2">
            <a:extLst>
              <a:ext uri="{FF2B5EF4-FFF2-40B4-BE49-F238E27FC236}">
                <a16:creationId xmlns:a16="http://schemas.microsoft.com/office/drawing/2014/main" id="{398152C6-756A-46C9-86E7-5B2CAB16EFC0}"/>
              </a:ext>
            </a:extLst>
          </p:cNvPr>
          <p:cNvSpPr>
            <a:spLocks noGrp="1"/>
          </p:cNvSpPr>
          <p:nvPr>
            <p:ph type="sldNum" sz="quarter" idx="12"/>
          </p:nvPr>
        </p:nvSpPr>
        <p:spPr/>
        <p:txBody>
          <a:bodyPr/>
          <a:lstStyle/>
          <a:p>
            <a:fld id="{0C7C1E0B-BD27-42F8-BC6B-2F0636970842}" type="slidenum">
              <a:rPr lang="de-DE" smtClean="0"/>
              <a:pPr/>
              <a:t>42</a:t>
            </a:fld>
            <a:endParaRPr lang="de-DE" dirty="0"/>
          </a:p>
        </p:txBody>
      </p:sp>
    </p:spTree>
    <p:extLst>
      <p:ext uri="{BB962C8B-B14F-4D97-AF65-F5344CB8AC3E}">
        <p14:creationId xmlns:p14="http://schemas.microsoft.com/office/powerpoint/2010/main" val="1182847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9EEA175-DCEF-4AF4-B5E3-46AEE5F9874B}"/>
              </a:ext>
            </a:extLst>
          </p:cNvPr>
          <p:cNvSpPr>
            <a:spLocks noGrp="1"/>
          </p:cNvSpPr>
          <p:nvPr>
            <p:ph type="title"/>
          </p:nvPr>
        </p:nvSpPr>
        <p:spPr>
          <a:xfrm>
            <a:off x="431800" y="428625"/>
            <a:ext cx="11325225" cy="335046"/>
          </a:xfrm>
        </p:spPr>
        <p:txBody>
          <a:bodyPr/>
          <a:lstStyle/>
          <a:p>
            <a:r>
              <a:rPr lang="en-US" dirty="0"/>
              <a:t>Our vision</a:t>
            </a:r>
          </a:p>
        </p:txBody>
      </p:sp>
      <p:grpSp>
        <p:nvGrpSpPr>
          <p:cNvPr id="23" name="Gruppieren 22">
            <a:extLst>
              <a:ext uri="{FF2B5EF4-FFF2-40B4-BE49-F238E27FC236}">
                <a16:creationId xmlns:a16="http://schemas.microsoft.com/office/drawing/2014/main" id="{7E188809-432F-4BC4-9091-83FE6E796A42}"/>
              </a:ext>
            </a:extLst>
          </p:cNvPr>
          <p:cNvGrpSpPr/>
          <p:nvPr/>
        </p:nvGrpSpPr>
        <p:grpSpPr>
          <a:xfrm>
            <a:off x="8804508" y="320871"/>
            <a:ext cx="4139609" cy="902386"/>
            <a:chOff x="456406" y="1924735"/>
            <a:chExt cx="13763941" cy="3000375"/>
          </a:xfrm>
        </p:grpSpPr>
        <p:sp>
          <p:nvSpPr>
            <p:cNvPr id="11" name="Freihandform: Form 10">
              <a:extLst>
                <a:ext uri="{FF2B5EF4-FFF2-40B4-BE49-F238E27FC236}">
                  <a16:creationId xmlns:a16="http://schemas.microsoft.com/office/drawing/2014/main" id="{7D4DFA32-15E6-4754-BDC5-866BABA07F85}"/>
                </a:ext>
              </a:extLst>
            </p:cNvPr>
            <p:cNvSpPr/>
            <p:nvPr/>
          </p:nvSpPr>
          <p:spPr>
            <a:xfrm>
              <a:off x="456406" y="2376264"/>
              <a:ext cx="5648325" cy="2105025"/>
            </a:xfrm>
            <a:custGeom>
              <a:avLst/>
              <a:gdLst>
                <a:gd name="connsiteX0" fmla="*/ 5568315 w 5648325"/>
                <a:gd name="connsiteY0" fmla="*/ 1066865 h 2105025"/>
                <a:gd name="connsiteX1" fmla="*/ 5335905 w 5648325"/>
                <a:gd name="connsiteY1" fmla="*/ 1066865 h 2105025"/>
                <a:gd name="connsiteX2" fmla="*/ 5278755 w 5648325"/>
                <a:gd name="connsiteY2" fmla="*/ 1039243 h 2105025"/>
                <a:gd name="connsiteX3" fmla="*/ 5160645 w 5648325"/>
                <a:gd name="connsiteY3" fmla="*/ 823978 h 2105025"/>
                <a:gd name="connsiteX4" fmla="*/ 5030153 w 5648325"/>
                <a:gd name="connsiteY4" fmla="*/ 758255 h 2105025"/>
                <a:gd name="connsiteX5" fmla="*/ 4921568 w 5648325"/>
                <a:gd name="connsiteY5" fmla="*/ 852553 h 2105025"/>
                <a:gd name="connsiteX6" fmla="*/ 4720590 w 5648325"/>
                <a:gd name="connsiteY6" fmla="*/ 1783145 h 2105025"/>
                <a:gd name="connsiteX7" fmla="*/ 4460558 w 5648325"/>
                <a:gd name="connsiteY7" fmla="*/ 101983 h 2105025"/>
                <a:gd name="connsiteX8" fmla="*/ 4338638 w 5648325"/>
                <a:gd name="connsiteY8" fmla="*/ 65 h 2105025"/>
                <a:gd name="connsiteX9" fmla="*/ 4211003 w 5648325"/>
                <a:gd name="connsiteY9" fmla="*/ 96268 h 2105025"/>
                <a:gd name="connsiteX10" fmla="*/ 3975735 w 5648325"/>
                <a:gd name="connsiteY10" fmla="*/ 1181165 h 2105025"/>
                <a:gd name="connsiteX11" fmla="*/ 3848100 w 5648325"/>
                <a:gd name="connsiteY11" fmla="*/ 856363 h 2105025"/>
                <a:gd name="connsiteX12" fmla="*/ 3716655 w 5648325"/>
                <a:gd name="connsiteY12" fmla="*/ 768733 h 2105025"/>
                <a:gd name="connsiteX13" fmla="*/ 3581400 w 5648325"/>
                <a:gd name="connsiteY13" fmla="*/ 851600 h 2105025"/>
                <a:gd name="connsiteX14" fmla="*/ 3506153 w 5648325"/>
                <a:gd name="connsiteY14" fmla="*/ 1026860 h 2105025"/>
                <a:gd name="connsiteX15" fmla="*/ 3430905 w 5648325"/>
                <a:gd name="connsiteY15" fmla="*/ 1065913 h 2105025"/>
                <a:gd name="connsiteX16" fmla="*/ 3095625 w 5648325"/>
                <a:gd name="connsiteY16" fmla="*/ 1065913 h 2105025"/>
                <a:gd name="connsiteX17" fmla="*/ 3091815 w 5648325"/>
                <a:gd name="connsiteY17" fmla="*/ 1065913 h 2105025"/>
                <a:gd name="connsiteX18" fmla="*/ 2634615 w 5648325"/>
                <a:gd name="connsiteY18" fmla="*/ 1065913 h 2105025"/>
                <a:gd name="connsiteX19" fmla="*/ 2577465 w 5648325"/>
                <a:gd name="connsiteY19" fmla="*/ 1038290 h 2105025"/>
                <a:gd name="connsiteX20" fmla="*/ 2459355 w 5648325"/>
                <a:gd name="connsiteY20" fmla="*/ 823025 h 2105025"/>
                <a:gd name="connsiteX21" fmla="*/ 2328863 w 5648325"/>
                <a:gd name="connsiteY21" fmla="*/ 757303 h 2105025"/>
                <a:gd name="connsiteX22" fmla="*/ 2220278 w 5648325"/>
                <a:gd name="connsiteY22" fmla="*/ 851600 h 2105025"/>
                <a:gd name="connsiteX23" fmla="*/ 2019300 w 5648325"/>
                <a:gd name="connsiteY23" fmla="*/ 1782193 h 2105025"/>
                <a:gd name="connsiteX24" fmla="*/ 1761173 w 5648325"/>
                <a:gd name="connsiteY24" fmla="*/ 101983 h 2105025"/>
                <a:gd name="connsiteX25" fmla="*/ 1639253 w 5648325"/>
                <a:gd name="connsiteY25" fmla="*/ 65 h 2105025"/>
                <a:gd name="connsiteX26" fmla="*/ 1511618 w 5648325"/>
                <a:gd name="connsiteY26" fmla="*/ 96268 h 2105025"/>
                <a:gd name="connsiteX27" fmla="*/ 1276350 w 5648325"/>
                <a:gd name="connsiteY27" fmla="*/ 1181165 h 2105025"/>
                <a:gd name="connsiteX28" fmla="*/ 1149668 w 5648325"/>
                <a:gd name="connsiteY28" fmla="*/ 855410 h 2105025"/>
                <a:gd name="connsiteX29" fmla="*/ 1018223 w 5648325"/>
                <a:gd name="connsiteY29" fmla="*/ 767780 h 2105025"/>
                <a:gd name="connsiteX30" fmla="*/ 882968 w 5648325"/>
                <a:gd name="connsiteY30" fmla="*/ 850648 h 2105025"/>
                <a:gd name="connsiteX31" fmla="*/ 807720 w 5648325"/>
                <a:gd name="connsiteY31" fmla="*/ 1025908 h 2105025"/>
                <a:gd name="connsiteX32" fmla="*/ 732473 w 5648325"/>
                <a:gd name="connsiteY32" fmla="*/ 1064960 h 2105025"/>
                <a:gd name="connsiteX33" fmla="*/ 81915 w 5648325"/>
                <a:gd name="connsiteY33" fmla="*/ 1064960 h 2105025"/>
                <a:gd name="connsiteX34" fmla="*/ 0 w 5648325"/>
                <a:gd name="connsiteY34" fmla="*/ 1146875 h 2105025"/>
                <a:gd name="connsiteX35" fmla="*/ 81915 w 5648325"/>
                <a:gd name="connsiteY35" fmla="*/ 1228790 h 2105025"/>
                <a:gd name="connsiteX36" fmla="*/ 731520 w 5648325"/>
                <a:gd name="connsiteY36" fmla="*/ 1228790 h 2105025"/>
                <a:gd name="connsiteX37" fmla="*/ 958215 w 5648325"/>
                <a:gd name="connsiteY37" fmla="*/ 1089725 h 2105025"/>
                <a:gd name="connsiteX38" fmla="*/ 1014413 w 5648325"/>
                <a:gd name="connsiteY38" fmla="*/ 959233 h 2105025"/>
                <a:gd name="connsiteX39" fmla="*/ 1165860 w 5648325"/>
                <a:gd name="connsiteY39" fmla="*/ 1348805 h 2105025"/>
                <a:gd name="connsiteX40" fmla="*/ 1296353 w 5648325"/>
                <a:gd name="connsiteY40" fmla="*/ 1426910 h 2105025"/>
                <a:gd name="connsiteX41" fmla="*/ 1410653 w 5648325"/>
                <a:gd name="connsiteY41" fmla="*/ 1331660 h 2105025"/>
                <a:gd name="connsiteX42" fmla="*/ 1628775 w 5648325"/>
                <a:gd name="connsiteY42" fmla="*/ 322010 h 2105025"/>
                <a:gd name="connsiteX43" fmla="*/ 1888808 w 5648325"/>
                <a:gd name="connsiteY43" fmla="*/ 2004125 h 2105025"/>
                <a:gd name="connsiteX44" fmla="*/ 2010728 w 5648325"/>
                <a:gd name="connsiteY44" fmla="*/ 2106043 h 2105025"/>
                <a:gd name="connsiteX45" fmla="*/ 2014538 w 5648325"/>
                <a:gd name="connsiteY45" fmla="*/ 2106043 h 2105025"/>
                <a:gd name="connsiteX46" fmla="*/ 2139315 w 5648325"/>
                <a:gd name="connsiteY46" fmla="*/ 2009840 h 2105025"/>
                <a:gd name="connsiteX47" fmla="*/ 2360295 w 5648325"/>
                <a:gd name="connsiteY47" fmla="*/ 983045 h 2105025"/>
                <a:gd name="connsiteX48" fmla="*/ 2431733 w 5648325"/>
                <a:gd name="connsiteY48" fmla="*/ 1113538 h 2105025"/>
                <a:gd name="connsiteX49" fmla="*/ 2634615 w 5648325"/>
                <a:gd name="connsiteY49" fmla="*/ 1230695 h 2105025"/>
                <a:gd name="connsiteX50" fmla="*/ 2776538 w 5648325"/>
                <a:gd name="connsiteY50" fmla="*/ 1230695 h 2105025"/>
                <a:gd name="connsiteX51" fmla="*/ 2780348 w 5648325"/>
                <a:gd name="connsiteY51" fmla="*/ 1230695 h 2105025"/>
                <a:gd name="connsiteX52" fmla="*/ 3429953 w 5648325"/>
                <a:gd name="connsiteY52" fmla="*/ 1230695 h 2105025"/>
                <a:gd name="connsiteX53" fmla="*/ 3656648 w 5648325"/>
                <a:gd name="connsiteY53" fmla="*/ 1091630 h 2105025"/>
                <a:gd name="connsiteX54" fmla="*/ 3712845 w 5648325"/>
                <a:gd name="connsiteY54" fmla="*/ 961138 h 2105025"/>
                <a:gd name="connsiteX55" fmla="*/ 3864293 w 5648325"/>
                <a:gd name="connsiteY55" fmla="*/ 1350710 h 2105025"/>
                <a:gd name="connsiteX56" fmla="*/ 3994785 w 5648325"/>
                <a:gd name="connsiteY56" fmla="*/ 1428815 h 2105025"/>
                <a:gd name="connsiteX57" fmla="*/ 4109085 w 5648325"/>
                <a:gd name="connsiteY57" fmla="*/ 1333565 h 2105025"/>
                <a:gd name="connsiteX58" fmla="*/ 4329113 w 5648325"/>
                <a:gd name="connsiteY58" fmla="*/ 321058 h 2105025"/>
                <a:gd name="connsiteX59" fmla="*/ 4589145 w 5648325"/>
                <a:gd name="connsiteY59" fmla="*/ 2003173 h 2105025"/>
                <a:gd name="connsiteX60" fmla="*/ 4711065 w 5648325"/>
                <a:gd name="connsiteY60" fmla="*/ 2105090 h 2105025"/>
                <a:gd name="connsiteX61" fmla="*/ 4714875 w 5648325"/>
                <a:gd name="connsiteY61" fmla="*/ 2105090 h 2105025"/>
                <a:gd name="connsiteX62" fmla="*/ 4839653 w 5648325"/>
                <a:gd name="connsiteY62" fmla="*/ 2008888 h 2105025"/>
                <a:gd name="connsiteX63" fmla="*/ 5060633 w 5648325"/>
                <a:gd name="connsiteY63" fmla="*/ 982093 h 2105025"/>
                <a:gd name="connsiteX64" fmla="*/ 5132070 w 5648325"/>
                <a:gd name="connsiteY64" fmla="*/ 1112585 h 2105025"/>
                <a:gd name="connsiteX65" fmla="*/ 5334953 w 5648325"/>
                <a:gd name="connsiteY65" fmla="*/ 1229743 h 2105025"/>
                <a:gd name="connsiteX66" fmla="*/ 5476875 w 5648325"/>
                <a:gd name="connsiteY66" fmla="*/ 1229743 h 2105025"/>
                <a:gd name="connsiteX67" fmla="*/ 5480685 w 5648325"/>
                <a:gd name="connsiteY67" fmla="*/ 1229743 h 2105025"/>
                <a:gd name="connsiteX68" fmla="*/ 5656898 w 5648325"/>
                <a:gd name="connsiteY68" fmla="*/ 1229743 h 2105025"/>
                <a:gd name="connsiteX69" fmla="*/ 5568315 w 5648325"/>
                <a:gd name="connsiteY69" fmla="*/ 106686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48325" h="2105025">
                  <a:moveTo>
                    <a:pt x="5568315" y="1066865"/>
                  </a:moveTo>
                  <a:lnTo>
                    <a:pt x="5335905" y="1066865"/>
                  </a:lnTo>
                  <a:cubicBezTo>
                    <a:pt x="5307330" y="1066865"/>
                    <a:pt x="5285423" y="1052578"/>
                    <a:pt x="5278755" y="1039243"/>
                  </a:cubicBezTo>
                  <a:lnTo>
                    <a:pt x="5160645" y="823978"/>
                  </a:lnTo>
                  <a:cubicBezTo>
                    <a:pt x="5136833" y="778258"/>
                    <a:pt x="5084445" y="751588"/>
                    <a:pt x="5030153" y="758255"/>
                  </a:cubicBezTo>
                  <a:cubicBezTo>
                    <a:pt x="4975860" y="764923"/>
                    <a:pt x="4932998" y="802070"/>
                    <a:pt x="4921568" y="852553"/>
                  </a:cubicBezTo>
                  <a:lnTo>
                    <a:pt x="4720590" y="1783145"/>
                  </a:lnTo>
                  <a:lnTo>
                    <a:pt x="4460558" y="101983"/>
                  </a:lnTo>
                  <a:cubicBezTo>
                    <a:pt x="4451033" y="43880"/>
                    <a:pt x="4400550" y="1970"/>
                    <a:pt x="4338638" y="65"/>
                  </a:cubicBezTo>
                  <a:cubicBezTo>
                    <a:pt x="4275773" y="-887"/>
                    <a:pt x="4223385" y="38165"/>
                    <a:pt x="4211003" y="96268"/>
                  </a:cubicBezTo>
                  <a:lnTo>
                    <a:pt x="3975735" y="1181165"/>
                  </a:lnTo>
                  <a:lnTo>
                    <a:pt x="3848100" y="856363"/>
                  </a:lnTo>
                  <a:cubicBezTo>
                    <a:pt x="3828098" y="803975"/>
                    <a:pt x="3776663" y="770638"/>
                    <a:pt x="3716655" y="768733"/>
                  </a:cubicBezTo>
                  <a:cubicBezTo>
                    <a:pt x="3656648" y="767780"/>
                    <a:pt x="3604260" y="800165"/>
                    <a:pt x="3581400" y="851600"/>
                  </a:cubicBezTo>
                  <a:lnTo>
                    <a:pt x="3506153" y="1026860"/>
                  </a:lnTo>
                  <a:cubicBezTo>
                    <a:pt x="3496628" y="1049720"/>
                    <a:pt x="3464243" y="1065913"/>
                    <a:pt x="3430905" y="1065913"/>
                  </a:cubicBezTo>
                  <a:lnTo>
                    <a:pt x="3095625" y="1065913"/>
                  </a:lnTo>
                  <a:cubicBezTo>
                    <a:pt x="3094673" y="1065913"/>
                    <a:pt x="3092768" y="1065913"/>
                    <a:pt x="3091815" y="1065913"/>
                  </a:cubicBezTo>
                  <a:lnTo>
                    <a:pt x="2634615" y="1065913"/>
                  </a:lnTo>
                  <a:cubicBezTo>
                    <a:pt x="2606040" y="1065913"/>
                    <a:pt x="2584133" y="1051625"/>
                    <a:pt x="2577465" y="1038290"/>
                  </a:cubicBezTo>
                  <a:lnTo>
                    <a:pt x="2459355" y="823025"/>
                  </a:lnTo>
                  <a:cubicBezTo>
                    <a:pt x="2435543" y="777305"/>
                    <a:pt x="2383155" y="750635"/>
                    <a:pt x="2328863" y="757303"/>
                  </a:cubicBezTo>
                  <a:cubicBezTo>
                    <a:pt x="2274570" y="763970"/>
                    <a:pt x="2231708" y="801118"/>
                    <a:pt x="2220278" y="851600"/>
                  </a:cubicBezTo>
                  <a:lnTo>
                    <a:pt x="2019300" y="1782193"/>
                  </a:lnTo>
                  <a:lnTo>
                    <a:pt x="1761173" y="101983"/>
                  </a:lnTo>
                  <a:cubicBezTo>
                    <a:pt x="1751648" y="43880"/>
                    <a:pt x="1701165" y="1970"/>
                    <a:pt x="1639253" y="65"/>
                  </a:cubicBezTo>
                  <a:cubicBezTo>
                    <a:pt x="1576388" y="-1840"/>
                    <a:pt x="1524000" y="38165"/>
                    <a:pt x="1511618" y="96268"/>
                  </a:cubicBezTo>
                  <a:lnTo>
                    <a:pt x="1276350" y="1181165"/>
                  </a:lnTo>
                  <a:lnTo>
                    <a:pt x="1149668" y="855410"/>
                  </a:lnTo>
                  <a:cubicBezTo>
                    <a:pt x="1129665" y="803023"/>
                    <a:pt x="1078230" y="768733"/>
                    <a:pt x="1018223" y="767780"/>
                  </a:cubicBezTo>
                  <a:cubicBezTo>
                    <a:pt x="958215" y="766828"/>
                    <a:pt x="905828" y="799213"/>
                    <a:pt x="882968" y="850648"/>
                  </a:cubicBezTo>
                  <a:lnTo>
                    <a:pt x="807720" y="1025908"/>
                  </a:lnTo>
                  <a:cubicBezTo>
                    <a:pt x="798195" y="1048768"/>
                    <a:pt x="765810" y="1064960"/>
                    <a:pt x="732473" y="1064960"/>
                  </a:cubicBezTo>
                  <a:lnTo>
                    <a:pt x="81915" y="1064960"/>
                  </a:lnTo>
                  <a:cubicBezTo>
                    <a:pt x="36195" y="1064960"/>
                    <a:pt x="0" y="1102108"/>
                    <a:pt x="0" y="1146875"/>
                  </a:cubicBezTo>
                  <a:cubicBezTo>
                    <a:pt x="0" y="1192595"/>
                    <a:pt x="37148" y="1228790"/>
                    <a:pt x="81915" y="1228790"/>
                  </a:cubicBezTo>
                  <a:lnTo>
                    <a:pt x="731520" y="1228790"/>
                  </a:lnTo>
                  <a:cubicBezTo>
                    <a:pt x="832485" y="1228790"/>
                    <a:pt x="922020" y="1174498"/>
                    <a:pt x="958215" y="1089725"/>
                  </a:cubicBezTo>
                  <a:lnTo>
                    <a:pt x="1014413" y="959233"/>
                  </a:lnTo>
                  <a:lnTo>
                    <a:pt x="1165860" y="1348805"/>
                  </a:lnTo>
                  <a:cubicBezTo>
                    <a:pt x="1185863" y="1400240"/>
                    <a:pt x="1238250" y="1431673"/>
                    <a:pt x="1296353" y="1426910"/>
                  </a:cubicBezTo>
                  <a:cubicBezTo>
                    <a:pt x="1353503" y="1422148"/>
                    <a:pt x="1399223" y="1384048"/>
                    <a:pt x="1410653" y="1331660"/>
                  </a:cubicBezTo>
                  <a:lnTo>
                    <a:pt x="1628775" y="322010"/>
                  </a:lnTo>
                  <a:lnTo>
                    <a:pt x="1888808" y="2004125"/>
                  </a:lnTo>
                  <a:cubicBezTo>
                    <a:pt x="1898333" y="2062228"/>
                    <a:pt x="1948815" y="2104138"/>
                    <a:pt x="2010728" y="2106043"/>
                  </a:cubicBezTo>
                  <a:cubicBezTo>
                    <a:pt x="2011680" y="2106043"/>
                    <a:pt x="2013585" y="2106043"/>
                    <a:pt x="2014538" y="2106043"/>
                  </a:cubicBezTo>
                  <a:cubicBezTo>
                    <a:pt x="2075498" y="2106043"/>
                    <a:pt x="2125980" y="2066990"/>
                    <a:pt x="2139315" y="2009840"/>
                  </a:cubicBezTo>
                  <a:lnTo>
                    <a:pt x="2360295" y="983045"/>
                  </a:lnTo>
                  <a:lnTo>
                    <a:pt x="2431733" y="1113538"/>
                  </a:lnTo>
                  <a:cubicBezTo>
                    <a:pt x="2467928" y="1184023"/>
                    <a:pt x="2547938" y="1230695"/>
                    <a:pt x="2634615" y="1230695"/>
                  </a:cubicBezTo>
                  <a:lnTo>
                    <a:pt x="2776538" y="1230695"/>
                  </a:lnTo>
                  <a:cubicBezTo>
                    <a:pt x="2777490" y="1230695"/>
                    <a:pt x="2779395" y="1230695"/>
                    <a:pt x="2780348" y="1230695"/>
                  </a:cubicBezTo>
                  <a:lnTo>
                    <a:pt x="3429953" y="1230695"/>
                  </a:lnTo>
                  <a:cubicBezTo>
                    <a:pt x="3530918" y="1230695"/>
                    <a:pt x="3619500" y="1176403"/>
                    <a:pt x="3656648" y="1091630"/>
                  </a:cubicBezTo>
                  <a:lnTo>
                    <a:pt x="3712845" y="961138"/>
                  </a:lnTo>
                  <a:lnTo>
                    <a:pt x="3864293" y="1350710"/>
                  </a:lnTo>
                  <a:cubicBezTo>
                    <a:pt x="3884295" y="1402145"/>
                    <a:pt x="3936683" y="1433578"/>
                    <a:pt x="3994785" y="1428815"/>
                  </a:cubicBezTo>
                  <a:cubicBezTo>
                    <a:pt x="4051935" y="1424053"/>
                    <a:pt x="4097655" y="1385953"/>
                    <a:pt x="4109085" y="1333565"/>
                  </a:cubicBezTo>
                  <a:lnTo>
                    <a:pt x="4329113" y="321058"/>
                  </a:lnTo>
                  <a:lnTo>
                    <a:pt x="4589145" y="2003173"/>
                  </a:lnTo>
                  <a:cubicBezTo>
                    <a:pt x="4598670" y="2061275"/>
                    <a:pt x="4649153" y="2103185"/>
                    <a:pt x="4711065" y="2105090"/>
                  </a:cubicBezTo>
                  <a:cubicBezTo>
                    <a:pt x="4712018" y="2105090"/>
                    <a:pt x="4713923" y="2105090"/>
                    <a:pt x="4714875" y="2105090"/>
                  </a:cubicBezTo>
                  <a:cubicBezTo>
                    <a:pt x="4775835" y="2105090"/>
                    <a:pt x="4826318" y="2066038"/>
                    <a:pt x="4839653" y="2008888"/>
                  </a:cubicBezTo>
                  <a:lnTo>
                    <a:pt x="5060633" y="982093"/>
                  </a:lnTo>
                  <a:lnTo>
                    <a:pt x="5132070" y="1112585"/>
                  </a:lnTo>
                  <a:cubicBezTo>
                    <a:pt x="5168265" y="1183070"/>
                    <a:pt x="5248275" y="1229743"/>
                    <a:pt x="5334953" y="1229743"/>
                  </a:cubicBezTo>
                  <a:lnTo>
                    <a:pt x="5476875" y="1229743"/>
                  </a:lnTo>
                  <a:cubicBezTo>
                    <a:pt x="5477828" y="1229743"/>
                    <a:pt x="5479733" y="1229743"/>
                    <a:pt x="5480685" y="1229743"/>
                  </a:cubicBezTo>
                  <a:lnTo>
                    <a:pt x="5656898" y="1229743"/>
                  </a:lnTo>
                  <a:cubicBezTo>
                    <a:pt x="5623560" y="1173545"/>
                    <a:pt x="5594033" y="1118300"/>
                    <a:pt x="5568315" y="1066865"/>
                  </a:cubicBezTo>
                  <a:close/>
                </a:path>
              </a:pathLst>
            </a:custGeom>
            <a:gradFill>
              <a:gsLst>
                <a:gs pos="0">
                  <a:schemeClr val="bg1">
                    <a:alpha val="0"/>
                  </a:schemeClr>
                </a:gs>
                <a:gs pos="66000">
                  <a:schemeClr val="bg1"/>
                </a:gs>
              </a:gsLst>
              <a:lin ang="0" scaled="0"/>
            </a:gradFill>
            <a:ln w="9525" cap="flat">
              <a:noFill/>
              <a:prstDash val="solid"/>
              <a:miter/>
            </a:ln>
          </p:spPr>
          <p:txBody>
            <a:bodyPr rtlCol="0" anchor="ctr"/>
            <a:lstStyle/>
            <a:p>
              <a:endParaRPr lang="de-DE" dirty="0"/>
            </a:p>
          </p:txBody>
        </p:sp>
        <p:sp>
          <p:nvSpPr>
            <p:cNvPr id="12" name="Freihandform: Form 11">
              <a:extLst>
                <a:ext uri="{FF2B5EF4-FFF2-40B4-BE49-F238E27FC236}">
                  <a16:creationId xmlns:a16="http://schemas.microsoft.com/office/drawing/2014/main" id="{4AE811F9-69C0-44BC-8A39-1E04CFEF1931}"/>
                </a:ext>
              </a:extLst>
            </p:cNvPr>
            <p:cNvSpPr/>
            <p:nvPr/>
          </p:nvSpPr>
          <p:spPr>
            <a:xfrm>
              <a:off x="5982694" y="1924735"/>
              <a:ext cx="3190875" cy="3000375"/>
            </a:xfrm>
            <a:custGeom>
              <a:avLst/>
              <a:gdLst>
                <a:gd name="connsiteX0" fmla="*/ 2300405 w 3190875"/>
                <a:gd name="connsiteY0" fmla="*/ 109 h 3000375"/>
                <a:gd name="connsiteX1" fmla="*/ 1591745 w 3190875"/>
                <a:gd name="connsiteY1" fmla="*/ 372537 h 3000375"/>
                <a:gd name="connsiteX2" fmla="*/ 872607 w 3190875"/>
                <a:gd name="connsiteY2" fmla="*/ 22017 h 3000375"/>
                <a:gd name="connsiteX3" fmla="*/ 118 w 3190875"/>
                <a:gd name="connsiteY3" fmla="*/ 918319 h 3000375"/>
                <a:gd name="connsiteX4" fmla="*/ 50600 w 3190875"/>
                <a:gd name="connsiteY4" fmla="*/ 1204069 h 3000375"/>
                <a:gd name="connsiteX5" fmla="*/ 1461252 w 3190875"/>
                <a:gd name="connsiteY5" fmla="*/ 2938572 h 3000375"/>
                <a:gd name="connsiteX6" fmla="*/ 1799390 w 3190875"/>
                <a:gd name="connsiteY6" fmla="*/ 2933810 h 3000375"/>
                <a:gd name="connsiteX7" fmla="*/ 3149082 w 3190875"/>
                <a:gd name="connsiteY7" fmla="*/ 1182162 h 3000375"/>
                <a:gd name="connsiteX8" fmla="*/ 3199565 w 3190875"/>
                <a:gd name="connsiteY8" fmla="*/ 873552 h 3000375"/>
                <a:gd name="connsiteX9" fmla="*/ 2300405 w 3190875"/>
                <a:gd name="connsiteY9" fmla="*/ 109 h 3000375"/>
                <a:gd name="connsiteX10" fmla="*/ 2300405 w 3190875"/>
                <a:gd name="connsiteY10" fmla="*/ 109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90875" h="3000375">
                  <a:moveTo>
                    <a:pt x="2300405" y="109"/>
                  </a:moveTo>
                  <a:cubicBezTo>
                    <a:pt x="2019418" y="3919"/>
                    <a:pt x="1755575" y="142984"/>
                    <a:pt x="1591745" y="372537"/>
                  </a:cubicBezTo>
                  <a:cubicBezTo>
                    <a:pt x="1421248" y="148699"/>
                    <a:pt x="1153595" y="17254"/>
                    <a:pt x="872607" y="22017"/>
                  </a:cubicBezTo>
                  <a:cubicBezTo>
                    <a:pt x="384927" y="29637"/>
                    <a:pt x="-5598" y="431592"/>
                    <a:pt x="118" y="918319"/>
                  </a:cubicBezTo>
                  <a:cubicBezTo>
                    <a:pt x="-835" y="932607"/>
                    <a:pt x="2975" y="1088817"/>
                    <a:pt x="50600" y="1204069"/>
                  </a:cubicBezTo>
                  <a:cubicBezTo>
                    <a:pt x="165852" y="1565067"/>
                    <a:pt x="503990" y="2158475"/>
                    <a:pt x="1461252" y="2938572"/>
                  </a:cubicBezTo>
                  <a:cubicBezTo>
                    <a:pt x="1572695" y="3038585"/>
                    <a:pt x="1708902" y="3024297"/>
                    <a:pt x="1799390" y="2933810"/>
                  </a:cubicBezTo>
                  <a:cubicBezTo>
                    <a:pt x="2715695" y="2139425"/>
                    <a:pt x="3039545" y="1543159"/>
                    <a:pt x="3149082" y="1182162"/>
                  </a:cubicBezTo>
                  <a:cubicBezTo>
                    <a:pt x="3198613" y="1041192"/>
                    <a:pt x="3199565" y="877362"/>
                    <a:pt x="3199565" y="873552"/>
                  </a:cubicBezTo>
                  <a:cubicBezTo>
                    <a:pt x="3192898" y="383967"/>
                    <a:pt x="2789038" y="-7511"/>
                    <a:pt x="2300405" y="109"/>
                  </a:cubicBezTo>
                  <a:lnTo>
                    <a:pt x="2300405" y="109"/>
                  </a:lnTo>
                  <a:close/>
                </a:path>
              </a:pathLst>
            </a:custGeom>
            <a:solidFill>
              <a:srgbClr val="FFFFFF"/>
            </a:solidFill>
            <a:ln w="9525"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EA6A6341-9532-4D0D-9C33-E6D2C48DDBD2}"/>
                </a:ext>
              </a:extLst>
            </p:cNvPr>
            <p:cNvSpPr/>
            <p:nvPr/>
          </p:nvSpPr>
          <p:spPr>
            <a:xfrm>
              <a:off x="6152851" y="2091532"/>
              <a:ext cx="2876550" cy="2676525"/>
            </a:xfrm>
            <a:custGeom>
              <a:avLst/>
              <a:gdLst>
                <a:gd name="connsiteX0" fmla="*/ 2116912 w 2876550"/>
                <a:gd name="connsiteY0" fmla="*/ 953 h 2676525"/>
                <a:gd name="connsiteX1" fmla="*/ 2877960 w 2876550"/>
                <a:gd name="connsiteY1" fmla="*/ 762000 h 2676525"/>
                <a:gd name="connsiteX2" fmla="*/ 2877960 w 2876550"/>
                <a:gd name="connsiteY2" fmla="*/ 777240 h 2676525"/>
                <a:gd name="connsiteX3" fmla="*/ 2877007 w 2876550"/>
                <a:gd name="connsiteY3" fmla="*/ 797243 h 2676525"/>
                <a:gd name="connsiteX4" fmla="*/ 2830335 w 2876550"/>
                <a:gd name="connsiteY4" fmla="*/ 1028700 h 2676525"/>
                <a:gd name="connsiteX5" fmla="*/ 1548270 w 2876550"/>
                <a:gd name="connsiteY5" fmla="*/ 2636520 h 2676525"/>
                <a:gd name="connsiteX6" fmla="*/ 1439685 w 2876550"/>
                <a:gd name="connsiteY6" fmla="*/ 2676525 h 2676525"/>
                <a:gd name="connsiteX7" fmla="*/ 1331100 w 2876550"/>
                <a:gd name="connsiteY7" fmla="*/ 2636520 h 2676525"/>
                <a:gd name="connsiteX8" fmla="*/ 40462 w 2876550"/>
                <a:gd name="connsiteY8" fmla="*/ 1004888 h 2676525"/>
                <a:gd name="connsiteX9" fmla="*/ 6172 w 2876550"/>
                <a:gd name="connsiteY9" fmla="*/ 855345 h 2676525"/>
                <a:gd name="connsiteX10" fmla="*/ 457 w 2876550"/>
                <a:gd name="connsiteY10" fmla="*/ 761048 h 2676525"/>
                <a:gd name="connsiteX11" fmla="*/ 761505 w 2876550"/>
                <a:gd name="connsiteY11" fmla="*/ 0 h 2676525"/>
                <a:gd name="connsiteX12" fmla="*/ 1377773 w 2876550"/>
                <a:gd name="connsiteY12" fmla="*/ 315278 h 2676525"/>
                <a:gd name="connsiteX13" fmla="*/ 1439685 w 2876550"/>
                <a:gd name="connsiteY13" fmla="*/ 346710 h 2676525"/>
                <a:gd name="connsiteX14" fmla="*/ 1501598 w 2876550"/>
                <a:gd name="connsiteY14" fmla="*/ 315278 h 2676525"/>
                <a:gd name="connsiteX15" fmla="*/ 2116912 w 2876550"/>
                <a:gd name="connsiteY15" fmla="*/ 953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6550" h="2676525">
                  <a:moveTo>
                    <a:pt x="2116912" y="953"/>
                  </a:moveTo>
                  <a:cubicBezTo>
                    <a:pt x="2536965" y="953"/>
                    <a:pt x="2877960" y="341948"/>
                    <a:pt x="2877960" y="762000"/>
                  </a:cubicBezTo>
                  <a:cubicBezTo>
                    <a:pt x="2877960" y="766763"/>
                    <a:pt x="2877960" y="772478"/>
                    <a:pt x="2877960" y="777240"/>
                  </a:cubicBezTo>
                  <a:cubicBezTo>
                    <a:pt x="2877960" y="782003"/>
                    <a:pt x="2877960" y="788670"/>
                    <a:pt x="2877007" y="797243"/>
                  </a:cubicBezTo>
                  <a:cubicBezTo>
                    <a:pt x="2873198" y="878205"/>
                    <a:pt x="2857005" y="956310"/>
                    <a:pt x="2830335" y="1028700"/>
                  </a:cubicBezTo>
                  <a:cubicBezTo>
                    <a:pt x="2732228" y="1333500"/>
                    <a:pt x="2436953" y="1889760"/>
                    <a:pt x="1548270" y="2636520"/>
                  </a:cubicBezTo>
                  <a:cubicBezTo>
                    <a:pt x="1516837" y="2663190"/>
                    <a:pt x="1478737" y="2676525"/>
                    <a:pt x="1439685" y="2676525"/>
                  </a:cubicBezTo>
                  <a:cubicBezTo>
                    <a:pt x="1400632" y="2676525"/>
                    <a:pt x="1362532" y="2663190"/>
                    <a:pt x="1331100" y="2636520"/>
                  </a:cubicBezTo>
                  <a:cubicBezTo>
                    <a:pt x="419557" y="1869758"/>
                    <a:pt x="130950" y="1304925"/>
                    <a:pt x="40462" y="1004888"/>
                  </a:cubicBezTo>
                  <a:cubicBezTo>
                    <a:pt x="24270" y="957263"/>
                    <a:pt x="12840" y="906780"/>
                    <a:pt x="6172" y="855345"/>
                  </a:cubicBezTo>
                  <a:cubicBezTo>
                    <a:pt x="-2400" y="793433"/>
                    <a:pt x="457" y="761048"/>
                    <a:pt x="457" y="761048"/>
                  </a:cubicBezTo>
                  <a:cubicBezTo>
                    <a:pt x="457" y="340995"/>
                    <a:pt x="341453" y="0"/>
                    <a:pt x="761505" y="0"/>
                  </a:cubicBezTo>
                  <a:cubicBezTo>
                    <a:pt x="1014870" y="0"/>
                    <a:pt x="1239660" y="124778"/>
                    <a:pt x="1377773" y="315278"/>
                  </a:cubicBezTo>
                  <a:cubicBezTo>
                    <a:pt x="1393012" y="336233"/>
                    <a:pt x="1415873" y="346710"/>
                    <a:pt x="1439685" y="346710"/>
                  </a:cubicBezTo>
                  <a:cubicBezTo>
                    <a:pt x="1463498" y="346710"/>
                    <a:pt x="1486357" y="336233"/>
                    <a:pt x="1501598" y="315278"/>
                  </a:cubicBezTo>
                  <a:cubicBezTo>
                    <a:pt x="1638757" y="124778"/>
                    <a:pt x="1863548" y="953"/>
                    <a:pt x="2116912" y="953"/>
                  </a:cubicBezTo>
                </a:path>
              </a:pathLst>
            </a:custGeom>
            <a:solidFill>
              <a:schemeClr val="accent1"/>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CDAE32A1-16C3-4E45-A0AB-547AD6D17324}"/>
                </a:ext>
              </a:extLst>
            </p:cNvPr>
            <p:cNvSpPr/>
            <p:nvPr/>
          </p:nvSpPr>
          <p:spPr>
            <a:xfrm>
              <a:off x="9047955" y="2376312"/>
              <a:ext cx="5172392" cy="2103137"/>
            </a:xfrm>
            <a:custGeom>
              <a:avLst/>
              <a:gdLst>
                <a:gd name="connsiteX0" fmla="*/ 1145857 w 5172392"/>
                <a:gd name="connsiteY0" fmla="*/ 17 h 2103137"/>
                <a:gd name="connsiteX1" fmla="*/ 1267777 w 5172392"/>
                <a:gd name="connsiteY1" fmla="*/ 101935 h 2103137"/>
                <a:gd name="connsiteX2" fmla="*/ 1527810 w 5172392"/>
                <a:gd name="connsiteY2" fmla="*/ 1783097 h 2103137"/>
                <a:gd name="connsiteX3" fmla="*/ 1728788 w 5172392"/>
                <a:gd name="connsiteY3" fmla="*/ 852505 h 2103137"/>
                <a:gd name="connsiteX4" fmla="*/ 1837373 w 5172392"/>
                <a:gd name="connsiteY4" fmla="*/ 758207 h 2103137"/>
                <a:gd name="connsiteX5" fmla="*/ 1967865 w 5172392"/>
                <a:gd name="connsiteY5" fmla="*/ 823930 h 2103137"/>
                <a:gd name="connsiteX6" fmla="*/ 2085975 w 5172392"/>
                <a:gd name="connsiteY6" fmla="*/ 1039195 h 2103137"/>
                <a:gd name="connsiteX7" fmla="*/ 2143125 w 5172392"/>
                <a:gd name="connsiteY7" fmla="*/ 1066817 h 2103137"/>
                <a:gd name="connsiteX8" fmla="*/ 2574869 w 5172392"/>
                <a:gd name="connsiteY8" fmla="*/ 1066817 h 2103137"/>
                <a:gd name="connsiteX9" fmla="*/ 2575877 w 5172392"/>
                <a:gd name="connsiteY9" fmla="*/ 1064912 h 2103137"/>
                <a:gd name="connsiteX10" fmla="*/ 2728277 w 5172392"/>
                <a:gd name="connsiteY10" fmla="*/ 1064912 h 2103137"/>
                <a:gd name="connsiteX11" fmla="*/ 2803525 w 5172392"/>
                <a:gd name="connsiteY11" fmla="*/ 1025860 h 2103137"/>
                <a:gd name="connsiteX12" fmla="*/ 2878773 w 5172392"/>
                <a:gd name="connsiteY12" fmla="*/ 850600 h 2103137"/>
                <a:gd name="connsiteX13" fmla="*/ 3014027 w 5172392"/>
                <a:gd name="connsiteY13" fmla="*/ 767732 h 2103137"/>
                <a:gd name="connsiteX14" fmla="*/ 3145473 w 5172392"/>
                <a:gd name="connsiteY14" fmla="*/ 855362 h 2103137"/>
                <a:gd name="connsiteX15" fmla="*/ 3272155 w 5172392"/>
                <a:gd name="connsiteY15" fmla="*/ 1181117 h 2103137"/>
                <a:gd name="connsiteX16" fmla="*/ 3507423 w 5172392"/>
                <a:gd name="connsiteY16" fmla="*/ 96220 h 2103137"/>
                <a:gd name="connsiteX17" fmla="*/ 3635057 w 5172392"/>
                <a:gd name="connsiteY17" fmla="*/ 17 h 2103137"/>
                <a:gd name="connsiteX18" fmla="*/ 3756977 w 5172392"/>
                <a:gd name="connsiteY18" fmla="*/ 101935 h 2103137"/>
                <a:gd name="connsiteX19" fmla="*/ 4017010 w 5172392"/>
                <a:gd name="connsiteY19" fmla="*/ 1783097 h 2103137"/>
                <a:gd name="connsiteX20" fmla="*/ 4217988 w 5172392"/>
                <a:gd name="connsiteY20" fmla="*/ 852505 h 2103137"/>
                <a:gd name="connsiteX21" fmla="*/ 4326573 w 5172392"/>
                <a:gd name="connsiteY21" fmla="*/ 758207 h 2103137"/>
                <a:gd name="connsiteX22" fmla="*/ 4457065 w 5172392"/>
                <a:gd name="connsiteY22" fmla="*/ 823930 h 2103137"/>
                <a:gd name="connsiteX23" fmla="*/ 4575175 w 5172392"/>
                <a:gd name="connsiteY23" fmla="*/ 1039195 h 2103137"/>
                <a:gd name="connsiteX24" fmla="*/ 4632325 w 5172392"/>
                <a:gd name="connsiteY24" fmla="*/ 1066817 h 2103137"/>
                <a:gd name="connsiteX25" fmla="*/ 5089525 w 5172392"/>
                <a:gd name="connsiteY25" fmla="*/ 1066817 h 2103137"/>
                <a:gd name="connsiteX26" fmla="*/ 5172392 w 5172392"/>
                <a:gd name="connsiteY26" fmla="*/ 1145875 h 2103137"/>
                <a:gd name="connsiteX27" fmla="*/ 5090477 w 5172392"/>
                <a:gd name="connsiteY27" fmla="*/ 1227790 h 2103137"/>
                <a:gd name="connsiteX28" fmla="*/ 4633277 w 5172392"/>
                <a:gd name="connsiteY28" fmla="*/ 1227790 h 2103137"/>
                <a:gd name="connsiteX29" fmla="*/ 4430396 w 5172392"/>
                <a:gd name="connsiteY29" fmla="*/ 1110632 h 2103137"/>
                <a:gd name="connsiteX30" fmla="*/ 4358958 w 5172392"/>
                <a:gd name="connsiteY30" fmla="*/ 980140 h 2103137"/>
                <a:gd name="connsiteX31" fmla="*/ 4137977 w 5172392"/>
                <a:gd name="connsiteY31" fmla="*/ 2006935 h 2103137"/>
                <a:gd name="connsiteX32" fmla="*/ 4013200 w 5172392"/>
                <a:gd name="connsiteY32" fmla="*/ 2103137 h 2103137"/>
                <a:gd name="connsiteX33" fmla="*/ 4009390 w 5172392"/>
                <a:gd name="connsiteY33" fmla="*/ 2103137 h 2103137"/>
                <a:gd name="connsiteX34" fmla="*/ 3887471 w 5172392"/>
                <a:gd name="connsiteY34" fmla="*/ 2001220 h 2103137"/>
                <a:gd name="connsiteX35" fmla="*/ 3627438 w 5172392"/>
                <a:gd name="connsiteY35" fmla="*/ 319105 h 2103137"/>
                <a:gd name="connsiteX36" fmla="*/ 3407410 w 5172392"/>
                <a:gd name="connsiteY36" fmla="*/ 1331612 h 2103137"/>
                <a:gd name="connsiteX37" fmla="*/ 3293110 w 5172392"/>
                <a:gd name="connsiteY37" fmla="*/ 1426862 h 2103137"/>
                <a:gd name="connsiteX38" fmla="*/ 3162618 w 5172392"/>
                <a:gd name="connsiteY38" fmla="*/ 1348757 h 2103137"/>
                <a:gd name="connsiteX39" fmla="*/ 3011170 w 5172392"/>
                <a:gd name="connsiteY39" fmla="*/ 959185 h 2103137"/>
                <a:gd name="connsiteX40" fmla="*/ 2954973 w 5172392"/>
                <a:gd name="connsiteY40" fmla="*/ 1089677 h 2103137"/>
                <a:gd name="connsiteX41" fmla="*/ 2728277 w 5172392"/>
                <a:gd name="connsiteY41" fmla="*/ 1228742 h 2103137"/>
                <a:gd name="connsiteX42" fmla="*/ 2489200 w 5172392"/>
                <a:gd name="connsiteY42" fmla="*/ 1228742 h 2103137"/>
                <a:gd name="connsiteX43" fmla="*/ 2489704 w 5172392"/>
                <a:gd name="connsiteY43" fmla="*/ 1227790 h 2103137"/>
                <a:gd name="connsiteX44" fmla="*/ 2144077 w 5172392"/>
                <a:gd name="connsiteY44" fmla="*/ 1227790 h 2103137"/>
                <a:gd name="connsiteX45" fmla="*/ 1941196 w 5172392"/>
                <a:gd name="connsiteY45" fmla="*/ 1110632 h 2103137"/>
                <a:gd name="connsiteX46" fmla="*/ 1869758 w 5172392"/>
                <a:gd name="connsiteY46" fmla="*/ 980140 h 2103137"/>
                <a:gd name="connsiteX47" fmla="*/ 1648777 w 5172392"/>
                <a:gd name="connsiteY47" fmla="*/ 2006935 h 2103137"/>
                <a:gd name="connsiteX48" fmla="*/ 1524000 w 5172392"/>
                <a:gd name="connsiteY48" fmla="*/ 2103137 h 2103137"/>
                <a:gd name="connsiteX49" fmla="*/ 1520190 w 5172392"/>
                <a:gd name="connsiteY49" fmla="*/ 2103137 h 2103137"/>
                <a:gd name="connsiteX50" fmla="*/ 1398271 w 5172392"/>
                <a:gd name="connsiteY50" fmla="*/ 2001220 h 2103137"/>
                <a:gd name="connsiteX51" fmla="*/ 1138238 w 5172392"/>
                <a:gd name="connsiteY51" fmla="*/ 319105 h 2103137"/>
                <a:gd name="connsiteX52" fmla="*/ 918210 w 5172392"/>
                <a:gd name="connsiteY52" fmla="*/ 1331612 h 2103137"/>
                <a:gd name="connsiteX53" fmla="*/ 803910 w 5172392"/>
                <a:gd name="connsiteY53" fmla="*/ 1426862 h 2103137"/>
                <a:gd name="connsiteX54" fmla="*/ 673418 w 5172392"/>
                <a:gd name="connsiteY54" fmla="*/ 1348757 h 2103137"/>
                <a:gd name="connsiteX55" fmla="*/ 521970 w 5172392"/>
                <a:gd name="connsiteY55" fmla="*/ 959185 h 2103137"/>
                <a:gd name="connsiteX56" fmla="*/ 465773 w 5172392"/>
                <a:gd name="connsiteY56" fmla="*/ 1089677 h 2103137"/>
                <a:gd name="connsiteX57" fmla="*/ 239077 w 5172392"/>
                <a:gd name="connsiteY57" fmla="*/ 1228742 h 2103137"/>
                <a:gd name="connsiteX58" fmla="*/ 0 w 5172392"/>
                <a:gd name="connsiteY58" fmla="*/ 1228742 h 2103137"/>
                <a:gd name="connsiteX59" fmla="*/ 86677 w 5172392"/>
                <a:gd name="connsiteY59" fmla="*/ 1064912 h 2103137"/>
                <a:gd name="connsiteX60" fmla="*/ 239077 w 5172392"/>
                <a:gd name="connsiteY60" fmla="*/ 1064912 h 2103137"/>
                <a:gd name="connsiteX61" fmla="*/ 314325 w 5172392"/>
                <a:gd name="connsiteY61" fmla="*/ 1025860 h 2103137"/>
                <a:gd name="connsiteX62" fmla="*/ 389573 w 5172392"/>
                <a:gd name="connsiteY62" fmla="*/ 850600 h 2103137"/>
                <a:gd name="connsiteX63" fmla="*/ 524827 w 5172392"/>
                <a:gd name="connsiteY63" fmla="*/ 767732 h 2103137"/>
                <a:gd name="connsiteX64" fmla="*/ 656273 w 5172392"/>
                <a:gd name="connsiteY64" fmla="*/ 855362 h 2103137"/>
                <a:gd name="connsiteX65" fmla="*/ 782955 w 5172392"/>
                <a:gd name="connsiteY65" fmla="*/ 1181117 h 2103137"/>
                <a:gd name="connsiteX66" fmla="*/ 1018223 w 5172392"/>
                <a:gd name="connsiteY66" fmla="*/ 96220 h 2103137"/>
                <a:gd name="connsiteX67" fmla="*/ 1145857 w 5172392"/>
                <a:gd name="connsiteY67" fmla="*/ 17 h 210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172392" h="2103137">
                  <a:moveTo>
                    <a:pt x="1145857" y="17"/>
                  </a:moveTo>
                  <a:cubicBezTo>
                    <a:pt x="1207771" y="1922"/>
                    <a:pt x="1258252" y="43832"/>
                    <a:pt x="1267777" y="101935"/>
                  </a:cubicBezTo>
                  <a:lnTo>
                    <a:pt x="1527810" y="1783097"/>
                  </a:lnTo>
                  <a:lnTo>
                    <a:pt x="1728788" y="852505"/>
                  </a:lnTo>
                  <a:cubicBezTo>
                    <a:pt x="1740217" y="802022"/>
                    <a:pt x="1783080" y="764875"/>
                    <a:pt x="1837373" y="758207"/>
                  </a:cubicBezTo>
                  <a:cubicBezTo>
                    <a:pt x="1891665" y="751540"/>
                    <a:pt x="1944052" y="778210"/>
                    <a:pt x="1967865" y="823930"/>
                  </a:cubicBezTo>
                  <a:lnTo>
                    <a:pt x="2085975" y="1039195"/>
                  </a:lnTo>
                  <a:cubicBezTo>
                    <a:pt x="2092642" y="1052530"/>
                    <a:pt x="2114550" y="1066817"/>
                    <a:pt x="2143125" y="1066817"/>
                  </a:cubicBezTo>
                  <a:lnTo>
                    <a:pt x="2574869" y="1066817"/>
                  </a:lnTo>
                  <a:lnTo>
                    <a:pt x="2575877" y="1064912"/>
                  </a:lnTo>
                  <a:lnTo>
                    <a:pt x="2728277" y="1064912"/>
                  </a:lnTo>
                  <a:cubicBezTo>
                    <a:pt x="2761615" y="1064912"/>
                    <a:pt x="2794000" y="1048720"/>
                    <a:pt x="2803525" y="1025860"/>
                  </a:cubicBezTo>
                  <a:lnTo>
                    <a:pt x="2878773" y="850600"/>
                  </a:lnTo>
                  <a:cubicBezTo>
                    <a:pt x="2901632" y="799165"/>
                    <a:pt x="2954973" y="766780"/>
                    <a:pt x="3014027" y="767732"/>
                  </a:cubicBezTo>
                  <a:cubicBezTo>
                    <a:pt x="3074035" y="769637"/>
                    <a:pt x="3125470" y="802975"/>
                    <a:pt x="3145473" y="855362"/>
                  </a:cubicBezTo>
                  <a:lnTo>
                    <a:pt x="3272155" y="1181117"/>
                  </a:lnTo>
                  <a:lnTo>
                    <a:pt x="3507423" y="96220"/>
                  </a:lnTo>
                  <a:cubicBezTo>
                    <a:pt x="3519805" y="38117"/>
                    <a:pt x="3572193" y="-935"/>
                    <a:pt x="3635057" y="17"/>
                  </a:cubicBezTo>
                  <a:cubicBezTo>
                    <a:pt x="3696971" y="1922"/>
                    <a:pt x="3747452" y="43832"/>
                    <a:pt x="3756977" y="101935"/>
                  </a:cubicBezTo>
                  <a:lnTo>
                    <a:pt x="4017010" y="1783097"/>
                  </a:lnTo>
                  <a:lnTo>
                    <a:pt x="4217988" y="852505"/>
                  </a:lnTo>
                  <a:cubicBezTo>
                    <a:pt x="4229417" y="802022"/>
                    <a:pt x="4272280" y="764875"/>
                    <a:pt x="4326573" y="758207"/>
                  </a:cubicBezTo>
                  <a:cubicBezTo>
                    <a:pt x="4380865" y="751540"/>
                    <a:pt x="4433252" y="778210"/>
                    <a:pt x="4457065" y="823930"/>
                  </a:cubicBezTo>
                  <a:lnTo>
                    <a:pt x="4575175" y="1039195"/>
                  </a:lnTo>
                  <a:cubicBezTo>
                    <a:pt x="4581842" y="1052530"/>
                    <a:pt x="4603750" y="1066817"/>
                    <a:pt x="4632325" y="1066817"/>
                  </a:cubicBezTo>
                  <a:lnTo>
                    <a:pt x="5089525" y="1066817"/>
                  </a:lnTo>
                  <a:cubicBezTo>
                    <a:pt x="5134292" y="1066817"/>
                    <a:pt x="5171440" y="1103012"/>
                    <a:pt x="5172392" y="1145875"/>
                  </a:cubicBezTo>
                  <a:cubicBezTo>
                    <a:pt x="5172392" y="1190642"/>
                    <a:pt x="5136198" y="1227790"/>
                    <a:pt x="5090477" y="1227790"/>
                  </a:cubicBezTo>
                  <a:lnTo>
                    <a:pt x="4633277" y="1227790"/>
                  </a:lnTo>
                  <a:cubicBezTo>
                    <a:pt x="4546600" y="1227790"/>
                    <a:pt x="4466590" y="1181117"/>
                    <a:pt x="4430396" y="1110632"/>
                  </a:cubicBezTo>
                  <a:lnTo>
                    <a:pt x="4358958" y="980140"/>
                  </a:lnTo>
                  <a:lnTo>
                    <a:pt x="4137977" y="2006935"/>
                  </a:lnTo>
                  <a:cubicBezTo>
                    <a:pt x="4124642" y="2064085"/>
                    <a:pt x="4074160" y="2103137"/>
                    <a:pt x="4013200" y="2103137"/>
                  </a:cubicBezTo>
                  <a:cubicBezTo>
                    <a:pt x="4012248" y="2103137"/>
                    <a:pt x="4010342" y="2103137"/>
                    <a:pt x="4009390" y="2103137"/>
                  </a:cubicBezTo>
                  <a:cubicBezTo>
                    <a:pt x="3947477" y="2101232"/>
                    <a:pt x="3896996" y="2059322"/>
                    <a:pt x="3887471" y="2001220"/>
                  </a:cubicBezTo>
                  <a:lnTo>
                    <a:pt x="3627438" y="319105"/>
                  </a:lnTo>
                  <a:lnTo>
                    <a:pt x="3407410" y="1331612"/>
                  </a:lnTo>
                  <a:cubicBezTo>
                    <a:pt x="3395980" y="1384000"/>
                    <a:pt x="3350260" y="1422100"/>
                    <a:pt x="3293110" y="1426862"/>
                  </a:cubicBezTo>
                  <a:cubicBezTo>
                    <a:pt x="3235007" y="1431625"/>
                    <a:pt x="3182620" y="1400192"/>
                    <a:pt x="3162618" y="1348757"/>
                  </a:cubicBezTo>
                  <a:lnTo>
                    <a:pt x="3011170" y="959185"/>
                  </a:lnTo>
                  <a:lnTo>
                    <a:pt x="2954973" y="1089677"/>
                  </a:lnTo>
                  <a:cubicBezTo>
                    <a:pt x="2918777" y="1174450"/>
                    <a:pt x="2829243" y="1228742"/>
                    <a:pt x="2728277" y="1228742"/>
                  </a:cubicBezTo>
                  <a:lnTo>
                    <a:pt x="2489200" y="1228742"/>
                  </a:lnTo>
                  <a:lnTo>
                    <a:pt x="2489704" y="1227790"/>
                  </a:lnTo>
                  <a:lnTo>
                    <a:pt x="2144077" y="1227790"/>
                  </a:lnTo>
                  <a:cubicBezTo>
                    <a:pt x="2057400" y="1227790"/>
                    <a:pt x="1977390" y="1181117"/>
                    <a:pt x="1941196" y="1110632"/>
                  </a:cubicBezTo>
                  <a:lnTo>
                    <a:pt x="1869758" y="980140"/>
                  </a:lnTo>
                  <a:lnTo>
                    <a:pt x="1648777" y="2006935"/>
                  </a:lnTo>
                  <a:cubicBezTo>
                    <a:pt x="1635442" y="2064085"/>
                    <a:pt x="1584960" y="2103137"/>
                    <a:pt x="1524000" y="2103137"/>
                  </a:cubicBezTo>
                  <a:cubicBezTo>
                    <a:pt x="1523048" y="2103137"/>
                    <a:pt x="1521142" y="2103137"/>
                    <a:pt x="1520190" y="2103137"/>
                  </a:cubicBezTo>
                  <a:cubicBezTo>
                    <a:pt x="1458277" y="2101232"/>
                    <a:pt x="1407796" y="2059322"/>
                    <a:pt x="1398271" y="2001220"/>
                  </a:cubicBezTo>
                  <a:lnTo>
                    <a:pt x="1138238" y="319105"/>
                  </a:lnTo>
                  <a:lnTo>
                    <a:pt x="918210" y="1331612"/>
                  </a:lnTo>
                  <a:cubicBezTo>
                    <a:pt x="906780" y="1384000"/>
                    <a:pt x="861060" y="1422100"/>
                    <a:pt x="803910" y="1426862"/>
                  </a:cubicBezTo>
                  <a:cubicBezTo>
                    <a:pt x="745807" y="1431625"/>
                    <a:pt x="693420" y="1400192"/>
                    <a:pt x="673418" y="1348757"/>
                  </a:cubicBezTo>
                  <a:lnTo>
                    <a:pt x="521970" y="959185"/>
                  </a:lnTo>
                  <a:lnTo>
                    <a:pt x="465773" y="1089677"/>
                  </a:lnTo>
                  <a:cubicBezTo>
                    <a:pt x="429577" y="1174450"/>
                    <a:pt x="340043" y="1228742"/>
                    <a:pt x="239077" y="1228742"/>
                  </a:cubicBezTo>
                  <a:lnTo>
                    <a:pt x="0" y="1228742"/>
                  </a:lnTo>
                  <a:cubicBezTo>
                    <a:pt x="32385" y="1171592"/>
                    <a:pt x="60960" y="1117300"/>
                    <a:pt x="86677" y="1064912"/>
                  </a:cubicBezTo>
                  <a:lnTo>
                    <a:pt x="239077" y="1064912"/>
                  </a:lnTo>
                  <a:cubicBezTo>
                    <a:pt x="272415" y="1064912"/>
                    <a:pt x="304800" y="1048720"/>
                    <a:pt x="314325" y="1025860"/>
                  </a:cubicBezTo>
                  <a:lnTo>
                    <a:pt x="389573" y="850600"/>
                  </a:lnTo>
                  <a:cubicBezTo>
                    <a:pt x="412432" y="799165"/>
                    <a:pt x="465773" y="766780"/>
                    <a:pt x="524827" y="767732"/>
                  </a:cubicBezTo>
                  <a:cubicBezTo>
                    <a:pt x="584835" y="769637"/>
                    <a:pt x="636270" y="802975"/>
                    <a:pt x="656273" y="855362"/>
                  </a:cubicBezTo>
                  <a:lnTo>
                    <a:pt x="782955" y="1181117"/>
                  </a:lnTo>
                  <a:lnTo>
                    <a:pt x="1018223" y="96220"/>
                  </a:lnTo>
                  <a:cubicBezTo>
                    <a:pt x="1030605" y="38117"/>
                    <a:pt x="1082993" y="-935"/>
                    <a:pt x="1145857" y="17"/>
                  </a:cubicBezTo>
                  <a:close/>
                </a:path>
              </a:pathLst>
            </a:custGeom>
            <a:solidFill>
              <a:srgbClr val="FFFFFF"/>
            </a:solidFill>
            <a:ln w="9525" cap="flat">
              <a:noFill/>
              <a:prstDash val="solid"/>
              <a:miter/>
            </a:ln>
          </p:spPr>
          <p:txBody>
            <a:bodyPr rtlCol="0" anchor="ctr"/>
            <a:lstStyle/>
            <a:p>
              <a:endParaRPr lang="de-DE"/>
            </a:p>
          </p:txBody>
        </p:sp>
      </p:grpSp>
      <p:sp>
        <p:nvSpPr>
          <p:cNvPr id="25" name="Textplatzhalter 5">
            <a:extLst>
              <a:ext uri="{FF2B5EF4-FFF2-40B4-BE49-F238E27FC236}">
                <a16:creationId xmlns:a16="http://schemas.microsoft.com/office/drawing/2014/main" id="{502710C3-58DB-435F-985F-5B7249BA270A}"/>
              </a:ext>
            </a:extLst>
          </p:cNvPr>
          <p:cNvSpPr txBox="1">
            <a:spLocks/>
          </p:cNvSpPr>
          <p:nvPr/>
        </p:nvSpPr>
        <p:spPr bwMode="gray">
          <a:xfrm>
            <a:off x="431800" y="1412875"/>
            <a:ext cx="11325224" cy="5014913"/>
          </a:xfrm>
          <a:prstGeom prst="rect">
            <a:avLst/>
          </a:prstGeom>
          <a:gradFill>
            <a:gsLst>
              <a:gs pos="0">
                <a:schemeClr val="accent1"/>
              </a:gs>
              <a:gs pos="100000">
                <a:schemeClr val="accent1">
                  <a:lumMod val="50000"/>
                </a:schemeClr>
              </a:gs>
            </a:gsLst>
            <a:lin ang="4200000" scaled="0"/>
          </a:gradFill>
        </p:spPr>
        <p:txBody>
          <a:bodyPr vert="horz" lIns="0" tIns="0" rIns="0" bIns="0" rtlCol="0" anchor="ctr">
            <a:noAutofit/>
          </a:bodyPr>
          <a:lstStyle>
            <a:defPPr>
              <a:defRPr lang="de-DE"/>
            </a:defPPr>
            <a:lvl1pPr indent="0" algn="ctr" defTabSz="1088545">
              <a:lnSpc>
                <a:spcPct val="100000"/>
              </a:lnSpc>
              <a:spcBef>
                <a:spcPts val="0"/>
              </a:spcBef>
              <a:spcAft>
                <a:spcPts val="1200"/>
              </a:spcAft>
              <a:buFontTx/>
              <a:buNone/>
              <a:defRPr sz="2800" b="1">
                <a:solidFill>
                  <a:schemeClr val="bg1"/>
                </a:solidFill>
              </a:defRPr>
            </a:lvl1pPr>
            <a:lvl2pPr marL="180007" indent="-180007" defTabSz="1088545">
              <a:lnSpc>
                <a:spcPct val="130000"/>
              </a:lnSpc>
              <a:spcBef>
                <a:spcPts val="0"/>
              </a:spcBef>
              <a:buClr>
                <a:schemeClr val="accent1"/>
              </a:buClr>
              <a:buFont typeface="Wingdings" panose="05000000000000000000" pitchFamily="2" charset="2"/>
              <a:buChar char="§"/>
              <a:defRPr sz="1800"/>
            </a:lvl2pPr>
            <a:lvl3pPr marL="360014" indent="-180007" defTabSz="1088545">
              <a:lnSpc>
                <a:spcPct val="130000"/>
              </a:lnSpc>
              <a:spcBef>
                <a:spcPts val="0"/>
              </a:spcBef>
              <a:buClr>
                <a:schemeClr val="accent1"/>
              </a:buClr>
              <a:buFont typeface="Wingdings" panose="05000000000000000000" pitchFamily="2" charset="2"/>
              <a:buChar char="§"/>
              <a:defRPr sz="1800"/>
            </a:lvl3pPr>
            <a:lvl4pPr marL="540021" indent="-180007" defTabSz="1088545">
              <a:lnSpc>
                <a:spcPct val="130000"/>
              </a:lnSpc>
              <a:spcBef>
                <a:spcPts val="0"/>
              </a:spcBef>
              <a:buClr>
                <a:schemeClr val="accent1"/>
              </a:buClr>
              <a:buFont typeface="Wingdings" panose="05000000000000000000" pitchFamily="2" charset="2"/>
              <a:buChar char="§"/>
              <a:defRPr sz="1800"/>
            </a:lvl4pPr>
            <a:lvl5pPr marL="720028" indent="-180007" defTabSz="1088545">
              <a:lnSpc>
                <a:spcPct val="130000"/>
              </a:lnSpc>
              <a:spcBef>
                <a:spcPts val="0"/>
              </a:spcBef>
              <a:buClr>
                <a:schemeClr val="accent1"/>
              </a:buClr>
              <a:buFont typeface="Wingdings" panose="05000000000000000000" pitchFamily="2" charset="2"/>
              <a:buChar char="§"/>
              <a:defRPr sz="1800"/>
            </a:lvl5pPr>
            <a:lvl6pPr marL="720028" indent="-180007" defTabSz="1088545">
              <a:lnSpc>
                <a:spcPct val="130000"/>
              </a:lnSpc>
              <a:spcBef>
                <a:spcPts val="0"/>
              </a:spcBef>
              <a:buClr>
                <a:schemeClr val="accent1"/>
              </a:buClr>
              <a:buFont typeface="Wingdings" panose="05000000000000000000" pitchFamily="2" charset="2"/>
              <a:buChar char="§"/>
              <a:defRPr sz="1800"/>
            </a:lvl6pPr>
            <a:lvl7pPr marL="720028" indent="-180007" defTabSz="1088545">
              <a:lnSpc>
                <a:spcPct val="130000"/>
              </a:lnSpc>
              <a:spcBef>
                <a:spcPts val="0"/>
              </a:spcBef>
              <a:buClr>
                <a:schemeClr val="accent1"/>
              </a:buClr>
              <a:buFont typeface="Wingdings" panose="05000000000000000000" pitchFamily="2" charset="2"/>
              <a:buChar char="§"/>
              <a:defRPr sz="1800"/>
            </a:lvl7pPr>
            <a:lvl8pPr marL="720028" indent="-180007" defTabSz="1088545">
              <a:lnSpc>
                <a:spcPct val="130000"/>
              </a:lnSpc>
              <a:spcBef>
                <a:spcPts val="0"/>
              </a:spcBef>
              <a:buClr>
                <a:schemeClr val="accent1"/>
              </a:buClr>
              <a:buFont typeface="Wingdings" panose="05000000000000000000" pitchFamily="2" charset="2"/>
              <a:buChar char="§"/>
              <a:defRPr sz="1800"/>
            </a:lvl8pPr>
            <a:lvl9pPr marL="720028" indent="-180007" defTabSz="1088545">
              <a:lnSpc>
                <a:spcPct val="130000"/>
              </a:lnSpc>
              <a:spcBef>
                <a:spcPts val="0"/>
              </a:spcBef>
              <a:buClr>
                <a:schemeClr val="accent1"/>
              </a:buClr>
              <a:buFont typeface="Wingdings" panose="05000000000000000000" pitchFamily="2" charset="2"/>
              <a:buChar char="§"/>
              <a:defRPr sz="1800"/>
            </a:lvl9pPr>
          </a:lstStyle>
          <a:p>
            <a:r>
              <a:rPr lang="en-US" dirty="0"/>
              <a:t>Enthusiasm for innovation, </a:t>
            </a:r>
          </a:p>
          <a:p>
            <a:r>
              <a:rPr lang="en-US" dirty="0"/>
              <a:t>closeness to people, </a:t>
            </a:r>
          </a:p>
          <a:p>
            <a:r>
              <a:rPr lang="en-US" dirty="0"/>
              <a:t>understanding the business. </a:t>
            </a:r>
          </a:p>
          <a:p>
            <a:br>
              <a:rPr lang="en-US" dirty="0"/>
            </a:br>
            <a:r>
              <a:rPr lang="en-US" dirty="0"/>
              <a:t>As a strong technology partner </a:t>
            </a:r>
          </a:p>
          <a:p>
            <a:r>
              <a:rPr lang="en-US" dirty="0"/>
              <a:t>we are the digital heartbeat of the Schwarz Group</a:t>
            </a:r>
            <a:r>
              <a:rPr lang="en-US"/>
              <a:t>. </a:t>
            </a:r>
            <a:endParaRPr lang="en-US" dirty="0"/>
          </a:p>
          <a:p>
            <a:endParaRPr lang="en-US" dirty="0"/>
          </a:p>
          <a:p>
            <a:r>
              <a:rPr lang="en-US" dirty="0"/>
              <a:t>Efficient, fast, and flexible.</a:t>
            </a:r>
          </a:p>
        </p:txBody>
      </p:sp>
      <p:sp>
        <p:nvSpPr>
          <p:cNvPr id="6" name="Foliennummernplatzhalter 5">
            <a:extLst>
              <a:ext uri="{FF2B5EF4-FFF2-40B4-BE49-F238E27FC236}">
                <a16:creationId xmlns:a16="http://schemas.microsoft.com/office/drawing/2014/main" id="{BF6F5FEC-8A9D-43FF-BCEE-E00F76FCE783}"/>
              </a:ext>
            </a:extLst>
          </p:cNvPr>
          <p:cNvSpPr>
            <a:spLocks noGrp="1"/>
          </p:cNvSpPr>
          <p:nvPr>
            <p:ph type="sldNum" sz="quarter" idx="12"/>
          </p:nvPr>
        </p:nvSpPr>
        <p:spPr/>
        <p:txBody>
          <a:bodyPr/>
          <a:lstStyle/>
          <a:p>
            <a:fld id="{0C7C1E0B-BD27-42F8-BC6B-2F0636970842}" type="slidenum">
              <a:rPr lang="de-DE" smtClean="0"/>
              <a:pPr/>
              <a:t>43</a:t>
            </a:fld>
            <a:endParaRPr lang="de-DE"/>
          </a:p>
        </p:txBody>
      </p:sp>
    </p:spTree>
    <p:extLst>
      <p:ext uri="{BB962C8B-B14F-4D97-AF65-F5344CB8AC3E}">
        <p14:creationId xmlns:p14="http://schemas.microsoft.com/office/powerpoint/2010/main" val="27844614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9EEA175-DCEF-4AF4-B5E3-46AEE5F9874B}"/>
              </a:ext>
            </a:extLst>
          </p:cNvPr>
          <p:cNvSpPr>
            <a:spLocks noGrp="1"/>
          </p:cNvSpPr>
          <p:nvPr>
            <p:ph type="title"/>
          </p:nvPr>
        </p:nvSpPr>
        <p:spPr>
          <a:xfrm>
            <a:off x="431800" y="428625"/>
            <a:ext cx="11325225" cy="335046"/>
          </a:xfrm>
        </p:spPr>
        <p:txBody>
          <a:bodyPr/>
          <a:lstStyle/>
          <a:p>
            <a:r>
              <a:rPr lang="en-US" dirty="0"/>
              <a:t>Our mission</a:t>
            </a:r>
          </a:p>
        </p:txBody>
      </p:sp>
      <p:grpSp>
        <p:nvGrpSpPr>
          <p:cNvPr id="23" name="Gruppieren 22">
            <a:extLst>
              <a:ext uri="{FF2B5EF4-FFF2-40B4-BE49-F238E27FC236}">
                <a16:creationId xmlns:a16="http://schemas.microsoft.com/office/drawing/2014/main" id="{7E188809-432F-4BC4-9091-83FE6E796A42}"/>
              </a:ext>
            </a:extLst>
          </p:cNvPr>
          <p:cNvGrpSpPr/>
          <p:nvPr/>
        </p:nvGrpSpPr>
        <p:grpSpPr>
          <a:xfrm>
            <a:off x="8804508" y="320871"/>
            <a:ext cx="4139609" cy="902386"/>
            <a:chOff x="456406" y="1924735"/>
            <a:chExt cx="13763941" cy="3000375"/>
          </a:xfrm>
        </p:grpSpPr>
        <p:sp>
          <p:nvSpPr>
            <p:cNvPr id="11" name="Freihandform: Form 10">
              <a:extLst>
                <a:ext uri="{FF2B5EF4-FFF2-40B4-BE49-F238E27FC236}">
                  <a16:creationId xmlns:a16="http://schemas.microsoft.com/office/drawing/2014/main" id="{7D4DFA32-15E6-4754-BDC5-866BABA07F85}"/>
                </a:ext>
              </a:extLst>
            </p:cNvPr>
            <p:cNvSpPr/>
            <p:nvPr/>
          </p:nvSpPr>
          <p:spPr>
            <a:xfrm>
              <a:off x="456406" y="2376264"/>
              <a:ext cx="5648325" cy="2105025"/>
            </a:xfrm>
            <a:custGeom>
              <a:avLst/>
              <a:gdLst>
                <a:gd name="connsiteX0" fmla="*/ 5568315 w 5648325"/>
                <a:gd name="connsiteY0" fmla="*/ 1066865 h 2105025"/>
                <a:gd name="connsiteX1" fmla="*/ 5335905 w 5648325"/>
                <a:gd name="connsiteY1" fmla="*/ 1066865 h 2105025"/>
                <a:gd name="connsiteX2" fmla="*/ 5278755 w 5648325"/>
                <a:gd name="connsiteY2" fmla="*/ 1039243 h 2105025"/>
                <a:gd name="connsiteX3" fmla="*/ 5160645 w 5648325"/>
                <a:gd name="connsiteY3" fmla="*/ 823978 h 2105025"/>
                <a:gd name="connsiteX4" fmla="*/ 5030153 w 5648325"/>
                <a:gd name="connsiteY4" fmla="*/ 758255 h 2105025"/>
                <a:gd name="connsiteX5" fmla="*/ 4921568 w 5648325"/>
                <a:gd name="connsiteY5" fmla="*/ 852553 h 2105025"/>
                <a:gd name="connsiteX6" fmla="*/ 4720590 w 5648325"/>
                <a:gd name="connsiteY6" fmla="*/ 1783145 h 2105025"/>
                <a:gd name="connsiteX7" fmla="*/ 4460558 w 5648325"/>
                <a:gd name="connsiteY7" fmla="*/ 101983 h 2105025"/>
                <a:gd name="connsiteX8" fmla="*/ 4338638 w 5648325"/>
                <a:gd name="connsiteY8" fmla="*/ 65 h 2105025"/>
                <a:gd name="connsiteX9" fmla="*/ 4211003 w 5648325"/>
                <a:gd name="connsiteY9" fmla="*/ 96268 h 2105025"/>
                <a:gd name="connsiteX10" fmla="*/ 3975735 w 5648325"/>
                <a:gd name="connsiteY10" fmla="*/ 1181165 h 2105025"/>
                <a:gd name="connsiteX11" fmla="*/ 3848100 w 5648325"/>
                <a:gd name="connsiteY11" fmla="*/ 856363 h 2105025"/>
                <a:gd name="connsiteX12" fmla="*/ 3716655 w 5648325"/>
                <a:gd name="connsiteY12" fmla="*/ 768733 h 2105025"/>
                <a:gd name="connsiteX13" fmla="*/ 3581400 w 5648325"/>
                <a:gd name="connsiteY13" fmla="*/ 851600 h 2105025"/>
                <a:gd name="connsiteX14" fmla="*/ 3506153 w 5648325"/>
                <a:gd name="connsiteY14" fmla="*/ 1026860 h 2105025"/>
                <a:gd name="connsiteX15" fmla="*/ 3430905 w 5648325"/>
                <a:gd name="connsiteY15" fmla="*/ 1065913 h 2105025"/>
                <a:gd name="connsiteX16" fmla="*/ 3095625 w 5648325"/>
                <a:gd name="connsiteY16" fmla="*/ 1065913 h 2105025"/>
                <a:gd name="connsiteX17" fmla="*/ 3091815 w 5648325"/>
                <a:gd name="connsiteY17" fmla="*/ 1065913 h 2105025"/>
                <a:gd name="connsiteX18" fmla="*/ 2634615 w 5648325"/>
                <a:gd name="connsiteY18" fmla="*/ 1065913 h 2105025"/>
                <a:gd name="connsiteX19" fmla="*/ 2577465 w 5648325"/>
                <a:gd name="connsiteY19" fmla="*/ 1038290 h 2105025"/>
                <a:gd name="connsiteX20" fmla="*/ 2459355 w 5648325"/>
                <a:gd name="connsiteY20" fmla="*/ 823025 h 2105025"/>
                <a:gd name="connsiteX21" fmla="*/ 2328863 w 5648325"/>
                <a:gd name="connsiteY21" fmla="*/ 757303 h 2105025"/>
                <a:gd name="connsiteX22" fmla="*/ 2220278 w 5648325"/>
                <a:gd name="connsiteY22" fmla="*/ 851600 h 2105025"/>
                <a:gd name="connsiteX23" fmla="*/ 2019300 w 5648325"/>
                <a:gd name="connsiteY23" fmla="*/ 1782193 h 2105025"/>
                <a:gd name="connsiteX24" fmla="*/ 1761173 w 5648325"/>
                <a:gd name="connsiteY24" fmla="*/ 101983 h 2105025"/>
                <a:gd name="connsiteX25" fmla="*/ 1639253 w 5648325"/>
                <a:gd name="connsiteY25" fmla="*/ 65 h 2105025"/>
                <a:gd name="connsiteX26" fmla="*/ 1511618 w 5648325"/>
                <a:gd name="connsiteY26" fmla="*/ 96268 h 2105025"/>
                <a:gd name="connsiteX27" fmla="*/ 1276350 w 5648325"/>
                <a:gd name="connsiteY27" fmla="*/ 1181165 h 2105025"/>
                <a:gd name="connsiteX28" fmla="*/ 1149668 w 5648325"/>
                <a:gd name="connsiteY28" fmla="*/ 855410 h 2105025"/>
                <a:gd name="connsiteX29" fmla="*/ 1018223 w 5648325"/>
                <a:gd name="connsiteY29" fmla="*/ 767780 h 2105025"/>
                <a:gd name="connsiteX30" fmla="*/ 882968 w 5648325"/>
                <a:gd name="connsiteY30" fmla="*/ 850648 h 2105025"/>
                <a:gd name="connsiteX31" fmla="*/ 807720 w 5648325"/>
                <a:gd name="connsiteY31" fmla="*/ 1025908 h 2105025"/>
                <a:gd name="connsiteX32" fmla="*/ 732473 w 5648325"/>
                <a:gd name="connsiteY32" fmla="*/ 1064960 h 2105025"/>
                <a:gd name="connsiteX33" fmla="*/ 81915 w 5648325"/>
                <a:gd name="connsiteY33" fmla="*/ 1064960 h 2105025"/>
                <a:gd name="connsiteX34" fmla="*/ 0 w 5648325"/>
                <a:gd name="connsiteY34" fmla="*/ 1146875 h 2105025"/>
                <a:gd name="connsiteX35" fmla="*/ 81915 w 5648325"/>
                <a:gd name="connsiteY35" fmla="*/ 1228790 h 2105025"/>
                <a:gd name="connsiteX36" fmla="*/ 731520 w 5648325"/>
                <a:gd name="connsiteY36" fmla="*/ 1228790 h 2105025"/>
                <a:gd name="connsiteX37" fmla="*/ 958215 w 5648325"/>
                <a:gd name="connsiteY37" fmla="*/ 1089725 h 2105025"/>
                <a:gd name="connsiteX38" fmla="*/ 1014413 w 5648325"/>
                <a:gd name="connsiteY38" fmla="*/ 959233 h 2105025"/>
                <a:gd name="connsiteX39" fmla="*/ 1165860 w 5648325"/>
                <a:gd name="connsiteY39" fmla="*/ 1348805 h 2105025"/>
                <a:gd name="connsiteX40" fmla="*/ 1296353 w 5648325"/>
                <a:gd name="connsiteY40" fmla="*/ 1426910 h 2105025"/>
                <a:gd name="connsiteX41" fmla="*/ 1410653 w 5648325"/>
                <a:gd name="connsiteY41" fmla="*/ 1331660 h 2105025"/>
                <a:gd name="connsiteX42" fmla="*/ 1628775 w 5648325"/>
                <a:gd name="connsiteY42" fmla="*/ 322010 h 2105025"/>
                <a:gd name="connsiteX43" fmla="*/ 1888808 w 5648325"/>
                <a:gd name="connsiteY43" fmla="*/ 2004125 h 2105025"/>
                <a:gd name="connsiteX44" fmla="*/ 2010728 w 5648325"/>
                <a:gd name="connsiteY44" fmla="*/ 2106043 h 2105025"/>
                <a:gd name="connsiteX45" fmla="*/ 2014538 w 5648325"/>
                <a:gd name="connsiteY45" fmla="*/ 2106043 h 2105025"/>
                <a:gd name="connsiteX46" fmla="*/ 2139315 w 5648325"/>
                <a:gd name="connsiteY46" fmla="*/ 2009840 h 2105025"/>
                <a:gd name="connsiteX47" fmla="*/ 2360295 w 5648325"/>
                <a:gd name="connsiteY47" fmla="*/ 983045 h 2105025"/>
                <a:gd name="connsiteX48" fmla="*/ 2431733 w 5648325"/>
                <a:gd name="connsiteY48" fmla="*/ 1113538 h 2105025"/>
                <a:gd name="connsiteX49" fmla="*/ 2634615 w 5648325"/>
                <a:gd name="connsiteY49" fmla="*/ 1230695 h 2105025"/>
                <a:gd name="connsiteX50" fmla="*/ 2776538 w 5648325"/>
                <a:gd name="connsiteY50" fmla="*/ 1230695 h 2105025"/>
                <a:gd name="connsiteX51" fmla="*/ 2780348 w 5648325"/>
                <a:gd name="connsiteY51" fmla="*/ 1230695 h 2105025"/>
                <a:gd name="connsiteX52" fmla="*/ 3429953 w 5648325"/>
                <a:gd name="connsiteY52" fmla="*/ 1230695 h 2105025"/>
                <a:gd name="connsiteX53" fmla="*/ 3656648 w 5648325"/>
                <a:gd name="connsiteY53" fmla="*/ 1091630 h 2105025"/>
                <a:gd name="connsiteX54" fmla="*/ 3712845 w 5648325"/>
                <a:gd name="connsiteY54" fmla="*/ 961138 h 2105025"/>
                <a:gd name="connsiteX55" fmla="*/ 3864293 w 5648325"/>
                <a:gd name="connsiteY55" fmla="*/ 1350710 h 2105025"/>
                <a:gd name="connsiteX56" fmla="*/ 3994785 w 5648325"/>
                <a:gd name="connsiteY56" fmla="*/ 1428815 h 2105025"/>
                <a:gd name="connsiteX57" fmla="*/ 4109085 w 5648325"/>
                <a:gd name="connsiteY57" fmla="*/ 1333565 h 2105025"/>
                <a:gd name="connsiteX58" fmla="*/ 4329113 w 5648325"/>
                <a:gd name="connsiteY58" fmla="*/ 321058 h 2105025"/>
                <a:gd name="connsiteX59" fmla="*/ 4589145 w 5648325"/>
                <a:gd name="connsiteY59" fmla="*/ 2003173 h 2105025"/>
                <a:gd name="connsiteX60" fmla="*/ 4711065 w 5648325"/>
                <a:gd name="connsiteY60" fmla="*/ 2105090 h 2105025"/>
                <a:gd name="connsiteX61" fmla="*/ 4714875 w 5648325"/>
                <a:gd name="connsiteY61" fmla="*/ 2105090 h 2105025"/>
                <a:gd name="connsiteX62" fmla="*/ 4839653 w 5648325"/>
                <a:gd name="connsiteY62" fmla="*/ 2008888 h 2105025"/>
                <a:gd name="connsiteX63" fmla="*/ 5060633 w 5648325"/>
                <a:gd name="connsiteY63" fmla="*/ 982093 h 2105025"/>
                <a:gd name="connsiteX64" fmla="*/ 5132070 w 5648325"/>
                <a:gd name="connsiteY64" fmla="*/ 1112585 h 2105025"/>
                <a:gd name="connsiteX65" fmla="*/ 5334953 w 5648325"/>
                <a:gd name="connsiteY65" fmla="*/ 1229743 h 2105025"/>
                <a:gd name="connsiteX66" fmla="*/ 5476875 w 5648325"/>
                <a:gd name="connsiteY66" fmla="*/ 1229743 h 2105025"/>
                <a:gd name="connsiteX67" fmla="*/ 5480685 w 5648325"/>
                <a:gd name="connsiteY67" fmla="*/ 1229743 h 2105025"/>
                <a:gd name="connsiteX68" fmla="*/ 5656898 w 5648325"/>
                <a:gd name="connsiteY68" fmla="*/ 1229743 h 2105025"/>
                <a:gd name="connsiteX69" fmla="*/ 5568315 w 5648325"/>
                <a:gd name="connsiteY69" fmla="*/ 106686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48325" h="2105025">
                  <a:moveTo>
                    <a:pt x="5568315" y="1066865"/>
                  </a:moveTo>
                  <a:lnTo>
                    <a:pt x="5335905" y="1066865"/>
                  </a:lnTo>
                  <a:cubicBezTo>
                    <a:pt x="5307330" y="1066865"/>
                    <a:pt x="5285423" y="1052578"/>
                    <a:pt x="5278755" y="1039243"/>
                  </a:cubicBezTo>
                  <a:lnTo>
                    <a:pt x="5160645" y="823978"/>
                  </a:lnTo>
                  <a:cubicBezTo>
                    <a:pt x="5136833" y="778258"/>
                    <a:pt x="5084445" y="751588"/>
                    <a:pt x="5030153" y="758255"/>
                  </a:cubicBezTo>
                  <a:cubicBezTo>
                    <a:pt x="4975860" y="764923"/>
                    <a:pt x="4932998" y="802070"/>
                    <a:pt x="4921568" y="852553"/>
                  </a:cubicBezTo>
                  <a:lnTo>
                    <a:pt x="4720590" y="1783145"/>
                  </a:lnTo>
                  <a:lnTo>
                    <a:pt x="4460558" y="101983"/>
                  </a:lnTo>
                  <a:cubicBezTo>
                    <a:pt x="4451033" y="43880"/>
                    <a:pt x="4400550" y="1970"/>
                    <a:pt x="4338638" y="65"/>
                  </a:cubicBezTo>
                  <a:cubicBezTo>
                    <a:pt x="4275773" y="-887"/>
                    <a:pt x="4223385" y="38165"/>
                    <a:pt x="4211003" y="96268"/>
                  </a:cubicBezTo>
                  <a:lnTo>
                    <a:pt x="3975735" y="1181165"/>
                  </a:lnTo>
                  <a:lnTo>
                    <a:pt x="3848100" y="856363"/>
                  </a:lnTo>
                  <a:cubicBezTo>
                    <a:pt x="3828098" y="803975"/>
                    <a:pt x="3776663" y="770638"/>
                    <a:pt x="3716655" y="768733"/>
                  </a:cubicBezTo>
                  <a:cubicBezTo>
                    <a:pt x="3656648" y="767780"/>
                    <a:pt x="3604260" y="800165"/>
                    <a:pt x="3581400" y="851600"/>
                  </a:cubicBezTo>
                  <a:lnTo>
                    <a:pt x="3506153" y="1026860"/>
                  </a:lnTo>
                  <a:cubicBezTo>
                    <a:pt x="3496628" y="1049720"/>
                    <a:pt x="3464243" y="1065913"/>
                    <a:pt x="3430905" y="1065913"/>
                  </a:cubicBezTo>
                  <a:lnTo>
                    <a:pt x="3095625" y="1065913"/>
                  </a:lnTo>
                  <a:cubicBezTo>
                    <a:pt x="3094673" y="1065913"/>
                    <a:pt x="3092768" y="1065913"/>
                    <a:pt x="3091815" y="1065913"/>
                  </a:cubicBezTo>
                  <a:lnTo>
                    <a:pt x="2634615" y="1065913"/>
                  </a:lnTo>
                  <a:cubicBezTo>
                    <a:pt x="2606040" y="1065913"/>
                    <a:pt x="2584133" y="1051625"/>
                    <a:pt x="2577465" y="1038290"/>
                  </a:cubicBezTo>
                  <a:lnTo>
                    <a:pt x="2459355" y="823025"/>
                  </a:lnTo>
                  <a:cubicBezTo>
                    <a:pt x="2435543" y="777305"/>
                    <a:pt x="2383155" y="750635"/>
                    <a:pt x="2328863" y="757303"/>
                  </a:cubicBezTo>
                  <a:cubicBezTo>
                    <a:pt x="2274570" y="763970"/>
                    <a:pt x="2231708" y="801118"/>
                    <a:pt x="2220278" y="851600"/>
                  </a:cubicBezTo>
                  <a:lnTo>
                    <a:pt x="2019300" y="1782193"/>
                  </a:lnTo>
                  <a:lnTo>
                    <a:pt x="1761173" y="101983"/>
                  </a:lnTo>
                  <a:cubicBezTo>
                    <a:pt x="1751648" y="43880"/>
                    <a:pt x="1701165" y="1970"/>
                    <a:pt x="1639253" y="65"/>
                  </a:cubicBezTo>
                  <a:cubicBezTo>
                    <a:pt x="1576388" y="-1840"/>
                    <a:pt x="1524000" y="38165"/>
                    <a:pt x="1511618" y="96268"/>
                  </a:cubicBezTo>
                  <a:lnTo>
                    <a:pt x="1276350" y="1181165"/>
                  </a:lnTo>
                  <a:lnTo>
                    <a:pt x="1149668" y="855410"/>
                  </a:lnTo>
                  <a:cubicBezTo>
                    <a:pt x="1129665" y="803023"/>
                    <a:pt x="1078230" y="768733"/>
                    <a:pt x="1018223" y="767780"/>
                  </a:cubicBezTo>
                  <a:cubicBezTo>
                    <a:pt x="958215" y="766828"/>
                    <a:pt x="905828" y="799213"/>
                    <a:pt x="882968" y="850648"/>
                  </a:cubicBezTo>
                  <a:lnTo>
                    <a:pt x="807720" y="1025908"/>
                  </a:lnTo>
                  <a:cubicBezTo>
                    <a:pt x="798195" y="1048768"/>
                    <a:pt x="765810" y="1064960"/>
                    <a:pt x="732473" y="1064960"/>
                  </a:cubicBezTo>
                  <a:lnTo>
                    <a:pt x="81915" y="1064960"/>
                  </a:lnTo>
                  <a:cubicBezTo>
                    <a:pt x="36195" y="1064960"/>
                    <a:pt x="0" y="1102108"/>
                    <a:pt x="0" y="1146875"/>
                  </a:cubicBezTo>
                  <a:cubicBezTo>
                    <a:pt x="0" y="1192595"/>
                    <a:pt x="37148" y="1228790"/>
                    <a:pt x="81915" y="1228790"/>
                  </a:cubicBezTo>
                  <a:lnTo>
                    <a:pt x="731520" y="1228790"/>
                  </a:lnTo>
                  <a:cubicBezTo>
                    <a:pt x="832485" y="1228790"/>
                    <a:pt x="922020" y="1174498"/>
                    <a:pt x="958215" y="1089725"/>
                  </a:cubicBezTo>
                  <a:lnTo>
                    <a:pt x="1014413" y="959233"/>
                  </a:lnTo>
                  <a:lnTo>
                    <a:pt x="1165860" y="1348805"/>
                  </a:lnTo>
                  <a:cubicBezTo>
                    <a:pt x="1185863" y="1400240"/>
                    <a:pt x="1238250" y="1431673"/>
                    <a:pt x="1296353" y="1426910"/>
                  </a:cubicBezTo>
                  <a:cubicBezTo>
                    <a:pt x="1353503" y="1422148"/>
                    <a:pt x="1399223" y="1384048"/>
                    <a:pt x="1410653" y="1331660"/>
                  </a:cubicBezTo>
                  <a:lnTo>
                    <a:pt x="1628775" y="322010"/>
                  </a:lnTo>
                  <a:lnTo>
                    <a:pt x="1888808" y="2004125"/>
                  </a:lnTo>
                  <a:cubicBezTo>
                    <a:pt x="1898333" y="2062228"/>
                    <a:pt x="1948815" y="2104138"/>
                    <a:pt x="2010728" y="2106043"/>
                  </a:cubicBezTo>
                  <a:cubicBezTo>
                    <a:pt x="2011680" y="2106043"/>
                    <a:pt x="2013585" y="2106043"/>
                    <a:pt x="2014538" y="2106043"/>
                  </a:cubicBezTo>
                  <a:cubicBezTo>
                    <a:pt x="2075498" y="2106043"/>
                    <a:pt x="2125980" y="2066990"/>
                    <a:pt x="2139315" y="2009840"/>
                  </a:cubicBezTo>
                  <a:lnTo>
                    <a:pt x="2360295" y="983045"/>
                  </a:lnTo>
                  <a:lnTo>
                    <a:pt x="2431733" y="1113538"/>
                  </a:lnTo>
                  <a:cubicBezTo>
                    <a:pt x="2467928" y="1184023"/>
                    <a:pt x="2547938" y="1230695"/>
                    <a:pt x="2634615" y="1230695"/>
                  </a:cubicBezTo>
                  <a:lnTo>
                    <a:pt x="2776538" y="1230695"/>
                  </a:lnTo>
                  <a:cubicBezTo>
                    <a:pt x="2777490" y="1230695"/>
                    <a:pt x="2779395" y="1230695"/>
                    <a:pt x="2780348" y="1230695"/>
                  </a:cubicBezTo>
                  <a:lnTo>
                    <a:pt x="3429953" y="1230695"/>
                  </a:lnTo>
                  <a:cubicBezTo>
                    <a:pt x="3530918" y="1230695"/>
                    <a:pt x="3619500" y="1176403"/>
                    <a:pt x="3656648" y="1091630"/>
                  </a:cubicBezTo>
                  <a:lnTo>
                    <a:pt x="3712845" y="961138"/>
                  </a:lnTo>
                  <a:lnTo>
                    <a:pt x="3864293" y="1350710"/>
                  </a:lnTo>
                  <a:cubicBezTo>
                    <a:pt x="3884295" y="1402145"/>
                    <a:pt x="3936683" y="1433578"/>
                    <a:pt x="3994785" y="1428815"/>
                  </a:cubicBezTo>
                  <a:cubicBezTo>
                    <a:pt x="4051935" y="1424053"/>
                    <a:pt x="4097655" y="1385953"/>
                    <a:pt x="4109085" y="1333565"/>
                  </a:cubicBezTo>
                  <a:lnTo>
                    <a:pt x="4329113" y="321058"/>
                  </a:lnTo>
                  <a:lnTo>
                    <a:pt x="4589145" y="2003173"/>
                  </a:lnTo>
                  <a:cubicBezTo>
                    <a:pt x="4598670" y="2061275"/>
                    <a:pt x="4649153" y="2103185"/>
                    <a:pt x="4711065" y="2105090"/>
                  </a:cubicBezTo>
                  <a:cubicBezTo>
                    <a:pt x="4712018" y="2105090"/>
                    <a:pt x="4713923" y="2105090"/>
                    <a:pt x="4714875" y="2105090"/>
                  </a:cubicBezTo>
                  <a:cubicBezTo>
                    <a:pt x="4775835" y="2105090"/>
                    <a:pt x="4826318" y="2066038"/>
                    <a:pt x="4839653" y="2008888"/>
                  </a:cubicBezTo>
                  <a:lnTo>
                    <a:pt x="5060633" y="982093"/>
                  </a:lnTo>
                  <a:lnTo>
                    <a:pt x="5132070" y="1112585"/>
                  </a:lnTo>
                  <a:cubicBezTo>
                    <a:pt x="5168265" y="1183070"/>
                    <a:pt x="5248275" y="1229743"/>
                    <a:pt x="5334953" y="1229743"/>
                  </a:cubicBezTo>
                  <a:lnTo>
                    <a:pt x="5476875" y="1229743"/>
                  </a:lnTo>
                  <a:cubicBezTo>
                    <a:pt x="5477828" y="1229743"/>
                    <a:pt x="5479733" y="1229743"/>
                    <a:pt x="5480685" y="1229743"/>
                  </a:cubicBezTo>
                  <a:lnTo>
                    <a:pt x="5656898" y="1229743"/>
                  </a:lnTo>
                  <a:cubicBezTo>
                    <a:pt x="5623560" y="1173545"/>
                    <a:pt x="5594033" y="1118300"/>
                    <a:pt x="5568315" y="1066865"/>
                  </a:cubicBezTo>
                  <a:close/>
                </a:path>
              </a:pathLst>
            </a:custGeom>
            <a:gradFill>
              <a:gsLst>
                <a:gs pos="0">
                  <a:schemeClr val="bg1">
                    <a:alpha val="0"/>
                  </a:schemeClr>
                </a:gs>
                <a:gs pos="66000">
                  <a:schemeClr val="bg1"/>
                </a:gs>
              </a:gsLst>
              <a:lin ang="0" scaled="0"/>
            </a:gradFill>
            <a:ln w="9525" cap="flat">
              <a:noFill/>
              <a:prstDash val="solid"/>
              <a:miter/>
            </a:ln>
          </p:spPr>
          <p:txBody>
            <a:bodyPr rtlCol="0" anchor="ctr"/>
            <a:lstStyle/>
            <a:p>
              <a:endParaRPr lang="de-DE" dirty="0"/>
            </a:p>
          </p:txBody>
        </p:sp>
        <p:sp>
          <p:nvSpPr>
            <p:cNvPr id="12" name="Freihandform: Form 11">
              <a:extLst>
                <a:ext uri="{FF2B5EF4-FFF2-40B4-BE49-F238E27FC236}">
                  <a16:creationId xmlns:a16="http://schemas.microsoft.com/office/drawing/2014/main" id="{4AE811F9-69C0-44BC-8A39-1E04CFEF1931}"/>
                </a:ext>
              </a:extLst>
            </p:cNvPr>
            <p:cNvSpPr/>
            <p:nvPr/>
          </p:nvSpPr>
          <p:spPr>
            <a:xfrm>
              <a:off x="5982694" y="1924735"/>
              <a:ext cx="3190875" cy="3000375"/>
            </a:xfrm>
            <a:custGeom>
              <a:avLst/>
              <a:gdLst>
                <a:gd name="connsiteX0" fmla="*/ 2300405 w 3190875"/>
                <a:gd name="connsiteY0" fmla="*/ 109 h 3000375"/>
                <a:gd name="connsiteX1" fmla="*/ 1591745 w 3190875"/>
                <a:gd name="connsiteY1" fmla="*/ 372537 h 3000375"/>
                <a:gd name="connsiteX2" fmla="*/ 872607 w 3190875"/>
                <a:gd name="connsiteY2" fmla="*/ 22017 h 3000375"/>
                <a:gd name="connsiteX3" fmla="*/ 118 w 3190875"/>
                <a:gd name="connsiteY3" fmla="*/ 918319 h 3000375"/>
                <a:gd name="connsiteX4" fmla="*/ 50600 w 3190875"/>
                <a:gd name="connsiteY4" fmla="*/ 1204069 h 3000375"/>
                <a:gd name="connsiteX5" fmla="*/ 1461252 w 3190875"/>
                <a:gd name="connsiteY5" fmla="*/ 2938572 h 3000375"/>
                <a:gd name="connsiteX6" fmla="*/ 1799390 w 3190875"/>
                <a:gd name="connsiteY6" fmla="*/ 2933810 h 3000375"/>
                <a:gd name="connsiteX7" fmla="*/ 3149082 w 3190875"/>
                <a:gd name="connsiteY7" fmla="*/ 1182162 h 3000375"/>
                <a:gd name="connsiteX8" fmla="*/ 3199565 w 3190875"/>
                <a:gd name="connsiteY8" fmla="*/ 873552 h 3000375"/>
                <a:gd name="connsiteX9" fmla="*/ 2300405 w 3190875"/>
                <a:gd name="connsiteY9" fmla="*/ 109 h 3000375"/>
                <a:gd name="connsiteX10" fmla="*/ 2300405 w 3190875"/>
                <a:gd name="connsiteY10" fmla="*/ 109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90875" h="3000375">
                  <a:moveTo>
                    <a:pt x="2300405" y="109"/>
                  </a:moveTo>
                  <a:cubicBezTo>
                    <a:pt x="2019418" y="3919"/>
                    <a:pt x="1755575" y="142984"/>
                    <a:pt x="1591745" y="372537"/>
                  </a:cubicBezTo>
                  <a:cubicBezTo>
                    <a:pt x="1421248" y="148699"/>
                    <a:pt x="1153595" y="17254"/>
                    <a:pt x="872607" y="22017"/>
                  </a:cubicBezTo>
                  <a:cubicBezTo>
                    <a:pt x="384927" y="29637"/>
                    <a:pt x="-5598" y="431592"/>
                    <a:pt x="118" y="918319"/>
                  </a:cubicBezTo>
                  <a:cubicBezTo>
                    <a:pt x="-835" y="932607"/>
                    <a:pt x="2975" y="1088817"/>
                    <a:pt x="50600" y="1204069"/>
                  </a:cubicBezTo>
                  <a:cubicBezTo>
                    <a:pt x="165852" y="1565067"/>
                    <a:pt x="503990" y="2158475"/>
                    <a:pt x="1461252" y="2938572"/>
                  </a:cubicBezTo>
                  <a:cubicBezTo>
                    <a:pt x="1572695" y="3038585"/>
                    <a:pt x="1708902" y="3024297"/>
                    <a:pt x="1799390" y="2933810"/>
                  </a:cubicBezTo>
                  <a:cubicBezTo>
                    <a:pt x="2715695" y="2139425"/>
                    <a:pt x="3039545" y="1543159"/>
                    <a:pt x="3149082" y="1182162"/>
                  </a:cubicBezTo>
                  <a:cubicBezTo>
                    <a:pt x="3198613" y="1041192"/>
                    <a:pt x="3199565" y="877362"/>
                    <a:pt x="3199565" y="873552"/>
                  </a:cubicBezTo>
                  <a:cubicBezTo>
                    <a:pt x="3192898" y="383967"/>
                    <a:pt x="2789038" y="-7511"/>
                    <a:pt x="2300405" y="109"/>
                  </a:cubicBezTo>
                  <a:lnTo>
                    <a:pt x="2300405" y="109"/>
                  </a:lnTo>
                  <a:close/>
                </a:path>
              </a:pathLst>
            </a:custGeom>
            <a:solidFill>
              <a:srgbClr val="FFFFFF"/>
            </a:solidFill>
            <a:ln w="9525"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EA6A6341-9532-4D0D-9C33-E6D2C48DDBD2}"/>
                </a:ext>
              </a:extLst>
            </p:cNvPr>
            <p:cNvSpPr/>
            <p:nvPr/>
          </p:nvSpPr>
          <p:spPr>
            <a:xfrm>
              <a:off x="6152851" y="2091532"/>
              <a:ext cx="2876550" cy="2676525"/>
            </a:xfrm>
            <a:custGeom>
              <a:avLst/>
              <a:gdLst>
                <a:gd name="connsiteX0" fmla="*/ 2116912 w 2876550"/>
                <a:gd name="connsiteY0" fmla="*/ 953 h 2676525"/>
                <a:gd name="connsiteX1" fmla="*/ 2877960 w 2876550"/>
                <a:gd name="connsiteY1" fmla="*/ 762000 h 2676525"/>
                <a:gd name="connsiteX2" fmla="*/ 2877960 w 2876550"/>
                <a:gd name="connsiteY2" fmla="*/ 777240 h 2676525"/>
                <a:gd name="connsiteX3" fmla="*/ 2877007 w 2876550"/>
                <a:gd name="connsiteY3" fmla="*/ 797243 h 2676525"/>
                <a:gd name="connsiteX4" fmla="*/ 2830335 w 2876550"/>
                <a:gd name="connsiteY4" fmla="*/ 1028700 h 2676525"/>
                <a:gd name="connsiteX5" fmla="*/ 1548270 w 2876550"/>
                <a:gd name="connsiteY5" fmla="*/ 2636520 h 2676525"/>
                <a:gd name="connsiteX6" fmla="*/ 1439685 w 2876550"/>
                <a:gd name="connsiteY6" fmla="*/ 2676525 h 2676525"/>
                <a:gd name="connsiteX7" fmla="*/ 1331100 w 2876550"/>
                <a:gd name="connsiteY7" fmla="*/ 2636520 h 2676525"/>
                <a:gd name="connsiteX8" fmla="*/ 40462 w 2876550"/>
                <a:gd name="connsiteY8" fmla="*/ 1004888 h 2676525"/>
                <a:gd name="connsiteX9" fmla="*/ 6172 w 2876550"/>
                <a:gd name="connsiteY9" fmla="*/ 855345 h 2676525"/>
                <a:gd name="connsiteX10" fmla="*/ 457 w 2876550"/>
                <a:gd name="connsiteY10" fmla="*/ 761048 h 2676525"/>
                <a:gd name="connsiteX11" fmla="*/ 761505 w 2876550"/>
                <a:gd name="connsiteY11" fmla="*/ 0 h 2676525"/>
                <a:gd name="connsiteX12" fmla="*/ 1377773 w 2876550"/>
                <a:gd name="connsiteY12" fmla="*/ 315278 h 2676525"/>
                <a:gd name="connsiteX13" fmla="*/ 1439685 w 2876550"/>
                <a:gd name="connsiteY13" fmla="*/ 346710 h 2676525"/>
                <a:gd name="connsiteX14" fmla="*/ 1501598 w 2876550"/>
                <a:gd name="connsiteY14" fmla="*/ 315278 h 2676525"/>
                <a:gd name="connsiteX15" fmla="*/ 2116912 w 2876550"/>
                <a:gd name="connsiteY15" fmla="*/ 953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6550" h="2676525">
                  <a:moveTo>
                    <a:pt x="2116912" y="953"/>
                  </a:moveTo>
                  <a:cubicBezTo>
                    <a:pt x="2536965" y="953"/>
                    <a:pt x="2877960" y="341948"/>
                    <a:pt x="2877960" y="762000"/>
                  </a:cubicBezTo>
                  <a:cubicBezTo>
                    <a:pt x="2877960" y="766763"/>
                    <a:pt x="2877960" y="772478"/>
                    <a:pt x="2877960" y="777240"/>
                  </a:cubicBezTo>
                  <a:cubicBezTo>
                    <a:pt x="2877960" y="782003"/>
                    <a:pt x="2877960" y="788670"/>
                    <a:pt x="2877007" y="797243"/>
                  </a:cubicBezTo>
                  <a:cubicBezTo>
                    <a:pt x="2873198" y="878205"/>
                    <a:pt x="2857005" y="956310"/>
                    <a:pt x="2830335" y="1028700"/>
                  </a:cubicBezTo>
                  <a:cubicBezTo>
                    <a:pt x="2732228" y="1333500"/>
                    <a:pt x="2436953" y="1889760"/>
                    <a:pt x="1548270" y="2636520"/>
                  </a:cubicBezTo>
                  <a:cubicBezTo>
                    <a:pt x="1516837" y="2663190"/>
                    <a:pt x="1478737" y="2676525"/>
                    <a:pt x="1439685" y="2676525"/>
                  </a:cubicBezTo>
                  <a:cubicBezTo>
                    <a:pt x="1400632" y="2676525"/>
                    <a:pt x="1362532" y="2663190"/>
                    <a:pt x="1331100" y="2636520"/>
                  </a:cubicBezTo>
                  <a:cubicBezTo>
                    <a:pt x="419557" y="1869758"/>
                    <a:pt x="130950" y="1304925"/>
                    <a:pt x="40462" y="1004888"/>
                  </a:cubicBezTo>
                  <a:cubicBezTo>
                    <a:pt x="24270" y="957263"/>
                    <a:pt x="12840" y="906780"/>
                    <a:pt x="6172" y="855345"/>
                  </a:cubicBezTo>
                  <a:cubicBezTo>
                    <a:pt x="-2400" y="793433"/>
                    <a:pt x="457" y="761048"/>
                    <a:pt x="457" y="761048"/>
                  </a:cubicBezTo>
                  <a:cubicBezTo>
                    <a:pt x="457" y="340995"/>
                    <a:pt x="341453" y="0"/>
                    <a:pt x="761505" y="0"/>
                  </a:cubicBezTo>
                  <a:cubicBezTo>
                    <a:pt x="1014870" y="0"/>
                    <a:pt x="1239660" y="124778"/>
                    <a:pt x="1377773" y="315278"/>
                  </a:cubicBezTo>
                  <a:cubicBezTo>
                    <a:pt x="1393012" y="336233"/>
                    <a:pt x="1415873" y="346710"/>
                    <a:pt x="1439685" y="346710"/>
                  </a:cubicBezTo>
                  <a:cubicBezTo>
                    <a:pt x="1463498" y="346710"/>
                    <a:pt x="1486357" y="336233"/>
                    <a:pt x="1501598" y="315278"/>
                  </a:cubicBezTo>
                  <a:cubicBezTo>
                    <a:pt x="1638757" y="124778"/>
                    <a:pt x="1863548" y="953"/>
                    <a:pt x="2116912" y="953"/>
                  </a:cubicBezTo>
                </a:path>
              </a:pathLst>
            </a:custGeom>
            <a:solidFill>
              <a:schemeClr val="accent1"/>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CDAE32A1-16C3-4E45-A0AB-547AD6D17324}"/>
                </a:ext>
              </a:extLst>
            </p:cNvPr>
            <p:cNvSpPr/>
            <p:nvPr/>
          </p:nvSpPr>
          <p:spPr>
            <a:xfrm>
              <a:off x="9047955" y="2376312"/>
              <a:ext cx="5172392" cy="2103137"/>
            </a:xfrm>
            <a:custGeom>
              <a:avLst/>
              <a:gdLst>
                <a:gd name="connsiteX0" fmla="*/ 1145857 w 5172392"/>
                <a:gd name="connsiteY0" fmla="*/ 17 h 2103137"/>
                <a:gd name="connsiteX1" fmla="*/ 1267777 w 5172392"/>
                <a:gd name="connsiteY1" fmla="*/ 101935 h 2103137"/>
                <a:gd name="connsiteX2" fmla="*/ 1527810 w 5172392"/>
                <a:gd name="connsiteY2" fmla="*/ 1783097 h 2103137"/>
                <a:gd name="connsiteX3" fmla="*/ 1728788 w 5172392"/>
                <a:gd name="connsiteY3" fmla="*/ 852505 h 2103137"/>
                <a:gd name="connsiteX4" fmla="*/ 1837373 w 5172392"/>
                <a:gd name="connsiteY4" fmla="*/ 758207 h 2103137"/>
                <a:gd name="connsiteX5" fmla="*/ 1967865 w 5172392"/>
                <a:gd name="connsiteY5" fmla="*/ 823930 h 2103137"/>
                <a:gd name="connsiteX6" fmla="*/ 2085975 w 5172392"/>
                <a:gd name="connsiteY6" fmla="*/ 1039195 h 2103137"/>
                <a:gd name="connsiteX7" fmla="*/ 2143125 w 5172392"/>
                <a:gd name="connsiteY7" fmla="*/ 1066817 h 2103137"/>
                <a:gd name="connsiteX8" fmla="*/ 2574869 w 5172392"/>
                <a:gd name="connsiteY8" fmla="*/ 1066817 h 2103137"/>
                <a:gd name="connsiteX9" fmla="*/ 2575877 w 5172392"/>
                <a:gd name="connsiteY9" fmla="*/ 1064912 h 2103137"/>
                <a:gd name="connsiteX10" fmla="*/ 2728277 w 5172392"/>
                <a:gd name="connsiteY10" fmla="*/ 1064912 h 2103137"/>
                <a:gd name="connsiteX11" fmla="*/ 2803525 w 5172392"/>
                <a:gd name="connsiteY11" fmla="*/ 1025860 h 2103137"/>
                <a:gd name="connsiteX12" fmla="*/ 2878773 w 5172392"/>
                <a:gd name="connsiteY12" fmla="*/ 850600 h 2103137"/>
                <a:gd name="connsiteX13" fmla="*/ 3014027 w 5172392"/>
                <a:gd name="connsiteY13" fmla="*/ 767732 h 2103137"/>
                <a:gd name="connsiteX14" fmla="*/ 3145473 w 5172392"/>
                <a:gd name="connsiteY14" fmla="*/ 855362 h 2103137"/>
                <a:gd name="connsiteX15" fmla="*/ 3272155 w 5172392"/>
                <a:gd name="connsiteY15" fmla="*/ 1181117 h 2103137"/>
                <a:gd name="connsiteX16" fmla="*/ 3507423 w 5172392"/>
                <a:gd name="connsiteY16" fmla="*/ 96220 h 2103137"/>
                <a:gd name="connsiteX17" fmla="*/ 3635057 w 5172392"/>
                <a:gd name="connsiteY17" fmla="*/ 17 h 2103137"/>
                <a:gd name="connsiteX18" fmla="*/ 3756977 w 5172392"/>
                <a:gd name="connsiteY18" fmla="*/ 101935 h 2103137"/>
                <a:gd name="connsiteX19" fmla="*/ 4017010 w 5172392"/>
                <a:gd name="connsiteY19" fmla="*/ 1783097 h 2103137"/>
                <a:gd name="connsiteX20" fmla="*/ 4217988 w 5172392"/>
                <a:gd name="connsiteY20" fmla="*/ 852505 h 2103137"/>
                <a:gd name="connsiteX21" fmla="*/ 4326573 w 5172392"/>
                <a:gd name="connsiteY21" fmla="*/ 758207 h 2103137"/>
                <a:gd name="connsiteX22" fmla="*/ 4457065 w 5172392"/>
                <a:gd name="connsiteY22" fmla="*/ 823930 h 2103137"/>
                <a:gd name="connsiteX23" fmla="*/ 4575175 w 5172392"/>
                <a:gd name="connsiteY23" fmla="*/ 1039195 h 2103137"/>
                <a:gd name="connsiteX24" fmla="*/ 4632325 w 5172392"/>
                <a:gd name="connsiteY24" fmla="*/ 1066817 h 2103137"/>
                <a:gd name="connsiteX25" fmla="*/ 5089525 w 5172392"/>
                <a:gd name="connsiteY25" fmla="*/ 1066817 h 2103137"/>
                <a:gd name="connsiteX26" fmla="*/ 5172392 w 5172392"/>
                <a:gd name="connsiteY26" fmla="*/ 1145875 h 2103137"/>
                <a:gd name="connsiteX27" fmla="*/ 5090477 w 5172392"/>
                <a:gd name="connsiteY27" fmla="*/ 1227790 h 2103137"/>
                <a:gd name="connsiteX28" fmla="*/ 4633277 w 5172392"/>
                <a:gd name="connsiteY28" fmla="*/ 1227790 h 2103137"/>
                <a:gd name="connsiteX29" fmla="*/ 4430396 w 5172392"/>
                <a:gd name="connsiteY29" fmla="*/ 1110632 h 2103137"/>
                <a:gd name="connsiteX30" fmla="*/ 4358958 w 5172392"/>
                <a:gd name="connsiteY30" fmla="*/ 980140 h 2103137"/>
                <a:gd name="connsiteX31" fmla="*/ 4137977 w 5172392"/>
                <a:gd name="connsiteY31" fmla="*/ 2006935 h 2103137"/>
                <a:gd name="connsiteX32" fmla="*/ 4013200 w 5172392"/>
                <a:gd name="connsiteY32" fmla="*/ 2103137 h 2103137"/>
                <a:gd name="connsiteX33" fmla="*/ 4009390 w 5172392"/>
                <a:gd name="connsiteY33" fmla="*/ 2103137 h 2103137"/>
                <a:gd name="connsiteX34" fmla="*/ 3887471 w 5172392"/>
                <a:gd name="connsiteY34" fmla="*/ 2001220 h 2103137"/>
                <a:gd name="connsiteX35" fmla="*/ 3627438 w 5172392"/>
                <a:gd name="connsiteY35" fmla="*/ 319105 h 2103137"/>
                <a:gd name="connsiteX36" fmla="*/ 3407410 w 5172392"/>
                <a:gd name="connsiteY36" fmla="*/ 1331612 h 2103137"/>
                <a:gd name="connsiteX37" fmla="*/ 3293110 w 5172392"/>
                <a:gd name="connsiteY37" fmla="*/ 1426862 h 2103137"/>
                <a:gd name="connsiteX38" fmla="*/ 3162618 w 5172392"/>
                <a:gd name="connsiteY38" fmla="*/ 1348757 h 2103137"/>
                <a:gd name="connsiteX39" fmla="*/ 3011170 w 5172392"/>
                <a:gd name="connsiteY39" fmla="*/ 959185 h 2103137"/>
                <a:gd name="connsiteX40" fmla="*/ 2954973 w 5172392"/>
                <a:gd name="connsiteY40" fmla="*/ 1089677 h 2103137"/>
                <a:gd name="connsiteX41" fmla="*/ 2728277 w 5172392"/>
                <a:gd name="connsiteY41" fmla="*/ 1228742 h 2103137"/>
                <a:gd name="connsiteX42" fmla="*/ 2489200 w 5172392"/>
                <a:gd name="connsiteY42" fmla="*/ 1228742 h 2103137"/>
                <a:gd name="connsiteX43" fmla="*/ 2489704 w 5172392"/>
                <a:gd name="connsiteY43" fmla="*/ 1227790 h 2103137"/>
                <a:gd name="connsiteX44" fmla="*/ 2144077 w 5172392"/>
                <a:gd name="connsiteY44" fmla="*/ 1227790 h 2103137"/>
                <a:gd name="connsiteX45" fmla="*/ 1941196 w 5172392"/>
                <a:gd name="connsiteY45" fmla="*/ 1110632 h 2103137"/>
                <a:gd name="connsiteX46" fmla="*/ 1869758 w 5172392"/>
                <a:gd name="connsiteY46" fmla="*/ 980140 h 2103137"/>
                <a:gd name="connsiteX47" fmla="*/ 1648777 w 5172392"/>
                <a:gd name="connsiteY47" fmla="*/ 2006935 h 2103137"/>
                <a:gd name="connsiteX48" fmla="*/ 1524000 w 5172392"/>
                <a:gd name="connsiteY48" fmla="*/ 2103137 h 2103137"/>
                <a:gd name="connsiteX49" fmla="*/ 1520190 w 5172392"/>
                <a:gd name="connsiteY49" fmla="*/ 2103137 h 2103137"/>
                <a:gd name="connsiteX50" fmla="*/ 1398271 w 5172392"/>
                <a:gd name="connsiteY50" fmla="*/ 2001220 h 2103137"/>
                <a:gd name="connsiteX51" fmla="*/ 1138238 w 5172392"/>
                <a:gd name="connsiteY51" fmla="*/ 319105 h 2103137"/>
                <a:gd name="connsiteX52" fmla="*/ 918210 w 5172392"/>
                <a:gd name="connsiteY52" fmla="*/ 1331612 h 2103137"/>
                <a:gd name="connsiteX53" fmla="*/ 803910 w 5172392"/>
                <a:gd name="connsiteY53" fmla="*/ 1426862 h 2103137"/>
                <a:gd name="connsiteX54" fmla="*/ 673418 w 5172392"/>
                <a:gd name="connsiteY54" fmla="*/ 1348757 h 2103137"/>
                <a:gd name="connsiteX55" fmla="*/ 521970 w 5172392"/>
                <a:gd name="connsiteY55" fmla="*/ 959185 h 2103137"/>
                <a:gd name="connsiteX56" fmla="*/ 465773 w 5172392"/>
                <a:gd name="connsiteY56" fmla="*/ 1089677 h 2103137"/>
                <a:gd name="connsiteX57" fmla="*/ 239077 w 5172392"/>
                <a:gd name="connsiteY57" fmla="*/ 1228742 h 2103137"/>
                <a:gd name="connsiteX58" fmla="*/ 0 w 5172392"/>
                <a:gd name="connsiteY58" fmla="*/ 1228742 h 2103137"/>
                <a:gd name="connsiteX59" fmla="*/ 86677 w 5172392"/>
                <a:gd name="connsiteY59" fmla="*/ 1064912 h 2103137"/>
                <a:gd name="connsiteX60" fmla="*/ 239077 w 5172392"/>
                <a:gd name="connsiteY60" fmla="*/ 1064912 h 2103137"/>
                <a:gd name="connsiteX61" fmla="*/ 314325 w 5172392"/>
                <a:gd name="connsiteY61" fmla="*/ 1025860 h 2103137"/>
                <a:gd name="connsiteX62" fmla="*/ 389573 w 5172392"/>
                <a:gd name="connsiteY62" fmla="*/ 850600 h 2103137"/>
                <a:gd name="connsiteX63" fmla="*/ 524827 w 5172392"/>
                <a:gd name="connsiteY63" fmla="*/ 767732 h 2103137"/>
                <a:gd name="connsiteX64" fmla="*/ 656273 w 5172392"/>
                <a:gd name="connsiteY64" fmla="*/ 855362 h 2103137"/>
                <a:gd name="connsiteX65" fmla="*/ 782955 w 5172392"/>
                <a:gd name="connsiteY65" fmla="*/ 1181117 h 2103137"/>
                <a:gd name="connsiteX66" fmla="*/ 1018223 w 5172392"/>
                <a:gd name="connsiteY66" fmla="*/ 96220 h 2103137"/>
                <a:gd name="connsiteX67" fmla="*/ 1145857 w 5172392"/>
                <a:gd name="connsiteY67" fmla="*/ 17 h 210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172392" h="2103137">
                  <a:moveTo>
                    <a:pt x="1145857" y="17"/>
                  </a:moveTo>
                  <a:cubicBezTo>
                    <a:pt x="1207771" y="1922"/>
                    <a:pt x="1258252" y="43832"/>
                    <a:pt x="1267777" y="101935"/>
                  </a:cubicBezTo>
                  <a:lnTo>
                    <a:pt x="1527810" y="1783097"/>
                  </a:lnTo>
                  <a:lnTo>
                    <a:pt x="1728788" y="852505"/>
                  </a:lnTo>
                  <a:cubicBezTo>
                    <a:pt x="1740217" y="802022"/>
                    <a:pt x="1783080" y="764875"/>
                    <a:pt x="1837373" y="758207"/>
                  </a:cubicBezTo>
                  <a:cubicBezTo>
                    <a:pt x="1891665" y="751540"/>
                    <a:pt x="1944052" y="778210"/>
                    <a:pt x="1967865" y="823930"/>
                  </a:cubicBezTo>
                  <a:lnTo>
                    <a:pt x="2085975" y="1039195"/>
                  </a:lnTo>
                  <a:cubicBezTo>
                    <a:pt x="2092642" y="1052530"/>
                    <a:pt x="2114550" y="1066817"/>
                    <a:pt x="2143125" y="1066817"/>
                  </a:cubicBezTo>
                  <a:lnTo>
                    <a:pt x="2574869" y="1066817"/>
                  </a:lnTo>
                  <a:lnTo>
                    <a:pt x="2575877" y="1064912"/>
                  </a:lnTo>
                  <a:lnTo>
                    <a:pt x="2728277" y="1064912"/>
                  </a:lnTo>
                  <a:cubicBezTo>
                    <a:pt x="2761615" y="1064912"/>
                    <a:pt x="2794000" y="1048720"/>
                    <a:pt x="2803525" y="1025860"/>
                  </a:cubicBezTo>
                  <a:lnTo>
                    <a:pt x="2878773" y="850600"/>
                  </a:lnTo>
                  <a:cubicBezTo>
                    <a:pt x="2901632" y="799165"/>
                    <a:pt x="2954973" y="766780"/>
                    <a:pt x="3014027" y="767732"/>
                  </a:cubicBezTo>
                  <a:cubicBezTo>
                    <a:pt x="3074035" y="769637"/>
                    <a:pt x="3125470" y="802975"/>
                    <a:pt x="3145473" y="855362"/>
                  </a:cubicBezTo>
                  <a:lnTo>
                    <a:pt x="3272155" y="1181117"/>
                  </a:lnTo>
                  <a:lnTo>
                    <a:pt x="3507423" y="96220"/>
                  </a:lnTo>
                  <a:cubicBezTo>
                    <a:pt x="3519805" y="38117"/>
                    <a:pt x="3572193" y="-935"/>
                    <a:pt x="3635057" y="17"/>
                  </a:cubicBezTo>
                  <a:cubicBezTo>
                    <a:pt x="3696971" y="1922"/>
                    <a:pt x="3747452" y="43832"/>
                    <a:pt x="3756977" y="101935"/>
                  </a:cubicBezTo>
                  <a:lnTo>
                    <a:pt x="4017010" y="1783097"/>
                  </a:lnTo>
                  <a:lnTo>
                    <a:pt x="4217988" y="852505"/>
                  </a:lnTo>
                  <a:cubicBezTo>
                    <a:pt x="4229417" y="802022"/>
                    <a:pt x="4272280" y="764875"/>
                    <a:pt x="4326573" y="758207"/>
                  </a:cubicBezTo>
                  <a:cubicBezTo>
                    <a:pt x="4380865" y="751540"/>
                    <a:pt x="4433252" y="778210"/>
                    <a:pt x="4457065" y="823930"/>
                  </a:cubicBezTo>
                  <a:lnTo>
                    <a:pt x="4575175" y="1039195"/>
                  </a:lnTo>
                  <a:cubicBezTo>
                    <a:pt x="4581842" y="1052530"/>
                    <a:pt x="4603750" y="1066817"/>
                    <a:pt x="4632325" y="1066817"/>
                  </a:cubicBezTo>
                  <a:lnTo>
                    <a:pt x="5089525" y="1066817"/>
                  </a:lnTo>
                  <a:cubicBezTo>
                    <a:pt x="5134292" y="1066817"/>
                    <a:pt x="5171440" y="1103012"/>
                    <a:pt x="5172392" y="1145875"/>
                  </a:cubicBezTo>
                  <a:cubicBezTo>
                    <a:pt x="5172392" y="1190642"/>
                    <a:pt x="5136198" y="1227790"/>
                    <a:pt x="5090477" y="1227790"/>
                  </a:cubicBezTo>
                  <a:lnTo>
                    <a:pt x="4633277" y="1227790"/>
                  </a:lnTo>
                  <a:cubicBezTo>
                    <a:pt x="4546600" y="1227790"/>
                    <a:pt x="4466590" y="1181117"/>
                    <a:pt x="4430396" y="1110632"/>
                  </a:cubicBezTo>
                  <a:lnTo>
                    <a:pt x="4358958" y="980140"/>
                  </a:lnTo>
                  <a:lnTo>
                    <a:pt x="4137977" y="2006935"/>
                  </a:lnTo>
                  <a:cubicBezTo>
                    <a:pt x="4124642" y="2064085"/>
                    <a:pt x="4074160" y="2103137"/>
                    <a:pt x="4013200" y="2103137"/>
                  </a:cubicBezTo>
                  <a:cubicBezTo>
                    <a:pt x="4012248" y="2103137"/>
                    <a:pt x="4010342" y="2103137"/>
                    <a:pt x="4009390" y="2103137"/>
                  </a:cubicBezTo>
                  <a:cubicBezTo>
                    <a:pt x="3947477" y="2101232"/>
                    <a:pt x="3896996" y="2059322"/>
                    <a:pt x="3887471" y="2001220"/>
                  </a:cubicBezTo>
                  <a:lnTo>
                    <a:pt x="3627438" y="319105"/>
                  </a:lnTo>
                  <a:lnTo>
                    <a:pt x="3407410" y="1331612"/>
                  </a:lnTo>
                  <a:cubicBezTo>
                    <a:pt x="3395980" y="1384000"/>
                    <a:pt x="3350260" y="1422100"/>
                    <a:pt x="3293110" y="1426862"/>
                  </a:cubicBezTo>
                  <a:cubicBezTo>
                    <a:pt x="3235007" y="1431625"/>
                    <a:pt x="3182620" y="1400192"/>
                    <a:pt x="3162618" y="1348757"/>
                  </a:cubicBezTo>
                  <a:lnTo>
                    <a:pt x="3011170" y="959185"/>
                  </a:lnTo>
                  <a:lnTo>
                    <a:pt x="2954973" y="1089677"/>
                  </a:lnTo>
                  <a:cubicBezTo>
                    <a:pt x="2918777" y="1174450"/>
                    <a:pt x="2829243" y="1228742"/>
                    <a:pt x="2728277" y="1228742"/>
                  </a:cubicBezTo>
                  <a:lnTo>
                    <a:pt x="2489200" y="1228742"/>
                  </a:lnTo>
                  <a:lnTo>
                    <a:pt x="2489704" y="1227790"/>
                  </a:lnTo>
                  <a:lnTo>
                    <a:pt x="2144077" y="1227790"/>
                  </a:lnTo>
                  <a:cubicBezTo>
                    <a:pt x="2057400" y="1227790"/>
                    <a:pt x="1977390" y="1181117"/>
                    <a:pt x="1941196" y="1110632"/>
                  </a:cubicBezTo>
                  <a:lnTo>
                    <a:pt x="1869758" y="980140"/>
                  </a:lnTo>
                  <a:lnTo>
                    <a:pt x="1648777" y="2006935"/>
                  </a:lnTo>
                  <a:cubicBezTo>
                    <a:pt x="1635442" y="2064085"/>
                    <a:pt x="1584960" y="2103137"/>
                    <a:pt x="1524000" y="2103137"/>
                  </a:cubicBezTo>
                  <a:cubicBezTo>
                    <a:pt x="1523048" y="2103137"/>
                    <a:pt x="1521142" y="2103137"/>
                    <a:pt x="1520190" y="2103137"/>
                  </a:cubicBezTo>
                  <a:cubicBezTo>
                    <a:pt x="1458277" y="2101232"/>
                    <a:pt x="1407796" y="2059322"/>
                    <a:pt x="1398271" y="2001220"/>
                  </a:cubicBezTo>
                  <a:lnTo>
                    <a:pt x="1138238" y="319105"/>
                  </a:lnTo>
                  <a:lnTo>
                    <a:pt x="918210" y="1331612"/>
                  </a:lnTo>
                  <a:cubicBezTo>
                    <a:pt x="906780" y="1384000"/>
                    <a:pt x="861060" y="1422100"/>
                    <a:pt x="803910" y="1426862"/>
                  </a:cubicBezTo>
                  <a:cubicBezTo>
                    <a:pt x="745807" y="1431625"/>
                    <a:pt x="693420" y="1400192"/>
                    <a:pt x="673418" y="1348757"/>
                  </a:cubicBezTo>
                  <a:lnTo>
                    <a:pt x="521970" y="959185"/>
                  </a:lnTo>
                  <a:lnTo>
                    <a:pt x="465773" y="1089677"/>
                  </a:lnTo>
                  <a:cubicBezTo>
                    <a:pt x="429577" y="1174450"/>
                    <a:pt x="340043" y="1228742"/>
                    <a:pt x="239077" y="1228742"/>
                  </a:cubicBezTo>
                  <a:lnTo>
                    <a:pt x="0" y="1228742"/>
                  </a:lnTo>
                  <a:cubicBezTo>
                    <a:pt x="32385" y="1171592"/>
                    <a:pt x="60960" y="1117300"/>
                    <a:pt x="86677" y="1064912"/>
                  </a:cubicBezTo>
                  <a:lnTo>
                    <a:pt x="239077" y="1064912"/>
                  </a:lnTo>
                  <a:cubicBezTo>
                    <a:pt x="272415" y="1064912"/>
                    <a:pt x="304800" y="1048720"/>
                    <a:pt x="314325" y="1025860"/>
                  </a:cubicBezTo>
                  <a:lnTo>
                    <a:pt x="389573" y="850600"/>
                  </a:lnTo>
                  <a:cubicBezTo>
                    <a:pt x="412432" y="799165"/>
                    <a:pt x="465773" y="766780"/>
                    <a:pt x="524827" y="767732"/>
                  </a:cubicBezTo>
                  <a:cubicBezTo>
                    <a:pt x="584835" y="769637"/>
                    <a:pt x="636270" y="802975"/>
                    <a:pt x="656273" y="855362"/>
                  </a:cubicBezTo>
                  <a:lnTo>
                    <a:pt x="782955" y="1181117"/>
                  </a:lnTo>
                  <a:lnTo>
                    <a:pt x="1018223" y="96220"/>
                  </a:lnTo>
                  <a:cubicBezTo>
                    <a:pt x="1030605" y="38117"/>
                    <a:pt x="1082993" y="-935"/>
                    <a:pt x="1145857" y="17"/>
                  </a:cubicBezTo>
                  <a:close/>
                </a:path>
              </a:pathLst>
            </a:custGeom>
            <a:solidFill>
              <a:srgbClr val="FFFFFF"/>
            </a:solidFill>
            <a:ln w="9525" cap="flat">
              <a:noFill/>
              <a:prstDash val="solid"/>
              <a:miter/>
            </a:ln>
          </p:spPr>
          <p:txBody>
            <a:bodyPr rtlCol="0" anchor="ctr"/>
            <a:lstStyle/>
            <a:p>
              <a:endParaRPr lang="de-DE"/>
            </a:p>
          </p:txBody>
        </p:sp>
      </p:grpSp>
      <p:sp>
        <p:nvSpPr>
          <p:cNvPr id="25" name="Textplatzhalter 5">
            <a:extLst>
              <a:ext uri="{FF2B5EF4-FFF2-40B4-BE49-F238E27FC236}">
                <a16:creationId xmlns:a16="http://schemas.microsoft.com/office/drawing/2014/main" id="{502710C3-58DB-435F-985F-5B7249BA270A}"/>
              </a:ext>
            </a:extLst>
          </p:cNvPr>
          <p:cNvSpPr txBox="1">
            <a:spLocks/>
          </p:cNvSpPr>
          <p:nvPr/>
        </p:nvSpPr>
        <p:spPr bwMode="gray">
          <a:xfrm>
            <a:off x="431800" y="1412875"/>
            <a:ext cx="11325224" cy="5014913"/>
          </a:xfrm>
          <a:prstGeom prst="rect">
            <a:avLst/>
          </a:prstGeom>
          <a:gradFill>
            <a:gsLst>
              <a:gs pos="0">
                <a:schemeClr val="accent1"/>
              </a:gs>
              <a:gs pos="100000">
                <a:schemeClr val="accent1">
                  <a:lumMod val="50000"/>
                </a:schemeClr>
              </a:gs>
            </a:gsLst>
            <a:lin ang="4200000" scaled="0"/>
          </a:gradFill>
        </p:spPr>
        <p:txBody>
          <a:bodyPr vert="horz" lIns="0" tIns="0" rIns="0" bIns="0" rtlCol="0" anchor="ctr">
            <a:noAutofit/>
          </a:bodyPr>
          <a:lstStyle>
            <a:defPPr>
              <a:defRPr lang="de-DE"/>
            </a:defPPr>
            <a:lvl1pPr indent="0" algn="ctr" defTabSz="1088545">
              <a:lnSpc>
                <a:spcPct val="100000"/>
              </a:lnSpc>
              <a:spcBef>
                <a:spcPts val="0"/>
              </a:spcBef>
              <a:spcAft>
                <a:spcPts val="1200"/>
              </a:spcAft>
              <a:buFontTx/>
              <a:buNone/>
              <a:defRPr sz="2800" b="1">
                <a:solidFill>
                  <a:schemeClr val="bg1"/>
                </a:solidFill>
              </a:defRPr>
            </a:lvl1pPr>
            <a:lvl2pPr marL="180007" indent="-180007" defTabSz="1088545">
              <a:lnSpc>
                <a:spcPct val="130000"/>
              </a:lnSpc>
              <a:spcBef>
                <a:spcPts val="0"/>
              </a:spcBef>
              <a:buClr>
                <a:schemeClr val="accent1"/>
              </a:buClr>
              <a:buFont typeface="Wingdings" panose="05000000000000000000" pitchFamily="2" charset="2"/>
              <a:buChar char="§"/>
              <a:defRPr sz="1800"/>
            </a:lvl2pPr>
            <a:lvl3pPr marL="360014" indent="-180007" defTabSz="1088545">
              <a:lnSpc>
                <a:spcPct val="130000"/>
              </a:lnSpc>
              <a:spcBef>
                <a:spcPts val="0"/>
              </a:spcBef>
              <a:buClr>
                <a:schemeClr val="accent1"/>
              </a:buClr>
              <a:buFont typeface="Wingdings" panose="05000000000000000000" pitchFamily="2" charset="2"/>
              <a:buChar char="§"/>
              <a:defRPr sz="1800"/>
            </a:lvl3pPr>
            <a:lvl4pPr marL="540021" indent="-180007" defTabSz="1088545">
              <a:lnSpc>
                <a:spcPct val="130000"/>
              </a:lnSpc>
              <a:spcBef>
                <a:spcPts val="0"/>
              </a:spcBef>
              <a:buClr>
                <a:schemeClr val="accent1"/>
              </a:buClr>
              <a:buFont typeface="Wingdings" panose="05000000000000000000" pitchFamily="2" charset="2"/>
              <a:buChar char="§"/>
              <a:defRPr sz="1800"/>
            </a:lvl4pPr>
            <a:lvl5pPr marL="720028" indent="-180007" defTabSz="1088545">
              <a:lnSpc>
                <a:spcPct val="130000"/>
              </a:lnSpc>
              <a:spcBef>
                <a:spcPts val="0"/>
              </a:spcBef>
              <a:buClr>
                <a:schemeClr val="accent1"/>
              </a:buClr>
              <a:buFont typeface="Wingdings" panose="05000000000000000000" pitchFamily="2" charset="2"/>
              <a:buChar char="§"/>
              <a:defRPr sz="1800"/>
            </a:lvl5pPr>
            <a:lvl6pPr marL="720028" indent="-180007" defTabSz="1088545">
              <a:lnSpc>
                <a:spcPct val="130000"/>
              </a:lnSpc>
              <a:spcBef>
                <a:spcPts val="0"/>
              </a:spcBef>
              <a:buClr>
                <a:schemeClr val="accent1"/>
              </a:buClr>
              <a:buFont typeface="Wingdings" panose="05000000000000000000" pitchFamily="2" charset="2"/>
              <a:buChar char="§"/>
              <a:defRPr sz="1800"/>
            </a:lvl6pPr>
            <a:lvl7pPr marL="720028" indent="-180007" defTabSz="1088545">
              <a:lnSpc>
                <a:spcPct val="130000"/>
              </a:lnSpc>
              <a:spcBef>
                <a:spcPts val="0"/>
              </a:spcBef>
              <a:buClr>
                <a:schemeClr val="accent1"/>
              </a:buClr>
              <a:buFont typeface="Wingdings" panose="05000000000000000000" pitchFamily="2" charset="2"/>
              <a:buChar char="§"/>
              <a:defRPr sz="1800"/>
            </a:lvl7pPr>
            <a:lvl8pPr marL="720028" indent="-180007" defTabSz="1088545">
              <a:lnSpc>
                <a:spcPct val="130000"/>
              </a:lnSpc>
              <a:spcBef>
                <a:spcPts val="0"/>
              </a:spcBef>
              <a:buClr>
                <a:schemeClr val="accent1"/>
              </a:buClr>
              <a:buFont typeface="Wingdings" panose="05000000000000000000" pitchFamily="2" charset="2"/>
              <a:buChar char="§"/>
              <a:defRPr sz="1800"/>
            </a:lvl8pPr>
            <a:lvl9pPr marL="720028" indent="-180007" defTabSz="1088545">
              <a:lnSpc>
                <a:spcPct val="130000"/>
              </a:lnSpc>
              <a:spcBef>
                <a:spcPts val="0"/>
              </a:spcBef>
              <a:buClr>
                <a:schemeClr val="accent1"/>
              </a:buClr>
              <a:buFont typeface="Wingdings" panose="05000000000000000000" pitchFamily="2" charset="2"/>
              <a:buChar char="§"/>
              <a:defRPr sz="1800"/>
            </a:lvl9pPr>
          </a:lstStyle>
          <a:p>
            <a:r>
              <a:rPr lang="en-US" dirty="0"/>
              <a:t>We secure the Schwarz Group’s diverse and global day-to-day business through stable, secure, and efficient IT solutions. </a:t>
            </a:r>
          </a:p>
          <a:p>
            <a:r>
              <a:rPr lang="en-US" dirty="0"/>
              <a:t>We make it possible for the departments to implement their business ideas through forward-thinking developments.  </a:t>
            </a:r>
          </a:p>
          <a:p>
            <a:r>
              <a:rPr lang="en-US" dirty="0"/>
              <a:t>We consider ourselves to be a partner on equal footing which is setting new standards with a strong team. </a:t>
            </a:r>
          </a:p>
          <a:p>
            <a:r>
              <a:rPr lang="en-US" dirty="0"/>
              <a:t>We are independent specialists who are passionate about Schwarz Group’s IT, and we strive to come up with the best and most cost-effective solutions. </a:t>
            </a:r>
          </a:p>
        </p:txBody>
      </p:sp>
      <p:sp>
        <p:nvSpPr>
          <p:cNvPr id="6" name="Foliennummernplatzhalter 5">
            <a:extLst>
              <a:ext uri="{FF2B5EF4-FFF2-40B4-BE49-F238E27FC236}">
                <a16:creationId xmlns:a16="http://schemas.microsoft.com/office/drawing/2014/main" id="{BF6F5FEC-8A9D-43FF-BCEE-E00F76FCE783}"/>
              </a:ext>
            </a:extLst>
          </p:cNvPr>
          <p:cNvSpPr>
            <a:spLocks noGrp="1"/>
          </p:cNvSpPr>
          <p:nvPr>
            <p:ph type="sldNum" sz="quarter" idx="12"/>
          </p:nvPr>
        </p:nvSpPr>
        <p:spPr/>
        <p:txBody>
          <a:bodyPr/>
          <a:lstStyle/>
          <a:p>
            <a:fld id="{0C7C1E0B-BD27-42F8-BC6B-2F0636970842}" type="slidenum">
              <a:rPr lang="de-DE" smtClean="0"/>
              <a:pPr/>
              <a:t>44</a:t>
            </a:fld>
            <a:endParaRPr lang="de-DE"/>
          </a:p>
        </p:txBody>
      </p:sp>
    </p:spTree>
    <p:extLst>
      <p:ext uri="{BB962C8B-B14F-4D97-AF65-F5344CB8AC3E}">
        <p14:creationId xmlns:p14="http://schemas.microsoft.com/office/powerpoint/2010/main" val="3100346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9EEA175-DCEF-4AF4-B5E3-46AEE5F9874B}"/>
              </a:ext>
            </a:extLst>
          </p:cNvPr>
          <p:cNvSpPr>
            <a:spLocks noGrp="1"/>
          </p:cNvSpPr>
          <p:nvPr>
            <p:ph type="title"/>
          </p:nvPr>
        </p:nvSpPr>
        <p:spPr>
          <a:xfrm>
            <a:off x="573261" y="249369"/>
            <a:ext cx="11325225" cy="847775"/>
          </a:xfrm>
        </p:spPr>
        <p:txBody>
          <a:bodyPr/>
          <a:lstStyle/>
          <a:p>
            <a:pPr algn="ctr"/>
            <a:r>
              <a:rPr lang="en-US" dirty="0"/>
              <a:t>We are the digital heartbeat of THE SCHWARZ GROUP</a:t>
            </a:r>
          </a:p>
        </p:txBody>
      </p:sp>
      <p:grpSp>
        <p:nvGrpSpPr>
          <p:cNvPr id="6" name="Gruppieren 5">
            <a:extLst>
              <a:ext uri="{FF2B5EF4-FFF2-40B4-BE49-F238E27FC236}">
                <a16:creationId xmlns:a16="http://schemas.microsoft.com/office/drawing/2014/main" id="{55B63A0C-969C-418C-AAD2-C5E1203AC8C9}"/>
              </a:ext>
            </a:extLst>
          </p:cNvPr>
          <p:cNvGrpSpPr/>
          <p:nvPr/>
        </p:nvGrpSpPr>
        <p:grpSpPr>
          <a:xfrm>
            <a:off x="-237011" y="2422749"/>
            <a:ext cx="12644754" cy="2756406"/>
            <a:chOff x="456406" y="1924735"/>
            <a:chExt cx="13763941" cy="3000375"/>
          </a:xfrm>
        </p:grpSpPr>
        <p:sp>
          <p:nvSpPr>
            <p:cNvPr id="7" name="Freihandform: Form 6">
              <a:extLst>
                <a:ext uri="{FF2B5EF4-FFF2-40B4-BE49-F238E27FC236}">
                  <a16:creationId xmlns:a16="http://schemas.microsoft.com/office/drawing/2014/main" id="{DA0A6E61-F97C-40ED-AB35-868CDCAD9539}"/>
                </a:ext>
              </a:extLst>
            </p:cNvPr>
            <p:cNvSpPr/>
            <p:nvPr/>
          </p:nvSpPr>
          <p:spPr>
            <a:xfrm>
              <a:off x="456406" y="2376264"/>
              <a:ext cx="5648325" cy="2105025"/>
            </a:xfrm>
            <a:custGeom>
              <a:avLst/>
              <a:gdLst>
                <a:gd name="connsiteX0" fmla="*/ 5568315 w 5648325"/>
                <a:gd name="connsiteY0" fmla="*/ 1066865 h 2105025"/>
                <a:gd name="connsiteX1" fmla="*/ 5335905 w 5648325"/>
                <a:gd name="connsiteY1" fmla="*/ 1066865 h 2105025"/>
                <a:gd name="connsiteX2" fmla="*/ 5278755 w 5648325"/>
                <a:gd name="connsiteY2" fmla="*/ 1039243 h 2105025"/>
                <a:gd name="connsiteX3" fmla="*/ 5160645 w 5648325"/>
                <a:gd name="connsiteY3" fmla="*/ 823978 h 2105025"/>
                <a:gd name="connsiteX4" fmla="*/ 5030153 w 5648325"/>
                <a:gd name="connsiteY4" fmla="*/ 758255 h 2105025"/>
                <a:gd name="connsiteX5" fmla="*/ 4921568 w 5648325"/>
                <a:gd name="connsiteY5" fmla="*/ 852553 h 2105025"/>
                <a:gd name="connsiteX6" fmla="*/ 4720590 w 5648325"/>
                <a:gd name="connsiteY6" fmla="*/ 1783145 h 2105025"/>
                <a:gd name="connsiteX7" fmla="*/ 4460558 w 5648325"/>
                <a:gd name="connsiteY7" fmla="*/ 101983 h 2105025"/>
                <a:gd name="connsiteX8" fmla="*/ 4338638 w 5648325"/>
                <a:gd name="connsiteY8" fmla="*/ 65 h 2105025"/>
                <a:gd name="connsiteX9" fmla="*/ 4211003 w 5648325"/>
                <a:gd name="connsiteY9" fmla="*/ 96268 h 2105025"/>
                <a:gd name="connsiteX10" fmla="*/ 3975735 w 5648325"/>
                <a:gd name="connsiteY10" fmla="*/ 1181165 h 2105025"/>
                <a:gd name="connsiteX11" fmla="*/ 3848100 w 5648325"/>
                <a:gd name="connsiteY11" fmla="*/ 856363 h 2105025"/>
                <a:gd name="connsiteX12" fmla="*/ 3716655 w 5648325"/>
                <a:gd name="connsiteY12" fmla="*/ 768733 h 2105025"/>
                <a:gd name="connsiteX13" fmla="*/ 3581400 w 5648325"/>
                <a:gd name="connsiteY13" fmla="*/ 851600 h 2105025"/>
                <a:gd name="connsiteX14" fmla="*/ 3506153 w 5648325"/>
                <a:gd name="connsiteY14" fmla="*/ 1026860 h 2105025"/>
                <a:gd name="connsiteX15" fmla="*/ 3430905 w 5648325"/>
                <a:gd name="connsiteY15" fmla="*/ 1065913 h 2105025"/>
                <a:gd name="connsiteX16" fmla="*/ 3095625 w 5648325"/>
                <a:gd name="connsiteY16" fmla="*/ 1065913 h 2105025"/>
                <a:gd name="connsiteX17" fmla="*/ 3091815 w 5648325"/>
                <a:gd name="connsiteY17" fmla="*/ 1065913 h 2105025"/>
                <a:gd name="connsiteX18" fmla="*/ 2634615 w 5648325"/>
                <a:gd name="connsiteY18" fmla="*/ 1065913 h 2105025"/>
                <a:gd name="connsiteX19" fmla="*/ 2577465 w 5648325"/>
                <a:gd name="connsiteY19" fmla="*/ 1038290 h 2105025"/>
                <a:gd name="connsiteX20" fmla="*/ 2459355 w 5648325"/>
                <a:gd name="connsiteY20" fmla="*/ 823025 h 2105025"/>
                <a:gd name="connsiteX21" fmla="*/ 2328863 w 5648325"/>
                <a:gd name="connsiteY21" fmla="*/ 757303 h 2105025"/>
                <a:gd name="connsiteX22" fmla="*/ 2220278 w 5648325"/>
                <a:gd name="connsiteY22" fmla="*/ 851600 h 2105025"/>
                <a:gd name="connsiteX23" fmla="*/ 2019300 w 5648325"/>
                <a:gd name="connsiteY23" fmla="*/ 1782193 h 2105025"/>
                <a:gd name="connsiteX24" fmla="*/ 1761173 w 5648325"/>
                <a:gd name="connsiteY24" fmla="*/ 101983 h 2105025"/>
                <a:gd name="connsiteX25" fmla="*/ 1639253 w 5648325"/>
                <a:gd name="connsiteY25" fmla="*/ 65 h 2105025"/>
                <a:gd name="connsiteX26" fmla="*/ 1511618 w 5648325"/>
                <a:gd name="connsiteY26" fmla="*/ 96268 h 2105025"/>
                <a:gd name="connsiteX27" fmla="*/ 1276350 w 5648325"/>
                <a:gd name="connsiteY27" fmla="*/ 1181165 h 2105025"/>
                <a:gd name="connsiteX28" fmla="*/ 1149668 w 5648325"/>
                <a:gd name="connsiteY28" fmla="*/ 855410 h 2105025"/>
                <a:gd name="connsiteX29" fmla="*/ 1018223 w 5648325"/>
                <a:gd name="connsiteY29" fmla="*/ 767780 h 2105025"/>
                <a:gd name="connsiteX30" fmla="*/ 882968 w 5648325"/>
                <a:gd name="connsiteY30" fmla="*/ 850648 h 2105025"/>
                <a:gd name="connsiteX31" fmla="*/ 807720 w 5648325"/>
                <a:gd name="connsiteY31" fmla="*/ 1025908 h 2105025"/>
                <a:gd name="connsiteX32" fmla="*/ 732473 w 5648325"/>
                <a:gd name="connsiteY32" fmla="*/ 1064960 h 2105025"/>
                <a:gd name="connsiteX33" fmla="*/ 81915 w 5648325"/>
                <a:gd name="connsiteY33" fmla="*/ 1064960 h 2105025"/>
                <a:gd name="connsiteX34" fmla="*/ 0 w 5648325"/>
                <a:gd name="connsiteY34" fmla="*/ 1146875 h 2105025"/>
                <a:gd name="connsiteX35" fmla="*/ 81915 w 5648325"/>
                <a:gd name="connsiteY35" fmla="*/ 1228790 h 2105025"/>
                <a:gd name="connsiteX36" fmla="*/ 731520 w 5648325"/>
                <a:gd name="connsiteY36" fmla="*/ 1228790 h 2105025"/>
                <a:gd name="connsiteX37" fmla="*/ 958215 w 5648325"/>
                <a:gd name="connsiteY37" fmla="*/ 1089725 h 2105025"/>
                <a:gd name="connsiteX38" fmla="*/ 1014413 w 5648325"/>
                <a:gd name="connsiteY38" fmla="*/ 959233 h 2105025"/>
                <a:gd name="connsiteX39" fmla="*/ 1165860 w 5648325"/>
                <a:gd name="connsiteY39" fmla="*/ 1348805 h 2105025"/>
                <a:gd name="connsiteX40" fmla="*/ 1296353 w 5648325"/>
                <a:gd name="connsiteY40" fmla="*/ 1426910 h 2105025"/>
                <a:gd name="connsiteX41" fmla="*/ 1410653 w 5648325"/>
                <a:gd name="connsiteY41" fmla="*/ 1331660 h 2105025"/>
                <a:gd name="connsiteX42" fmla="*/ 1628775 w 5648325"/>
                <a:gd name="connsiteY42" fmla="*/ 322010 h 2105025"/>
                <a:gd name="connsiteX43" fmla="*/ 1888808 w 5648325"/>
                <a:gd name="connsiteY43" fmla="*/ 2004125 h 2105025"/>
                <a:gd name="connsiteX44" fmla="*/ 2010728 w 5648325"/>
                <a:gd name="connsiteY44" fmla="*/ 2106043 h 2105025"/>
                <a:gd name="connsiteX45" fmla="*/ 2014538 w 5648325"/>
                <a:gd name="connsiteY45" fmla="*/ 2106043 h 2105025"/>
                <a:gd name="connsiteX46" fmla="*/ 2139315 w 5648325"/>
                <a:gd name="connsiteY46" fmla="*/ 2009840 h 2105025"/>
                <a:gd name="connsiteX47" fmla="*/ 2360295 w 5648325"/>
                <a:gd name="connsiteY47" fmla="*/ 983045 h 2105025"/>
                <a:gd name="connsiteX48" fmla="*/ 2431733 w 5648325"/>
                <a:gd name="connsiteY48" fmla="*/ 1113538 h 2105025"/>
                <a:gd name="connsiteX49" fmla="*/ 2634615 w 5648325"/>
                <a:gd name="connsiteY49" fmla="*/ 1230695 h 2105025"/>
                <a:gd name="connsiteX50" fmla="*/ 2776538 w 5648325"/>
                <a:gd name="connsiteY50" fmla="*/ 1230695 h 2105025"/>
                <a:gd name="connsiteX51" fmla="*/ 2780348 w 5648325"/>
                <a:gd name="connsiteY51" fmla="*/ 1230695 h 2105025"/>
                <a:gd name="connsiteX52" fmla="*/ 3429953 w 5648325"/>
                <a:gd name="connsiteY52" fmla="*/ 1230695 h 2105025"/>
                <a:gd name="connsiteX53" fmla="*/ 3656648 w 5648325"/>
                <a:gd name="connsiteY53" fmla="*/ 1091630 h 2105025"/>
                <a:gd name="connsiteX54" fmla="*/ 3712845 w 5648325"/>
                <a:gd name="connsiteY54" fmla="*/ 961138 h 2105025"/>
                <a:gd name="connsiteX55" fmla="*/ 3864293 w 5648325"/>
                <a:gd name="connsiteY55" fmla="*/ 1350710 h 2105025"/>
                <a:gd name="connsiteX56" fmla="*/ 3994785 w 5648325"/>
                <a:gd name="connsiteY56" fmla="*/ 1428815 h 2105025"/>
                <a:gd name="connsiteX57" fmla="*/ 4109085 w 5648325"/>
                <a:gd name="connsiteY57" fmla="*/ 1333565 h 2105025"/>
                <a:gd name="connsiteX58" fmla="*/ 4329113 w 5648325"/>
                <a:gd name="connsiteY58" fmla="*/ 321058 h 2105025"/>
                <a:gd name="connsiteX59" fmla="*/ 4589145 w 5648325"/>
                <a:gd name="connsiteY59" fmla="*/ 2003173 h 2105025"/>
                <a:gd name="connsiteX60" fmla="*/ 4711065 w 5648325"/>
                <a:gd name="connsiteY60" fmla="*/ 2105090 h 2105025"/>
                <a:gd name="connsiteX61" fmla="*/ 4714875 w 5648325"/>
                <a:gd name="connsiteY61" fmla="*/ 2105090 h 2105025"/>
                <a:gd name="connsiteX62" fmla="*/ 4839653 w 5648325"/>
                <a:gd name="connsiteY62" fmla="*/ 2008888 h 2105025"/>
                <a:gd name="connsiteX63" fmla="*/ 5060633 w 5648325"/>
                <a:gd name="connsiteY63" fmla="*/ 982093 h 2105025"/>
                <a:gd name="connsiteX64" fmla="*/ 5132070 w 5648325"/>
                <a:gd name="connsiteY64" fmla="*/ 1112585 h 2105025"/>
                <a:gd name="connsiteX65" fmla="*/ 5334953 w 5648325"/>
                <a:gd name="connsiteY65" fmla="*/ 1229743 h 2105025"/>
                <a:gd name="connsiteX66" fmla="*/ 5476875 w 5648325"/>
                <a:gd name="connsiteY66" fmla="*/ 1229743 h 2105025"/>
                <a:gd name="connsiteX67" fmla="*/ 5480685 w 5648325"/>
                <a:gd name="connsiteY67" fmla="*/ 1229743 h 2105025"/>
                <a:gd name="connsiteX68" fmla="*/ 5656898 w 5648325"/>
                <a:gd name="connsiteY68" fmla="*/ 1229743 h 2105025"/>
                <a:gd name="connsiteX69" fmla="*/ 5568315 w 5648325"/>
                <a:gd name="connsiteY69" fmla="*/ 106686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48325" h="2105025">
                  <a:moveTo>
                    <a:pt x="5568315" y="1066865"/>
                  </a:moveTo>
                  <a:lnTo>
                    <a:pt x="5335905" y="1066865"/>
                  </a:lnTo>
                  <a:cubicBezTo>
                    <a:pt x="5307330" y="1066865"/>
                    <a:pt x="5285423" y="1052578"/>
                    <a:pt x="5278755" y="1039243"/>
                  </a:cubicBezTo>
                  <a:lnTo>
                    <a:pt x="5160645" y="823978"/>
                  </a:lnTo>
                  <a:cubicBezTo>
                    <a:pt x="5136833" y="778258"/>
                    <a:pt x="5084445" y="751588"/>
                    <a:pt x="5030153" y="758255"/>
                  </a:cubicBezTo>
                  <a:cubicBezTo>
                    <a:pt x="4975860" y="764923"/>
                    <a:pt x="4932998" y="802070"/>
                    <a:pt x="4921568" y="852553"/>
                  </a:cubicBezTo>
                  <a:lnTo>
                    <a:pt x="4720590" y="1783145"/>
                  </a:lnTo>
                  <a:lnTo>
                    <a:pt x="4460558" y="101983"/>
                  </a:lnTo>
                  <a:cubicBezTo>
                    <a:pt x="4451033" y="43880"/>
                    <a:pt x="4400550" y="1970"/>
                    <a:pt x="4338638" y="65"/>
                  </a:cubicBezTo>
                  <a:cubicBezTo>
                    <a:pt x="4275773" y="-887"/>
                    <a:pt x="4223385" y="38165"/>
                    <a:pt x="4211003" y="96268"/>
                  </a:cubicBezTo>
                  <a:lnTo>
                    <a:pt x="3975735" y="1181165"/>
                  </a:lnTo>
                  <a:lnTo>
                    <a:pt x="3848100" y="856363"/>
                  </a:lnTo>
                  <a:cubicBezTo>
                    <a:pt x="3828098" y="803975"/>
                    <a:pt x="3776663" y="770638"/>
                    <a:pt x="3716655" y="768733"/>
                  </a:cubicBezTo>
                  <a:cubicBezTo>
                    <a:pt x="3656648" y="767780"/>
                    <a:pt x="3604260" y="800165"/>
                    <a:pt x="3581400" y="851600"/>
                  </a:cubicBezTo>
                  <a:lnTo>
                    <a:pt x="3506153" y="1026860"/>
                  </a:lnTo>
                  <a:cubicBezTo>
                    <a:pt x="3496628" y="1049720"/>
                    <a:pt x="3464243" y="1065913"/>
                    <a:pt x="3430905" y="1065913"/>
                  </a:cubicBezTo>
                  <a:lnTo>
                    <a:pt x="3095625" y="1065913"/>
                  </a:lnTo>
                  <a:cubicBezTo>
                    <a:pt x="3094673" y="1065913"/>
                    <a:pt x="3092768" y="1065913"/>
                    <a:pt x="3091815" y="1065913"/>
                  </a:cubicBezTo>
                  <a:lnTo>
                    <a:pt x="2634615" y="1065913"/>
                  </a:lnTo>
                  <a:cubicBezTo>
                    <a:pt x="2606040" y="1065913"/>
                    <a:pt x="2584133" y="1051625"/>
                    <a:pt x="2577465" y="1038290"/>
                  </a:cubicBezTo>
                  <a:lnTo>
                    <a:pt x="2459355" y="823025"/>
                  </a:lnTo>
                  <a:cubicBezTo>
                    <a:pt x="2435543" y="777305"/>
                    <a:pt x="2383155" y="750635"/>
                    <a:pt x="2328863" y="757303"/>
                  </a:cubicBezTo>
                  <a:cubicBezTo>
                    <a:pt x="2274570" y="763970"/>
                    <a:pt x="2231708" y="801118"/>
                    <a:pt x="2220278" y="851600"/>
                  </a:cubicBezTo>
                  <a:lnTo>
                    <a:pt x="2019300" y="1782193"/>
                  </a:lnTo>
                  <a:lnTo>
                    <a:pt x="1761173" y="101983"/>
                  </a:lnTo>
                  <a:cubicBezTo>
                    <a:pt x="1751648" y="43880"/>
                    <a:pt x="1701165" y="1970"/>
                    <a:pt x="1639253" y="65"/>
                  </a:cubicBezTo>
                  <a:cubicBezTo>
                    <a:pt x="1576388" y="-1840"/>
                    <a:pt x="1524000" y="38165"/>
                    <a:pt x="1511618" y="96268"/>
                  </a:cubicBezTo>
                  <a:lnTo>
                    <a:pt x="1276350" y="1181165"/>
                  </a:lnTo>
                  <a:lnTo>
                    <a:pt x="1149668" y="855410"/>
                  </a:lnTo>
                  <a:cubicBezTo>
                    <a:pt x="1129665" y="803023"/>
                    <a:pt x="1078230" y="768733"/>
                    <a:pt x="1018223" y="767780"/>
                  </a:cubicBezTo>
                  <a:cubicBezTo>
                    <a:pt x="958215" y="766828"/>
                    <a:pt x="905828" y="799213"/>
                    <a:pt x="882968" y="850648"/>
                  </a:cubicBezTo>
                  <a:lnTo>
                    <a:pt x="807720" y="1025908"/>
                  </a:lnTo>
                  <a:cubicBezTo>
                    <a:pt x="798195" y="1048768"/>
                    <a:pt x="765810" y="1064960"/>
                    <a:pt x="732473" y="1064960"/>
                  </a:cubicBezTo>
                  <a:lnTo>
                    <a:pt x="81915" y="1064960"/>
                  </a:lnTo>
                  <a:cubicBezTo>
                    <a:pt x="36195" y="1064960"/>
                    <a:pt x="0" y="1102108"/>
                    <a:pt x="0" y="1146875"/>
                  </a:cubicBezTo>
                  <a:cubicBezTo>
                    <a:pt x="0" y="1192595"/>
                    <a:pt x="37148" y="1228790"/>
                    <a:pt x="81915" y="1228790"/>
                  </a:cubicBezTo>
                  <a:lnTo>
                    <a:pt x="731520" y="1228790"/>
                  </a:lnTo>
                  <a:cubicBezTo>
                    <a:pt x="832485" y="1228790"/>
                    <a:pt x="922020" y="1174498"/>
                    <a:pt x="958215" y="1089725"/>
                  </a:cubicBezTo>
                  <a:lnTo>
                    <a:pt x="1014413" y="959233"/>
                  </a:lnTo>
                  <a:lnTo>
                    <a:pt x="1165860" y="1348805"/>
                  </a:lnTo>
                  <a:cubicBezTo>
                    <a:pt x="1185863" y="1400240"/>
                    <a:pt x="1238250" y="1431673"/>
                    <a:pt x="1296353" y="1426910"/>
                  </a:cubicBezTo>
                  <a:cubicBezTo>
                    <a:pt x="1353503" y="1422148"/>
                    <a:pt x="1399223" y="1384048"/>
                    <a:pt x="1410653" y="1331660"/>
                  </a:cubicBezTo>
                  <a:lnTo>
                    <a:pt x="1628775" y="322010"/>
                  </a:lnTo>
                  <a:lnTo>
                    <a:pt x="1888808" y="2004125"/>
                  </a:lnTo>
                  <a:cubicBezTo>
                    <a:pt x="1898333" y="2062228"/>
                    <a:pt x="1948815" y="2104138"/>
                    <a:pt x="2010728" y="2106043"/>
                  </a:cubicBezTo>
                  <a:cubicBezTo>
                    <a:pt x="2011680" y="2106043"/>
                    <a:pt x="2013585" y="2106043"/>
                    <a:pt x="2014538" y="2106043"/>
                  </a:cubicBezTo>
                  <a:cubicBezTo>
                    <a:pt x="2075498" y="2106043"/>
                    <a:pt x="2125980" y="2066990"/>
                    <a:pt x="2139315" y="2009840"/>
                  </a:cubicBezTo>
                  <a:lnTo>
                    <a:pt x="2360295" y="983045"/>
                  </a:lnTo>
                  <a:lnTo>
                    <a:pt x="2431733" y="1113538"/>
                  </a:lnTo>
                  <a:cubicBezTo>
                    <a:pt x="2467928" y="1184023"/>
                    <a:pt x="2547938" y="1230695"/>
                    <a:pt x="2634615" y="1230695"/>
                  </a:cubicBezTo>
                  <a:lnTo>
                    <a:pt x="2776538" y="1230695"/>
                  </a:lnTo>
                  <a:cubicBezTo>
                    <a:pt x="2777490" y="1230695"/>
                    <a:pt x="2779395" y="1230695"/>
                    <a:pt x="2780348" y="1230695"/>
                  </a:cubicBezTo>
                  <a:lnTo>
                    <a:pt x="3429953" y="1230695"/>
                  </a:lnTo>
                  <a:cubicBezTo>
                    <a:pt x="3530918" y="1230695"/>
                    <a:pt x="3619500" y="1176403"/>
                    <a:pt x="3656648" y="1091630"/>
                  </a:cubicBezTo>
                  <a:lnTo>
                    <a:pt x="3712845" y="961138"/>
                  </a:lnTo>
                  <a:lnTo>
                    <a:pt x="3864293" y="1350710"/>
                  </a:lnTo>
                  <a:cubicBezTo>
                    <a:pt x="3884295" y="1402145"/>
                    <a:pt x="3936683" y="1433578"/>
                    <a:pt x="3994785" y="1428815"/>
                  </a:cubicBezTo>
                  <a:cubicBezTo>
                    <a:pt x="4051935" y="1424053"/>
                    <a:pt x="4097655" y="1385953"/>
                    <a:pt x="4109085" y="1333565"/>
                  </a:cubicBezTo>
                  <a:lnTo>
                    <a:pt x="4329113" y="321058"/>
                  </a:lnTo>
                  <a:lnTo>
                    <a:pt x="4589145" y="2003173"/>
                  </a:lnTo>
                  <a:cubicBezTo>
                    <a:pt x="4598670" y="2061275"/>
                    <a:pt x="4649153" y="2103185"/>
                    <a:pt x="4711065" y="2105090"/>
                  </a:cubicBezTo>
                  <a:cubicBezTo>
                    <a:pt x="4712018" y="2105090"/>
                    <a:pt x="4713923" y="2105090"/>
                    <a:pt x="4714875" y="2105090"/>
                  </a:cubicBezTo>
                  <a:cubicBezTo>
                    <a:pt x="4775835" y="2105090"/>
                    <a:pt x="4826318" y="2066038"/>
                    <a:pt x="4839653" y="2008888"/>
                  </a:cubicBezTo>
                  <a:lnTo>
                    <a:pt x="5060633" y="982093"/>
                  </a:lnTo>
                  <a:lnTo>
                    <a:pt x="5132070" y="1112585"/>
                  </a:lnTo>
                  <a:cubicBezTo>
                    <a:pt x="5168265" y="1183070"/>
                    <a:pt x="5248275" y="1229743"/>
                    <a:pt x="5334953" y="1229743"/>
                  </a:cubicBezTo>
                  <a:lnTo>
                    <a:pt x="5476875" y="1229743"/>
                  </a:lnTo>
                  <a:cubicBezTo>
                    <a:pt x="5477828" y="1229743"/>
                    <a:pt x="5479733" y="1229743"/>
                    <a:pt x="5480685" y="1229743"/>
                  </a:cubicBezTo>
                  <a:lnTo>
                    <a:pt x="5656898" y="1229743"/>
                  </a:lnTo>
                  <a:cubicBezTo>
                    <a:pt x="5623560" y="1173545"/>
                    <a:pt x="5594033" y="1118300"/>
                    <a:pt x="5568315" y="1066865"/>
                  </a:cubicBezTo>
                  <a:close/>
                </a:path>
              </a:pathLst>
            </a:custGeom>
            <a:solidFill>
              <a:srgbClr val="FFFFFF"/>
            </a:solid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C645B93-7524-4C8A-98C8-858BB220C093}"/>
                </a:ext>
              </a:extLst>
            </p:cNvPr>
            <p:cNvSpPr/>
            <p:nvPr/>
          </p:nvSpPr>
          <p:spPr>
            <a:xfrm>
              <a:off x="5982694" y="1924735"/>
              <a:ext cx="3190875" cy="3000375"/>
            </a:xfrm>
            <a:custGeom>
              <a:avLst/>
              <a:gdLst>
                <a:gd name="connsiteX0" fmla="*/ 2300405 w 3190875"/>
                <a:gd name="connsiteY0" fmla="*/ 109 h 3000375"/>
                <a:gd name="connsiteX1" fmla="*/ 1591745 w 3190875"/>
                <a:gd name="connsiteY1" fmla="*/ 372537 h 3000375"/>
                <a:gd name="connsiteX2" fmla="*/ 872607 w 3190875"/>
                <a:gd name="connsiteY2" fmla="*/ 22017 h 3000375"/>
                <a:gd name="connsiteX3" fmla="*/ 118 w 3190875"/>
                <a:gd name="connsiteY3" fmla="*/ 918319 h 3000375"/>
                <a:gd name="connsiteX4" fmla="*/ 50600 w 3190875"/>
                <a:gd name="connsiteY4" fmla="*/ 1204069 h 3000375"/>
                <a:gd name="connsiteX5" fmla="*/ 1461252 w 3190875"/>
                <a:gd name="connsiteY5" fmla="*/ 2938572 h 3000375"/>
                <a:gd name="connsiteX6" fmla="*/ 1799390 w 3190875"/>
                <a:gd name="connsiteY6" fmla="*/ 2933810 h 3000375"/>
                <a:gd name="connsiteX7" fmla="*/ 3149082 w 3190875"/>
                <a:gd name="connsiteY7" fmla="*/ 1182162 h 3000375"/>
                <a:gd name="connsiteX8" fmla="*/ 3199565 w 3190875"/>
                <a:gd name="connsiteY8" fmla="*/ 873552 h 3000375"/>
                <a:gd name="connsiteX9" fmla="*/ 2300405 w 3190875"/>
                <a:gd name="connsiteY9" fmla="*/ 109 h 3000375"/>
                <a:gd name="connsiteX10" fmla="*/ 2300405 w 3190875"/>
                <a:gd name="connsiteY10" fmla="*/ 109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90875" h="3000375">
                  <a:moveTo>
                    <a:pt x="2300405" y="109"/>
                  </a:moveTo>
                  <a:cubicBezTo>
                    <a:pt x="2019418" y="3919"/>
                    <a:pt x="1755575" y="142984"/>
                    <a:pt x="1591745" y="372537"/>
                  </a:cubicBezTo>
                  <a:cubicBezTo>
                    <a:pt x="1421248" y="148699"/>
                    <a:pt x="1153595" y="17254"/>
                    <a:pt x="872607" y="22017"/>
                  </a:cubicBezTo>
                  <a:cubicBezTo>
                    <a:pt x="384927" y="29637"/>
                    <a:pt x="-5598" y="431592"/>
                    <a:pt x="118" y="918319"/>
                  </a:cubicBezTo>
                  <a:cubicBezTo>
                    <a:pt x="-835" y="932607"/>
                    <a:pt x="2975" y="1088817"/>
                    <a:pt x="50600" y="1204069"/>
                  </a:cubicBezTo>
                  <a:cubicBezTo>
                    <a:pt x="165852" y="1565067"/>
                    <a:pt x="503990" y="2158475"/>
                    <a:pt x="1461252" y="2938572"/>
                  </a:cubicBezTo>
                  <a:cubicBezTo>
                    <a:pt x="1572695" y="3038585"/>
                    <a:pt x="1708902" y="3024297"/>
                    <a:pt x="1799390" y="2933810"/>
                  </a:cubicBezTo>
                  <a:cubicBezTo>
                    <a:pt x="2715695" y="2139425"/>
                    <a:pt x="3039545" y="1543159"/>
                    <a:pt x="3149082" y="1182162"/>
                  </a:cubicBezTo>
                  <a:cubicBezTo>
                    <a:pt x="3198613" y="1041192"/>
                    <a:pt x="3199565" y="877362"/>
                    <a:pt x="3199565" y="873552"/>
                  </a:cubicBezTo>
                  <a:cubicBezTo>
                    <a:pt x="3192898" y="383967"/>
                    <a:pt x="2789038" y="-7511"/>
                    <a:pt x="2300405" y="109"/>
                  </a:cubicBezTo>
                  <a:lnTo>
                    <a:pt x="2300405" y="109"/>
                  </a:lnTo>
                  <a:close/>
                </a:path>
              </a:pathLst>
            </a:custGeom>
            <a:solidFill>
              <a:srgbClr val="FFFFFF"/>
            </a:solidFill>
            <a:ln w="9525"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275C2ED3-C477-40BA-9A0B-F2FE32C1C04B}"/>
                </a:ext>
              </a:extLst>
            </p:cNvPr>
            <p:cNvSpPr/>
            <p:nvPr/>
          </p:nvSpPr>
          <p:spPr>
            <a:xfrm>
              <a:off x="6152851" y="2091532"/>
              <a:ext cx="2876550" cy="2676525"/>
            </a:xfrm>
            <a:custGeom>
              <a:avLst/>
              <a:gdLst>
                <a:gd name="connsiteX0" fmla="*/ 2116912 w 2876550"/>
                <a:gd name="connsiteY0" fmla="*/ 953 h 2676525"/>
                <a:gd name="connsiteX1" fmla="*/ 2877960 w 2876550"/>
                <a:gd name="connsiteY1" fmla="*/ 762000 h 2676525"/>
                <a:gd name="connsiteX2" fmla="*/ 2877960 w 2876550"/>
                <a:gd name="connsiteY2" fmla="*/ 777240 h 2676525"/>
                <a:gd name="connsiteX3" fmla="*/ 2877007 w 2876550"/>
                <a:gd name="connsiteY3" fmla="*/ 797243 h 2676525"/>
                <a:gd name="connsiteX4" fmla="*/ 2830335 w 2876550"/>
                <a:gd name="connsiteY4" fmla="*/ 1028700 h 2676525"/>
                <a:gd name="connsiteX5" fmla="*/ 1548270 w 2876550"/>
                <a:gd name="connsiteY5" fmla="*/ 2636520 h 2676525"/>
                <a:gd name="connsiteX6" fmla="*/ 1439685 w 2876550"/>
                <a:gd name="connsiteY6" fmla="*/ 2676525 h 2676525"/>
                <a:gd name="connsiteX7" fmla="*/ 1331100 w 2876550"/>
                <a:gd name="connsiteY7" fmla="*/ 2636520 h 2676525"/>
                <a:gd name="connsiteX8" fmla="*/ 40462 w 2876550"/>
                <a:gd name="connsiteY8" fmla="*/ 1004888 h 2676525"/>
                <a:gd name="connsiteX9" fmla="*/ 6172 w 2876550"/>
                <a:gd name="connsiteY9" fmla="*/ 855345 h 2676525"/>
                <a:gd name="connsiteX10" fmla="*/ 457 w 2876550"/>
                <a:gd name="connsiteY10" fmla="*/ 761048 h 2676525"/>
                <a:gd name="connsiteX11" fmla="*/ 761505 w 2876550"/>
                <a:gd name="connsiteY11" fmla="*/ 0 h 2676525"/>
                <a:gd name="connsiteX12" fmla="*/ 1377773 w 2876550"/>
                <a:gd name="connsiteY12" fmla="*/ 315278 h 2676525"/>
                <a:gd name="connsiteX13" fmla="*/ 1439685 w 2876550"/>
                <a:gd name="connsiteY13" fmla="*/ 346710 h 2676525"/>
                <a:gd name="connsiteX14" fmla="*/ 1501598 w 2876550"/>
                <a:gd name="connsiteY14" fmla="*/ 315278 h 2676525"/>
                <a:gd name="connsiteX15" fmla="*/ 2116912 w 2876550"/>
                <a:gd name="connsiteY15" fmla="*/ 953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6550" h="2676525">
                  <a:moveTo>
                    <a:pt x="2116912" y="953"/>
                  </a:moveTo>
                  <a:cubicBezTo>
                    <a:pt x="2536965" y="953"/>
                    <a:pt x="2877960" y="341948"/>
                    <a:pt x="2877960" y="762000"/>
                  </a:cubicBezTo>
                  <a:cubicBezTo>
                    <a:pt x="2877960" y="766763"/>
                    <a:pt x="2877960" y="772478"/>
                    <a:pt x="2877960" y="777240"/>
                  </a:cubicBezTo>
                  <a:cubicBezTo>
                    <a:pt x="2877960" y="782003"/>
                    <a:pt x="2877960" y="788670"/>
                    <a:pt x="2877007" y="797243"/>
                  </a:cubicBezTo>
                  <a:cubicBezTo>
                    <a:pt x="2873198" y="878205"/>
                    <a:pt x="2857005" y="956310"/>
                    <a:pt x="2830335" y="1028700"/>
                  </a:cubicBezTo>
                  <a:cubicBezTo>
                    <a:pt x="2732228" y="1333500"/>
                    <a:pt x="2436953" y="1889760"/>
                    <a:pt x="1548270" y="2636520"/>
                  </a:cubicBezTo>
                  <a:cubicBezTo>
                    <a:pt x="1516837" y="2663190"/>
                    <a:pt x="1478737" y="2676525"/>
                    <a:pt x="1439685" y="2676525"/>
                  </a:cubicBezTo>
                  <a:cubicBezTo>
                    <a:pt x="1400632" y="2676525"/>
                    <a:pt x="1362532" y="2663190"/>
                    <a:pt x="1331100" y="2636520"/>
                  </a:cubicBezTo>
                  <a:cubicBezTo>
                    <a:pt x="419557" y="1869758"/>
                    <a:pt x="130950" y="1304925"/>
                    <a:pt x="40462" y="1004888"/>
                  </a:cubicBezTo>
                  <a:cubicBezTo>
                    <a:pt x="24270" y="957263"/>
                    <a:pt x="12840" y="906780"/>
                    <a:pt x="6172" y="855345"/>
                  </a:cubicBezTo>
                  <a:cubicBezTo>
                    <a:pt x="-2400" y="793433"/>
                    <a:pt x="457" y="761048"/>
                    <a:pt x="457" y="761048"/>
                  </a:cubicBezTo>
                  <a:cubicBezTo>
                    <a:pt x="457" y="340995"/>
                    <a:pt x="341453" y="0"/>
                    <a:pt x="761505" y="0"/>
                  </a:cubicBezTo>
                  <a:cubicBezTo>
                    <a:pt x="1014870" y="0"/>
                    <a:pt x="1239660" y="124778"/>
                    <a:pt x="1377773" y="315278"/>
                  </a:cubicBezTo>
                  <a:cubicBezTo>
                    <a:pt x="1393012" y="336233"/>
                    <a:pt x="1415873" y="346710"/>
                    <a:pt x="1439685" y="346710"/>
                  </a:cubicBezTo>
                  <a:cubicBezTo>
                    <a:pt x="1463498" y="346710"/>
                    <a:pt x="1486357" y="336233"/>
                    <a:pt x="1501598" y="315278"/>
                  </a:cubicBezTo>
                  <a:cubicBezTo>
                    <a:pt x="1638757" y="124778"/>
                    <a:pt x="1863548" y="953"/>
                    <a:pt x="2116912" y="953"/>
                  </a:cubicBezTo>
                </a:path>
              </a:pathLst>
            </a:custGeom>
            <a:solidFill>
              <a:schemeClr val="accent1"/>
            </a:solidFill>
            <a:ln w="9525"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3A440571-F465-4E3D-BAFF-870521B56E34}"/>
                </a:ext>
              </a:extLst>
            </p:cNvPr>
            <p:cNvSpPr/>
            <p:nvPr/>
          </p:nvSpPr>
          <p:spPr>
            <a:xfrm>
              <a:off x="9047955" y="2376312"/>
              <a:ext cx="5172392" cy="2103137"/>
            </a:xfrm>
            <a:custGeom>
              <a:avLst/>
              <a:gdLst>
                <a:gd name="connsiteX0" fmla="*/ 1145857 w 5172392"/>
                <a:gd name="connsiteY0" fmla="*/ 17 h 2103137"/>
                <a:gd name="connsiteX1" fmla="*/ 1267777 w 5172392"/>
                <a:gd name="connsiteY1" fmla="*/ 101935 h 2103137"/>
                <a:gd name="connsiteX2" fmla="*/ 1527810 w 5172392"/>
                <a:gd name="connsiteY2" fmla="*/ 1783097 h 2103137"/>
                <a:gd name="connsiteX3" fmla="*/ 1728788 w 5172392"/>
                <a:gd name="connsiteY3" fmla="*/ 852505 h 2103137"/>
                <a:gd name="connsiteX4" fmla="*/ 1837373 w 5172392"/>
                <a:gd name="connsiteY4" fmla="*/ 758207 h 2103137"/>
                <a:gd name="connsiteX5" fmla="*/ 1967865 w 5172392"/>
                <a:gd name="connsiteY5" fmla="*/ 823930 h 2103137"/>
                <a:gd name="connsiteX6" fmla="*/ 2085975 w 5172392"/>
                <a:gd name="connsiteY6" fmla="*/ 1039195 h 2103137"/>
                <a:gd name="connsiteX7" fmla="*/ 2143125 w 5172392"/>
                <a:gd name="connsiteY7" fmla="*/ 1066817 h 2103137"/>
                <a:gd name="connsiteX8" fmla="*/ 2574869 w 5172392"/>
                <a:gd name="connsiteY8" fmla="*/ 1066817 h 2103137"/>
                <a:gd name="connsiteX9" fmla="*/ 2575877 w 5172392"/>
                <a:gd name="connsiteY9" fmla="*/ 1064912 h 2103137"/>
                <a:gd name="connsiteX10" fmla="*/ 2728277 w 5172392"/>
                <a:gd name="connsiteY10" fmla="*/ 1064912 h 2103137"/>
                <a:gd name="connsiteX11" fmla="*/ 2803525 w 5172392"/>
                <a:gd name="connsiteY11" fmla="*/ 1025860 h 2103137"/>
                <a:gd name="connsiteX12" fmla="*/ 2878773 w 5172392"/>
                <a:gd name="connsiteY12" fmla="*/ 850600 h 2103137"/>
                <a:gd name="connsiteX13" fmla="*/ 3014027 w 5172392"/>
                <a:gd name="connsiteY13" fmla="*/ 767732 h 2103137"/>
                <a:gd name="connsiteX14" fmla="*/ 3145473 w 5172392"/>
                <a:gd name="connsiteY14" fmla="*/ 855362 h 2103137"/>
                <a:gd name="connsiteX15" fmla="*/ 3272155 w 5172392"/>
                <a:gd name="connsiteY15" fmla="*/ 1181117 h 2103137"/>
                <a:gd name="connsiteX16" fmla="*/ 3507423 w 5172392"/>
                <a:gd name="connsiteY16" fmla="*/ 96220 h 2103137"/>
                <a:gd name="connsiteX17" fmla="*/ 3635057 w 5172392"/>
                <a:gd name="connsiteY17" fmla="*/ 17 h 2103137"/>
                <a:gd name="connsiteX18" fmla="*/ 3756977 w 5172392"/>
                <a:gd name="connsiteY18" fmla="*/ 101935 h 2103137"/>
                <a:gd name="connsiteX19" fmla="*/ 4017010 w 5172392"/>
                <a:gd name="connsiteY19" fmla="*/ 1783097 h 2103137"/>
                <a:gd name="connsiteX20" fmla="*/ 4217988 w 5172392"/>
                <a:gd name="connsiteY20" fmla="*/ 852505 h 2103137"/>
                <a:gd name="connsiteX21" fmla="*/ 4326573 w 5172392"/>
                <a:gd name="connsiteY21" fmla="*/ 758207 h 2103137"/>
                <a:gd name="connsiteX22" fmla="*/ 4457065 w 5172392"/>
                <a:gd name="connsiteY22" fmla="*/ 823930 h 2103137"/>
                <a:gd name="connsiteX23" fmla="*/ 4575175 w 5172392"/>
                <a:gd name="connsiteY23" fmla="*/ 1039195 h 2103137"/>
                <a:gd name="connsiteX24" fmla="*/ 4632325 w 5172392"/>
                <a:gd name="connsiteY24" fmla="*/ 1066817 h 2103137"/>
                <a:gd name="connsiteX25" fmla="*/ 5089525 w 5172392"/>
                <a:gd name="connsiteY25" fmla="*/ 1066817 h 2103137"/>
                <a:gd name="connsiteX26" fmla="*/ 5172392 w 5172392"/>
                <a:gd name="connsiteY26" fmla="*/ 1145875 h 2103137"/>
                <a:gd name="connsiteX27" fmla="*/ 5090477 w 5172392"/>
                <a:gd name="connsiteY27" fmla="*/ 1227790 h 2103137"/>
                <a:gd name="connsiteX28" fmla="*/ 4633277 w 5172392"/>
                <a:gd name="connsiteY28" fmla="*/ 1227790 h 2103137"/>
                <a:gd name="connsiteX29" fmla="*/ 4430396 w 5172392"/>
                <a:gd name="connsiteY29" fmla="*/ 1110632 h 2103137"/>
                <a:gd name="connsiteX30" fmla="*/ 4358958 w 5172392"/>
                <a:gd name="connsiteY30" fmla="*/ 980140 h 2103137"/>
                <a:gd name="connsiteX31" fmla="*/ 4137977 w 5172392"/>
                <a:gd name="connsiteY31" fmla="*/ 2006935 h 2103137"/>
                <a:gd name="connsiteX32" fmla="*/ 4013200 w 5172392"/>
                <a:gd name="connsiteY32" fmla="*/ 2103137 h 2103137"/>
                <a:gd name="connsiteX33" fmla="*/ 4009390 w 5172392"/>
                <a:gd name="connsiteY33" fmla="*/ 2103137 h 2103137"/>
                <a:gd name="connsiteX34" fmla="*/ 3887471 w 5172392"/>
                <a:gd name="connsiteY34" fmla="*/ 2001220 h 2103137"/>
                <a:gd name="connsiteX35" fmla="*/ 3627438 w 5172392"/>
                <a:gd name="connsiteY35" fmla="*/ 319105 h 2103137"/>
                <a:gd name="connsiteX36" fmla="*/ 3407410 w 5172392"/>
                <a:gd name="connsiteY36" fmla="*/ 1331612 h 2103137"/>
                <a:gd name="connsiteX37" fmla="*/ 3293110 w 5172392"/>
                <a:gd name="connsiteY37" fmla="*/ 1426862 h 2103137"/>
                <a:gd name="connsiteX38" fmla="*/ 3162618 w 5172392"/>
                <a:gd name="connsiteY38" fmla="*/ 1348757 h 2103137"/>
                <a:gd name="connsiteX39" fmla="*/ 3011170 w 5172392"/>
                <a:gd name="connsiteY39" fmla="*/ 959185 h 2103137"/>
                <a:gd name="connsiteX40" fmla="*/ 2954973 w 5172392"/>
                <a:gd name="connsiteY40" fmla="*/ 1089677 h 2103137"/>
                <a:gd name="connsiteX41" fmla="*/ 2728277 w 5172392"/>
                <a:gd name="connsiteY41" fmla="*/ 1228742 h 2103137"/>
                <a:gd name="connsiteX42" fmla="*/ 2489200 w 5172392"/>
                <a:gd name="connsiteY42" fmla="*/ 1228742 h 2103137"/>
                <a:gd name="connsiteX43" fmla="*/ 2489704 w 5172392"/>
                <a:gd name="connsiteY43" fmla="*/ 1227790 h 2103137"/>
                <a:gd name="connsiteX44" fmla="*/ 2144077 w 5172392"/>
                <a:gd name="connsiteY44" fmla="*/ 1227790 h 2103137"/>
                <a:gd name="connsiteX45" fmla="*/ 1941196 w 5172392"/>
                <a:gd name="connsiteY45" fmla="*/ 1110632 h 2103137"/>
                <a:gd name="connsiteX46" fmla="*/ 1869758 w 5172392"/>
                <a:gd name="connsiteY46" fmla="*/ 980140 h 2103137"/>
                <a:gd name="connsiteX47" fmla="*/ 1648777 w 5172392"/>
                <a:gd name="connsiteY47" fmla="*/ 2006935 h 2103137"/>
                <a:gd name="connsiteX48" fmla="*/ 1524000 w 5172392"/>
                <a:gd name="connsiteY48" fmla="*/ 2103137 h 2103137"/>
                <a:gd name="connsiteX49" fmla="*/ 1520190 w 5172392"/>
                <a:gd name="connsiteY49" fmla="*/ 2103137 h 2103137"/>
                <a:gd name="connsiteX50" fmla="*/ 1398271 w 5172392"/>
                <a:gd name="connsiteY50" fmla="*/ 2001220 h 2103137"/>
                <a:gd name="connsiteX51" fmla="*/ 1138238 w 5172392"/>
                <a:gd name="connsiteY51" fmla="*/ 319105 h 2103137"/>
                <a:gd name="connsiteX52" fmla="*/ 918210 w 5172392"/>
                <a:gd name="connsiteY52" fmla="*/ 1331612 h 2103137"/>
                <a:gd name="connsiteX53" fmla="*/ 803910 w 5172392"/>
                <a:gd name="connsiteY53" fmla="*/ 1426862 h 2103137"/>
                <a:gd name="connsiteX54" fmla="*/ 673418 w 5172392"/>
                <a:gd name="connsiteY54" fmla="*/ 1348757 h 2103137"/>
                <a:gd name="connsiteX55" fmla="*/ 521970 w 5172392"/>
                <a:gd name="connsiteY55" fmla="*/ 959185 h 2103137"/>
                <a:gd name="connsiteX56" fmla="*/ 465773 w 5172392"/>
                <a:gd name="connsiteY56" fmla="*/ 1089677 h 2103137"/>
                <a:gd name="connsiteX57" fmla="*/ 239077 w 5172392"/>
                <a:gd name="connsiteY57" fmla="*/ 1228742 h 2103137"/>
                <a:gd name="connsiteX58" fmla="*/ 0 w 5172392"/>
                <a:gd name="connsiteY58" fmla="*/ 1228742 h 2103137"/>
                <a:gd name="connsiteX59" fmla="*/ 86677 w 5172392"/>
                <a:gd name="connsiteY59" fmla="*/ 1064912 h 2103137"/>
                <a:gd name="connsiteX60" fmla="*/ 239077 w 5172392"/>
                <a:gd name="connsiteY60" fmla="*/ 1064912 h 2103137"/>
                <a:gd name="connsiteX61" fmla="*/ 314325 w 5172392"/>
                <a:gd name="connsiteY61" fmla="*/ 1025860 h 2103137"/>
                <a:gd name="connsiteX62" fmla="*/ 389573 w 5172392"/>
                <a:gd name="connsiteY62" fmla="*/ 850600 h 2103137"/>
                <a:gd name="connsiteX63" fmla="*/ 524827 w 5172392"/>
                <a:gd name="connsiteY63" fmla="*/ 767732 h 2103137"/>
                <a:gd name="connsiteX64" fmla="*/ 656273 w 5172392"/>
                <a:gd name="connsiteY64" fmla="*/ 855362 h 2103137"/>
                <a:gd name="connsiteX65" fmla="*/ 782955 w 5172392"/>
                <a:gd name="connsiteY65" fmla="*/ 1181117 h 2103137"/>
                <a:gd name="connsiteX66" fmla="*/ 1018223 w 5172392"/>
                <a:gd name="connsiteY66" fmla="*/ 96220 h 2103137"/>
                <a:gd name="connsiteX67" fmla="*/ 1145857 w 5172392"/>
                <a:gd name="connsiteY67" fmla="*/ 17 h 210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172392" h="2103137">
                  <a:moveTo>
                    <a:pt x="1145857" y="17"/>
                  </a:moveTo>
                  <a:cubicBezTo>
                    <a:pt x="1207771" y="1922"/>
                    <a:pt x="1258252" y="43832"/>
                    <a:pt x="1267777" y="101935"/>
                  </a:cubicBezTo>
                  <a:lnTo>
                    <a:pt x="1527810" y="1783097"/>
                  </a:lnTo>
                  <a:lnTo>
                    <a:pt x="1728788" y="852505"/>
                  </a:lnTo>
                  <a:cubicBezTo>
                    <a:pt x="1740217" y="802022"/>
                    <a:pt x="1783080" y="764875"/>
                    <a:pt x="1837373" y="758207"/>
                  </a:cubicBezTo>
                  <a:cubicBezTo>
                    <a:pt x="1891665" y="751540"/>
                    <a:pt x="1944052" y="778210"/>
                    <a:pt x="1967865" y="823930"/>
                  </a:cubicBezTo>
                  <a:lnTo>
                    <a:pt x="2085975" y="1039195"/>
                  </a:lnTo>
                  <a:cubicBezTo>
                    <a:pt x="2092642" y="1052530"/>
                    <a:pt x="2114550" y="1066817"/>
                    <a:pt x="2143125" y="1066817"/>
                  </a:cubicBezTo>
                  <a:lnTo>
                    <a:pt x="2574869" y="1066817"/>
                  </a:lnTo>
                  <a:lnTo>
                    <a:pt x="2575877" y="1064912"/>
                  </a:lnTo>
                  <a:lnTo>
                    <a:pt x="2728277" y="1064912"/>
                  </a:lnTo>
                  <a:cubicBezTo>
                    <a:pt x="2761615" y="1064912"/>
                    <a:pt x="2794000" y="1048720"/>
                    <a:pt x="2803525" y="1025860"/>
                  </a:cubicBezTo>
                  <a:lnTo>
                    <a:pt x="2878773" y="850600"/>
                  </a:lnTo>
                  <a:cubicBezTo>
                    <a:pt x="2901632" y="799165"/>
                    <a:pt x="2954973" y="766780"/>
                    <a:pt x="3014027" y="767732"/>
                  </a:cubicBezTo>
                  <a:cubicBezTo>
                    <a:pt x="3074035" y="769637"/>
                    <a:pt x="3125470" y="802975"/>
                    <a:pt x="3145473" y="855362"/>
                  </a:cubicBezTo>
                  <a:lnTo>
                    <a:pt x="3272155" y="1181117"/>
                  </a:lnTo>
                  <a:lnTo>
                    <a:pt x="3507423" y="96220"/>
                  </a:lnTo>
                  <a:cubicBezTo>
                    <a:pt x="3519805" y="38117"/>
                    <a:pt x="3572193" y="-935"/>
                    <a:pt x="3635057" y="17"/>
                  </a:cubicBezTo>
                  <a:cubicBezTo>
                    <a:pt x="3696971" y="1922"/>
                    <a:pt x="3747452" y="43832"/>
                    <a:pt x="3756977" y="101935"/>
                  </a:cubicBezTo>
                  <a:lnTo>
                    <a:pt x="4017010" y="1783097"/>
                  </a:lnTo>
                  <a:lnTo>
                    <a:pt x="4217988" y="852505"/>
                  </a:lnTo>
                  <a:cubicBezTo>
                    <a:pt x="4229417" y="802022"/>
                    <a:pt x="4272280" y="764875"/>
                    <a:pt x="4326573" y="758207"/>
                  </a:cubicBezTo>
                  <a:cubicBezTo>
                    <a:pt x="4380865" y="751540"/>
                    <a:pt x="4433252" y="778210"/>
                    <a:pt x="4457065" y="823930"/>
                  </a:cubicBezTo>
                  <a:lnTo>
                    <a:pt x="4575175" y="1039195"/>
                  </a:lnTo>
                  <a:cubicBezTo>
                    <a:pt x="4581842" y="1052530"/>
                    <a:pt x="4603750" y="1066817"/>
                    <a:pt x="4632325" y="1066817"/>
                  </a:cubicBezTo>
                  <a:lnTo>
                    <a:pt x="5089525" y="1066817"/>
                  </a:lnTo>
                  <a:cubicBezTo>
                    <a:pt x="5134292" y="1066817"/>
                    <a:pt x="5171440" y="1103012"/>
                    <a:pt x="5172392" y="1145875"/>
                  </a:cubicBezTo>
                  <a:cubicBezTo>
                    <a:pt x="5172392" y="1190642"/>
                    <a:pt x="5136198" y="1227790"/>
                    <a:pt x="5090477" y="1227790"/>
                  </a:cubicBezTo>
                  <a:lnTo>
                    <a:pt x="4633277" y="1227790"/>
                  </a:lnTo>
                  <a:cubicBezTo>
                    <a:pt x="4546600" y="1227790"/>
                    <a:pt x="4466590" y="1181117"/>
                    <a:pt x="4430396" y="1110632"/>
                  </a:cubicBezTo>
                  <a:lnTo>
                    <a:pt x="4358958" y="980140"/>
                  </a:lnTo>
                  <a:lnTo>
                    <a:pt x="4137977" y="2006935"/>
                  </a:lnTo>
                  <a:cubicBezTo>
                    <a:pt x="4124642" y="2064085"/>
                    <a:pt x="4074160" y="2103137"/>
                    <a:pt x="4013200" y="2103137"/>
                  </a:cubicBezTo>
                  <a:cubicBezTo>
                    <a:pt x="4012248" y="2103137"/>
                    <a:pt x="4010342" y="2103137"/>
                    <a:pt x="4009390" y="2103137"/>
                  </a:cubicBezTo>
                  <a:cubicBezTo>
                    <a:pt x="3947477" y="2101232"/>
                    <a:pt x="3896996" y="2059322"/>
                    <a:pt x="3887471" y="2001220"/>
                  </a:cubicBezTo>
                  <a:lnTo>
                    <a:pt x="3627438" y="319105"/>
                  </a:lnTo>
                  <a:lnTo>
                    <a:pt x="3407410" y="1331612"/>
                  </a:lnTo>
                  <a:cubicBezTo>
                    <a:pt x="3395980" y="1384000"/>
                    <a:pt x="3350260" y="1422100"/>
                    <a:pt x="3293110" y="1426862"/>
                  </a:cubicBezTo>
                  <a:cubicBezTo>
                    <a:pt x="3235007" y="1431625"/>
                    <a:pt x="3182620" y="1400192"/>
                    <a:pt x="3162618" y="1348757"/>
                  </a:cubicBezTo>
                  <a:lnTo>
                    <a:pt x="3011170" y="959185"/>
                  </a:lnTo>
                  <a:lnTo>
                    <a:pt x="2954973" y="1089677"/>
                  </a:lnTo>
                  <a:cubicBezTo>
                    <a:pt x="2918777" y="1174450"/>
                    <a:pt x="2829243" y="1228742"/>
                    <a:pt x="2728277" y="1228742"/>
                  </a:cubicBezTo>
                  <a:lnTo>
                    <a:pt x="2489200" y="1228742"/>
                  </a:lnTo>
                  <a:lnTo>
                    <a:pt x="2489704" y="1227790"/>
                  </a:lnTo>
                  <a:lnTo>
                    <a:pt x="2144077" y="1227790"/>
                  </a:lnTo>
                  <a:cubicBezTo>
                    <a:pt x="2057400" y="1227790"/>
                    <a:pt x="1977390" y="1181117"/>
                    <a:pt x="1941196" y="1110632"/>
                  </a:cubicBezTo>
                  <a:lnTo>
                    <a:pt x="1869758" y="980140"/>
                  </a:lnTo>
                  <a:lnTo>
                    <a:pt x="1648777" y="2006935"/>
                  </a:lnTo>
                  <a:cubicBezTo>
                    <a:pt x="1635442" y="2064085"/>
                    <a:pt x="1584960" y="2103137"/>
                    <a:pt x="1524000" y="2103137"/>
                  </a:cubicBezTo>
                  <a:cubicBezTo>
                    <a:pt x="1523048" y="2103137"/>
                    <a:pt x="1521142" y="2103137"/>
                    <a:pt x="1520190" y="2103137"/>
                  </a:cubicBezTo>
                  <a:cubicBezTo>
                    <a:pt x="1458277" y="2101232"/>
                    <a:pt x="1407796" y="2059322"/>
                    <a:pt x="1398271" y="2001220"/>
                  </a:cubicBezTo>
                  <a:lnTo>
                    <a:pt x="1138238" y="319105"/>
                  </a:lnTo>
                  <a:lnTo>
                    <a:pt x="918210" y="1331612"/>
                  </a:lnTo>
                  <a:cubicBezTo>
                    <a:pt x="906780" y="1384000"/>
                    <a:pt x="861060" y="1422100"/>
                    <a:pt x="803910" y="1426862"/>
                  </a:cubicBezTo>
                  <a:cubicBezTo>
                    <a:pt x="745807" y="1431625"/>
                    <a:pt x="693420" y="1400192"/>
                    <a:pt x="673418" y="1348757"/>
                  </a:cubicBezTo>
                  <a:lnTo>
                    <a:pt x="521970" y="959185"/>
                  </a:lnTo>
                  <a:lnTo>
                    <a:pt x="465773" y="1089677"/>
                  </a:lnTo>
                  <a:cubicBezTo>
                    <a:pt x="429577" y="1174450"/>
                    <a:pt x="340043" y="1228742"/>
                    <a:pt x="239077" y="1228742"/>
                  </a:cubicBezTo>
                  <a:lnTo>
                    <a:pt x="0" y="1228742"/>
                  </a:lnTo>
                  <a:cubicBezTo>
                    <a:pt x="32385" y="1171592"/>
                    <a:pt x="60960" y="1117300"/>
                    <a:pt x="86677" y="1064912"/>
                  </a:cubicBezTo>
                  <a:lnTo>
                    <a:pt x="239077" y="1064912"/>
                  </a:lnTo>
                  <a:cubicBezTo>
                    <a:pt x="272415" y="1064912"/>
                    <a:pt x="304800" y="1048720"/>
                    <a:pt x="314325" y="1025860"/>
                  </a:cubicBezTo>
                  <a:lnTo>
                    <a:pt x="389573" y="850600"/>
                  </a:lnTo>
                  <a:cubicBezTo>
                    <a:pt x="412432" y="799165"/>
                    <a:pt x="465773" y="766780"/>
                    <a:pt x="524827" y="767732"/>
                  </a:cubicBezTo>
                  <a:cubicBezTo>
                    <a:pt x="584835" y="769637"/>
                    <a:pt x="636270" y="802975"/>
                    <a:pt x="656273" y="855362"/>
                  </a:cubicBezTo>
                  <a:lnTo>
                    <a:pt x="782955" y="1181117"/>
                  </a:lnTo>
                  <a:lnTo>
                    <a:pt x="1018223" y="96220"/>
                  </a:lnTo>
                  <a:cubicBezTo>
                    <a:pt x="1030605" y="38117"/>
                    <a:pt x="1082993" y="-935"/>
                    <a:pt x="1145857" y="17"/>
                  </a:cubicBezTo>
                  <a:close/>
                </a:path>
              </a:pathLst>
            </a:custGeom>
            <a:solidFill>
              <a:srgbClr val="FFFFFF"/>
            </a:solidFill>
            <a:ln w="9525" cap="flat">
              <a:noFill/>
              <a:prstDash val="solid"/>
              <a:miter/>
            </a:ln>
          </p:spPr>
          <p:txBody>
            <a:bodyPr rtlCol="0" anchor="ctr"/>
            <a:lstStyle/>
            <a:p>
              <a:endParaRPr lang="de-DE"/>
            </a:p>
          </p:txBody>
        </p:sp>
        <p:sp>
          <p:nvSpPr>
            <p:cNvPr id="11" name="Rechteck 10">
              <a:extLst>
                <a:ext uri="{FF2B5EF4-FFF2-40B4-BE49-F238E27FC236}">
                  <a16:creationId xmlns:a16="http://schemas.microsoft.com/office/drawing/2014/main" id="{42369BF3-715F-419F-963F-DDC4612D52AC}"/>
                </a:ext>
              </a:extLst>
            </p:cNvPr>
            <p:cNvSpPr/>
            <p:nvPr/>
          </p:nvSpPr>
          <p:spPr bwMode="gray">
            <a:xfrm>
              <a:off x="6502400" y="2870179"/>
              <a:ext cx="2177452" cy="6452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600" b="1" dirty="0"/>
                <a:t>Values</a:t>
              </a:r>
            </a:p>
          </p:txBody>
        </p:sp>
      </p:grpSp>
      <p:sp>
        <p:nvSpPr>
          <p:cNvPr id="18" name="Rechteck 17">
            <a:extLst>
              <a:ext uri="{FF2B5EF4-FFF2-40B4-BE49-F238E27FC236}">
                <a16:creationId xmlns:a16="http://schemas.microsoft.com/office/drawing/2014/main" id="{F477B1D7-4931-4222-B748-382BB90C4A38}"/>
              </a:ext>
            </a:extLst>
          </p:cNvPr>
          <p:cNvSpPr/>
          <p:nvPr/>
        </p:nvSpPr>
        <p:spPr bwMode="gray">
          <a:xfrm>
            <a:off x="421959" y="1680433"/>
            <a:ext cx="367982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chemeClr val="accent1"/>
                </a:solidFill>
              </a:rPr>
              <a:t>Ownership</a:t>
            </a:r>
          </a:p>
          <a:p>
            <a:pPr algn="ctr"/>
            <a:r>
              <a:rPr lang="en-US" sz="1800" dirty="0">
                <a:solidFill>
                  <a:schemeClr val="bg1"/>
                </a:solidFill>
              </a:rPr>
              <a:t>The best possible solution is in our hands!</a:t>
            </a:r>
          </a:p>
        </p:txBody>
      </p:sp>
      <p:sp>
        <p:nvSpPr>
          <p:cNvPr id="19" name="Rechteck 18">
            <a:extLst>
              <a:ext uri="{FF2B5EF4-FFF2-40B4-BE49-F238E27FC236}">
                <a16:creationId xmlns:a16="http://schemas.microsoft.com/office/drawing/2014/main" id="{257011F9-50B7-4CB8-9666-90235095AB92}"/>
              </a:ext>
            </a:extLst>
          </p:cNvPr>
          <p:cNvSpPr/>
          <p:nvPr/>
        </p:nvSpPr>
        <p:spPr bwMode="gray">
          <a:xfrm>
            <a:off x="421959" y="5221917"/>
            <a:ext cx="367982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chemeClr val="accent1"/>
                </a:solidFill>
              </a:rPr>
              <a:t>Partnership</a:t>
            </a:r>
          </a:p>
          <a:p>
            <a:pPr algn="ctr"/>
            <a:r>
              <a:rPr lang="en-US" sz="1800" dirty="0">
                <a:solidFill>
                  <a:schemeClr val="bg1"/>
                </a:solidFill>
              </a:rPr>
              <a:t>The best possible solution is one we develop together!</a:t>
            </a:r>
          </a:p>
        </p:txBody>
      </p:sp>
      <p:sp>
        <p:nvSpPr>
          <p:cNvPr id="20" name="Rechteck 19">
            <a:extLst>
              <a:ext uri="{FF2B5EF4-FFF2-40B4-BE49-F238E27FC236}">
                <a16:creationId xmlns:a16="http://schemas.microsoft.com/office/drawing/2014/main" id="{25F9955A-2194-4ED1-9862-B4EF086A4457}"/>
              </a:ext>
            </a:extLst>
          </p:cNvPr>
          <p:cNvSpPr/>
          <p:nvPr/>
        </p:nvSpPr>
        <p:spPr bwMode="gray">
          <a:xfrm>
            <a:off x="8068947" y="5221917"/>
            <a:ext cx="367823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chemeClr val="accent1"/>
                </a:solidFill>
              </a:rPr>
              <a:t>Enthusiasm</a:t>
            </a:r>
          </a:p>
          <a:p>
            <a:pPr algn="ctr"/>
            <a:r>
              <a:rPr lang="en-US" sz="1800" dirty="0">
                <a:solidFill>
                  <a:schemeClr val="bg1"/>
                </a:solidFill>
              </a:rPr>
              <a:t>We have fun working out the best possible solution!</a:t>
            </a:r>
          </a:p>
        </p:txBody>
      </p:sp>
      <p:sp>
        <p:nvSpPr>
          <p:cNvPr id="21" name="Rechteck 20">
            <a:extLst>
              <a:ext uri="{FF2B5EF4-FFF2-40B4-BE49-F238E27FC236}">
                <a16:creationId xmlns:a16="http://schemas.microsoft.com/office/drawing/2014/main" id="{7DC3B66D-48CB-4E5C-8D28-5CC8E601B7AE}"/>
              </a:ext>
            </a:extLst>
          </p:cNvPr>
          <p:cNvSpPr/>
          <p:nvPr/>
        </p:nvSpPr>
        <p:spPr bwMode="gray">
          <a:xfrm>
            <a:off x="8068947" y="1680433"/>
            <a:ext cx="367823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chemeClr val="accent1"/>
                </a:solidFill>
              </a:rPr>
              <a:t>Vision-driven</a:t>
            </a:r>
          </a:p>
          <a:p>
            <a:pPr algn="ctr"/>
            <a:r>
              <a:rPr lang="en-US" sz="1800" dirty="0">
                <a:solidFill>
                  <a:schemeClr val="bg1"/>
                </a:solidFill>
              </a:rPr>
              <a:t>The best possible solution</a:t>
            </a:r>
            <a:br>
              <a:rPr lang="en-US" sz="1800" dirty="0">
                <a:solidFill>
                  <a:schemeClr val="bg1"/>
                </a:solidFill>
              </a:rPr>
            </a:br>
            <a:r>
              <a:rPr lang="en-US" sz="1800" dirty="0">
                <a:solidFill>
                  <a:schemeClr val="bg1"/>
                </a:solidFill>
              </a:rPr>
              <a:t>is one we create!</a:t>
            </a:r>
          </a:p>
        </p:txBody>
      </p:sp>
      <p:sp>
        <p:nvSpPr>
          <p:cNvPr id="22" name="Rechteck 21">
            <a:extLst>
              <a:ext uri="{FF2B5EF4-FFF2-40B4-BE49-F238E27FC236}">
                <a16:creationId xmlns:a16="http://schemas.microsoft.com/office/drawing/2014/main" id="{2D499832-2E76-45DF-A2B3-56D8116FB7FE}"/>
              </a:ext>
            </a:extLst>
          </p:cNvPr>
          <p:cNvSpPr/>
          <p:nvPr/>
        </p:nvSpPr>
        <p:spPr bwMode="gray">
          <a:xfrm>
            <a:off x="4245453" y="5221917"/>
            <a:ext cx="367982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chemeClr val="accent1"/>
                </a:solidFill>
              </a:rPr>
              <a:t>Solution-driven</a:t>
            </a:r>
          </a:p>
          <a:p>
            <a:pPr algn="ctr"/>
            <a:r>
              <a:rPr lang="en-US" sz="1800" dirty="0">
                <a:solidFill>
                  <a:schemeClr val="bg1"/>
                </a:solidFill>
              </a:rPr>
              <a:t>Finding the best possible solution drives us forward!</a:t>
            </a:r>
          </a:p>
        </p:txBody>
      </p:sp>
      <p:sp>
        <p:nvSpPr>
          <p:cNvPr id="23" name="Foliennummernplatzhalter 22">
            <a:extLst>
              <a:ext uri="{FF2B5EF4-FFF2-40B4-BE49-F238E27FC236}">
                <a16:creationId xmlns:a16="http://schemas.microsoft.com/office/drawing/2014/main" id="{7707DAF1-7623-415A-8F0C-945145B2E162}"/>
              </a:ext>
            </a:extLst>
          </p:cNvPr>
          <p:cNvSpPr>
            <a:spLocks noGrp="1"/>
          </p:cNvSpPr>
          <p:nvPr>
            <p:ph type="sldNum" sz="quarter" idx="12"/>
          </p:nvPr>
        </p:nvSpPr>
        <p:spPr/>
        <p:txBody>
          <a:bodyPr/>
          <a:lstStyle/>
          <a:p>
            <a:fld id="{0C7C1E0B-BD27-42F8-BC6B-2F0636970842}" type="slidenum">
              <a:rPr lang="de-DE" smtClean="0"/>
              <a:pPr/>
              <a:t>45</a:t>
            </a:fld>
            <a:endParaRPr lang="de-DE"/>
          </a:p>
        </p:txBody>
      </p:sp>
    </p:spTree>
    <p:extLst>
      <p:ext uri="{BB962C8B-B14F-4D97-AF65-F5344CB8AC3E}">
        <p14:creationId xmlns:p14="http://schemas.microsoft.com/office/powerpoint/2010/main" val="2354522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9EEA175-DCEF-4AF4-B5E3-46AEE5F9874B}"/>
              </a:ext>
            </a:extLst>
          </p:cNvPr>
          <p:cNvSpPr>
            <a:spLocks noGrp="1"/>
          </p:cNvSpPr>
          <p:nvPr>
            <p:ph type="title"/>
          </p:nvPr>
        </p:nvSpPr>
        <p:spPr>
          <a:xfrm>
            <a:off x="573261" y="249369"/>
            <a:ext cx="11325225" cy="847775"/>
          </a:xfrm>
        </p:spPr>
        <p:txBody>
          <a:bodyPr/>
          <a:lstStyle/>
          <a:p>
            <a:pPr algn="ctr"/>
            <a:r>
              <a:rPr lang="bg-BG" dirty="0"/>
              <a:t>НАШИТЕ ЦЕННОСТИ</a:t>
            </a:r>
            <a:endParaRPr lang="en-US" dirty="0"/>
          </a:p>
        </p:txBody>
      </p:sp>
      <p:grpSp>
        <p:nvGrpSpPr>
          <p:cNvPr id="6" name="Gruppieren 5">
            <a:extLst>
              <a:ext uri="{FF2B5EF4-FFF2-40B4-BE49-F238E27FC236}">
                <a16:creationId xmlns:a16="http://schemas.microsoft.com/office/drawing/2014/main" id="{55B63A0C-969C-418C-AAD2-C5E1203AC8C9}"/>
              </a:ext>
            </a:extLst>
          </p:cNvPr>
          <p:cNvGrpSpPr/>
          <p:nvPr/>
        </p:nvGrpSpPr>
        <p:grpSpPr>
          <a:xfrm>
            <a:off x="-454341" y="2336685"/>
            <a:ext cx="12644754" cy="2756406"/>
            <a:chOff x="456406" y="1924735"/>
            <a:chExt cx="13763941" cy="3000375"/>
          </a:xfrm>
        </p:grpSpPr>
        <p:sp>
          <p:nvSpPr>
            <p:cNvPr id="7" name="Freihandform: Form 6">
              <a:extLst>
                <a:ext uri="{FF2B5EF4-FFF2-40B4-BE49-F238E27FC236}">
                  <a16:creationId xmlns:a16="http://schemas.microsoft.com/office/drawing/2014/main" id="{DA0A6E61-F97C-40ED-AB35-868CDCAD9539}"/>
                </a:ext>
              </a:extLst>
            </p:cNvPr>
            <p:cNvSpPr/>
            <p:nvPr/>
          </p:nvSpPr>
          <p:spPr>
            <a:xfrm>
              <a:off x="456406" y="2376264"/>
              <a:ext cx="5648325" cy="2105025"/>
            </a:xfrm>
            <a:custGeom>
              <a:avLst/>
              <a:gdLst>
                <a:gd name="connsiteX0" fmla="*/ 5568315 w 5648325"/>
                <a:gd name="connsiteY0" fmla="*/ 1066865 h 2105025"/>
                <a:gd name="connsiteX1" fmla="*/ 5335905 w 5648325"/>
                <a:gd name="connsiteY1" fmla="*/ 1066865 h 2105025"/>
                <a:gd name="connsiteX2" fmla="*/ 5278755 w 5648325"/>
                <a:gd name="connsiteY2" fmla="*/ 1039243 h 2105025"/>
                <a:gd name="connsiteX3" fmla="*/ 5160645 w 5648325"/>
                <a:gd name="connsiteY3" fmla="*/ 823978 h 2105025"/>
                <a:gd name="connsiteX4" fmla="*/ 5030153 w 5648325"/>
                <a:gd name="connsiteY4" fmla="*/ 758255 h 2105025"/>
                <a:gd name="connsiteX5" fmla="*/ 4921568 w 5648325"/>
                <a:gd name="connsiteY5" fmla="*/ 852553 h 2105025"/>
                <a:gd name="connsiteX6" fmla="*/ 4720590 w 5648325"/>
                <a:gd name="connsiteY6" fmla="*/ 1783145 h 2105025"/>
                <a:gd name="connsiteX7" fmla="*/ 4460558 w 5648325"/>
                <a:gd name="connsiteY7" fmla="*/ 101983 h 2105025"/>
                <a:gd name="connsiteX8" fmla="*/ 4338638 w 5648325"/>
                <a:gd name="connsiteY8" fmla="*/ 65 h 2105025"/>
                <a:gd name="connsiteX9" fmla="*/ 4211003 w 5648325"/>
                <a:gd name="connsiteY9" fmla="*/ 96268 h 2105025"/>
                <a:gd name="connsiteX10" fmla="*/ 3975735 w 5648325"/>
                <a:gd name="connsiteY10" fmla="*/ 1181165 h 2105025"/>
                <a:gd name="connsiteX11" fmla="*/ 3848100 w 5648325"/>
                <a:gd name="connsiteY11" fmla="*/ 856363 h 2105025"/>
                <a:gd name="connsiteX12" fmla="*/ 3716655 w 5648325"/>
                <a:gd name="connsiteY12" fmla="*/ 768733 h 2105025"/>
                <a:gd name="connsiteX13" fmla="*/ 3581400 w 5648325"/>
                <a:gd name="connsiteY13" fmla="*/ 851600 h 2105025"/>
                <a:gd name="connsiteX14" fmla="*/ 3506153 w 5648325"/>
                <a:gd name="connsiteY14" fmla="*/ 1026860 h 2105025"/>
                <a:gd name="connsiteX15" fmla="*/ 3430905 w 5648325"/>
                <a:gd name="connsiteY15" fmla="*/ 1065913 h 2105025"/>
                <a:gd name="connsiteX16" fmla="*/ 3095625 w 5648325"/>
                <a:gd name="connsiteY16" fmla="*/ 1065913 h 2105025"/>
                <a:gd name="connsiteX17" fmla="*/ 3091815 w 5648325"/>
                <a:gd name="connsiteY17" fmla="*/ 1065913 h 2105025"/>
                <a:gd name="connsiteX18" fmla="*/ 2634615 w 5648325"/>
                <a:gd name="connsiteY18" fmla="*/ 1065913 h 2105025"/>
                <a:gd name="connsiteX19" fmla="*/ 2577465 w 5648325"/>
                <a:gd name="connsiteY19" fmla="*/ 1038290 h 2105025"/>
                <a:gd name="connsiteX20" fmla="*/ 2459355 w 5648325"/>
                <a:gd name="connsiteY20" fmla="*/ 823025 h 2105025"/>
                <a:gd name="connsiteX21" fmla="*/ 2328863 w 5648325"/>
                <a:gd name="connsiteY21" fmla="*/ 757303 h 2105025"/>
                <a:gd name="connsiteX22" fmla="*/ 2220278 w 5648325"/>
                <a:gd name="connsiteY22" fmla="*/ 851600 h 2105025"/>
                <a:gd name="connsiteX23" fmla="*/ 2019300 w 5648325"/>
                <a:gd name="connsiteY23" fmla="*/ 1782193 h 2105025"/>
                <a:gd name="connsiteX24" fmla="*/ 1761173 w 5648325"/>
                <a:gd name="connsiteY24" fmla="*/ 101983 h 2105025"/>
                <a:gd name="connsiteX25" fmla="*/ 1639253 w 5648325"/>
                <a:gd name="connsiteY25" fmla="*/ 65 h 2105025"/>
                <a:gd name="connsiteX26" fmla="*/ 1511618 w 5648325"/>
                <a:gd name="connsiteY26" fmla="*/ 96268 h 2105025"/>
                <a:gd name="connsiteX27" fmla="*/ 1276350 w 5648325"/>
                <a:gd name="connsiteY27" fmla="*/ 1181165 h 2105025"/>
                <a:gd name="connsiteX28" fmla="*/ 1149668 w 5648325"/>
                <a:gd name="connsiteY28" fmla="*/ 855410 h 2105025"/>
                <a:gd name="connsiteX29" fmla="*/ 1018223 w 5648325"/>
                <a:gd name="connsiteY29" fmla="*/ 767780 h 2105025"/>
                <a:gd name="connsiteX30" fmla="*/ 882968 w 5648325"/>
                <a:gd name="connsiteY30" fmla="*/ 850648 h 2105025"/>
                <a:gd name="connsiteX31" fmla="*/ 807720 w 5648325"/>
                <a:gd name="connsiteY31" fmla="*/ 1025908 h 2105025"/>
                <a:gd name="connsiteX32" fmla="*/ 732473 w 5648325"/>
                <a:gd name="connsiteY32" fmla="*/ 1064960 h 2105025"/>
                <a:gd name="connsiteX33" fmla="*/ 81915 w 5648325"/>
                <a:gd name="connsiteY33" fmla="*/ 1064960 h 2105025"/>
                <a:gd name="connsiteX34" fmla="*/ 0 w 5648325"/>
                <a:gd name="connsiteY34" fmla="*/ 1146875 h 2105025"/>
                <a:gd name="connsiteX35" fmla="*/ 81915 w 5648325"/>
                <a:gd name="connsiteY35" fmla="*/ 1228790 h 2105025"/>
                <a:gd name="connsiteX36" fmla="*/ 731520 w 5648325"/>
                <a:gd name="connsiteY36" fmla="*/ 1228790 h 2105025"/>
                <a:gd name="connsiteX37" fmla="*/ 958215 w 5648325"/>
                <a:gd name="connsiteY37" fmla="*/ 1089725 h 2105025"/>
                <a:gd name="connsiteX38" fmla="*/ 1014413 w 5648325"/>
                <a:gd name="connsiteY38" fmla="*/ 959233 h 2105025"/>
                <a:gd name="connsiteX39" fmla="*/ 1165860 w 5648325"/>
                <a:gd name="connsiteY39" fmla="*/ 1348805 h 2105025"/>
                <a:gd name="connsiteX40" fmla="*/ 1296353 w 5648325"/>
                <a:gd name="connsiteY40" fmla="*/ 1426910 h 2105025"/>
                <a:gd name="connsiteX41" fmla="*/ 1410653 w 5648325"/>
                <a:gd name="connsiteY41" fmla="*/ 1331660 h 2105025"/>
                <a:gd name="connsiteX42" fmla="*/ 1628775 w 5648325"/>
                <a:gd name="connsiteY42" fmla="*/ 322010 h 2105025"/>
                <a:gd name="connsiteX43" fmla="*/ 1888808 w 5648325"/>
                <a:gd name="connsiteY43" fmla="*/ 2004125 h 2105025"/>
                <a:gd name="connsiteX44" fmla="*/ 2010728 w 5648325"/>
                <a:gd name="connsiteY44" fmla="*/ 2106043 h 2105025"/>
                <a:gd name="connsiteX45" fmla="*/ 2014538 w 5648325"/>
                <a:gd name="connsiteY45" fmla="*/ 2106043 h 2105025"/>
                <a:gd name="connsiteX46" fmla="*/ 2139315 w 5648325"/>
                <a:gd name="connsiteY46" fmla="*/ 2009840 h 2105025"/>
                <a:gd name="connsiteX47" fmla="*/ 2360295 w 5648325"/>
                <a:gd name="connsiteY47" fmla="*/ 983045 h 2105025"/>
                <a:gd name="connsiteX48" fmla="*/ 2431733 w 5648325"/>
                <a:gd name="connsiteY48" fmla="*/ 1113538 h 2105025"/>
                <a:gd name="connsiteX49" fmla="*/ 2634615 w 5648325"/>
                <a:gd name="connsiteY49" fmla="*/ 1230695 h 2105025"/>
                <a:gd name="connsiteX50" fmla="*/ 2776538 w 5648325"/>
                <a:gd name="connsiteY50" fmla="*/ 1230695 h 2105025"/>
                <a:gd name="connsiteX51" fmla="*/ 2780348 w 5648325"/>
                <a:gd name="connsiteY51" fmla="*/ 1230695 h 2105025"/>
                <a:gd name="connsiteX52" fmla="*/ 3429953 w 5648325"/>
                <a:gd name="connsiteY52" fmla="*/ 1230695 h 2105025"/>
                <a:gd name="connsiteX53" fmla="*/ 3656648 w 5648325"/>
                <a:gd name="connsiteY53" fmla="*/ 1091630 h 2105025"/>
                <a:gd name="connsiteX54" fmla="*/ 3712845 w 5648325"/>
                <a:gd name="connsiteY54" fmla="*/ 961138 h 2105025"/>
                <a:gd name="connsiteX55" fmla="*/ 3864293 w 5648325"/>
                <a:gd name="connsiteY55" fmla="*/ 1350710 h 2105025"/>
                <a:gd name="connsiteX56" fmla="*/ 3994785 w 5648325"/>
                <a:gd name="connsiteY56" fmla="*/ 1428815 h 2105025"/>
                <a:gd name="connsiteX57" fmla="*/ 4109085 w 5648325"/>
                <a:gd name="connsiteY57" fmla="*/ 1333565 h 2105025"/>
                <a:gd name="connsiteX58" fmla="*/ 4329113 w 5648325"/>
                <a:gd name="connsiteY58" fmla="*/ 321058 h 2105025"/>
                <a:gd name="connsiteX59" fmla="*/ 4589145 w 5648325"/>
                <a:gd name="connsiteY59" fmla="*/ 2003173 h 2105025"/>
                <a:gd name="connsiteX60" fmla="*/ 4711065 w 5648325"/>
                <a:gd name="connsiteY60" fmla="*/ 2105090 h 2105025"/>
                <a:gd name="connsiteX61" fmla="*/ 4714875 w 5648325"/>
                <a:gd name="connsiteY61" fmla="*/ 2105090 h 2105025"/>
                <a:gd name="connsiteX62" fmla="*/ 4839653 w 5648325"/>
                <a:gd name="connsiteY62" fmla="*/ 2008888 h 2105025"/>
                <a:gd name="connsiteX63" fmla="*/ 5060633 w 5648325"/>
                <a:gd name="connsiteY63" fmla="*/ 982093 h 2105025"/>
                <a:gd name="connsiteX64" fmla="*/ 5132070 w 5648325"/>
                <a:gd name="connsiteY64" fmla="*/ 1112585 h 2105025"/>
                <a:gd name="connsiteX65" fmla="*/ 5334953 w 5648325"/>
                <a:gd name="connsiteY65" fmla="*/ 1229743 h 2105025"/>
                <a:gd name="connsiteX66" fmla="*/ 5476875 w 5648325"/>
                <a:gd name="connsiteY66" fmla="*/ 1229743 h 2105025"/>
                <a:gd name="connsiteX67" fmla="*/ 5480685 w 5648325"/>
                <a:gd name="connsiteY67" fmla="*/ 1229743 h 2105025"/>
                <a:gd name="connsiteX68" fmla="*/ 5656898 w 5648325"/>
                <a:gd name="connsiteY68" fmla="*/ 1229743 h 2105025"/>
                <a:gd name="connsiteX69" fmla="*/ 5568315 w 5648325"/>
                <a:gd name="connsiteY69" fmla="*/ 106686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48325" h="2105025">
                  <a:moveTo>
                    <a:pt x="5568315" y="1066865"/>
                  </a:moveTo>
                  <a:lnTo>
                    <a:pt x="5335905" y="1066865"/>
                  </a:lnTo>
                  <a:cubicBezTo>
                    <a:pt x="5307330" y="1066865"/>
                    <a:pt x="5285423" y="1052578"/>
                    <a:pt x="5278755" y="1039243"/>
                  </a:cubicBezTo>
                  <a:lnTo>
                    <a:pt x="5160645" y="823978"/>
                  </a:lnTo>
                  <a:cubicBezTo>
                    <a:pt x="5136833" y="778258"/>
                    <a:pt x="5084445" y="751588"/>
                    <a:pt x="5030153" y="758255"/>
                  </a:cubicBezTo>
                  <a:cubicBezTo>
                    <a:pt x="4975860" y="764923"/>
                    <a:pt x="4932998" y="802070"/>
                    <a:pt x="4921568" y="852553"/>
                  </a:cubicBezTo>
                  <a:lnTo>
                    <a:pt x="4720590" y="1783145"/>
                  </a:lnTo>
                  <a:lnTo>
                    <a:pt x="4460558" y="101983"/>
                  </a:lnTo>
                  <a:cubicBezTo>
                    <a:pt x="4451033" y="43880"/>
                    <a:pt x="4400550" y="1970"/>
                    <a:pt x="4338638" y="65"/>
                  </a:cubicBezTo>
                  <a:cubicBezTo>
                    <a:pt x="4275773" y="-887"/>
                    <a:pt x="4223385" y="38165"/>
                    <a:pt x="4211003" y="96268"/>
                  </a:cubicBezTo>
                  <a:lnTo>
                    <a:pt x="3975735" y="1181165"/>
                  </a:lnTo>
                  <a:lnTo>
                    <a:pt x="3848100" y="856363"/>
                  </a:lnTo>
                  <a:cubicBezTo>
                    <a:pt x="3828098" y="803975"/>
                    <a:pt x="3776663" y="770638"/>
                    <a:pt x="3716655" y="768733"/>
                  </a:cubicBezTo>
                  <a:cubicBezTo>
                    <a:pt x="3656648" y="767780"/>
                    <a:pt x="3604260" y="800165"/>
                    <a:pt x="3581400" y="851600"/>
                  </a:cubicBezTo>
                  <a:lnTo>
                    <a:pt x="3506153" y="1026860"/>
                  </a:lnTo>
                  <a:cubicBezTo>
                    <a:pt x="3496628" y="1049720"/>
                    <a:pt x="3464243" y="1065913"/>
                    <a:pt x="3430905" y="1065913"/>
                  </a:cubicBezTo>
                  <a:lnTo>
                    <a:pt x="3095625" y="1065913"/>
                  </a:lnTo>
                  <a:cubicBezTo>
                    <a:pt x="3094673" y="1065913"/>
                    <a:pt x="3092768" y="1065913"/>
                    <a:pt x="3091815" y="1065913"/>
                  </a:cubicBezTo>
                  <a:lnTo>
                    <a:pt x="2634615" y="1065913"/>
                  </a:lnTo>
                  <a:cubicBezTo>
                    <a:pt x="2606040" y="1065913"/>
                    <a:pt x="2584133" y="1051625"/>
                    <a:pt x="2577465" y="1038290"/>
                  </a:cubicBezTo>
                  <a:lnTo>
                    <a:pt x="2459355" y="823025"/>
                  </a:lnTo>
                  <a:cubicBezTo>
                    <a:pt x="2435543" y="777305"/>
                    <a:pt x="2383155" y="750635"/>
                    <a:pt x="2328863" y="757303"/>
                  </a:cubicBezTo>
                  <a:cubicBezTo>
                    <a:pt x="2274570" y="763970"/>
                    <a:pt x="2231708" y="801118"/>
                    <a:pt x="2220278" y="851600"/>
                  </a:cubicBezTo>
                  <a:lnTo>
                    <a:pt x="2019300" y="1782193"/>
                  </a:lnTo>
                  <a:lnTo>
                    <a:pt x="1761173" y="101983"/>
                  </a:lnTo>
                  <a:cubicBezTo>
                    <a:pt x="1751648" y="43880"/>
                    <a:pt x="1701165" y="1970"/>
                    <a:pt x="1639253" y="65"/>
                  </a:cubicBezTo>
                  <a:cubicBezTo>
                    <a:pt x="1576388" y="-1840"/>
                    <a:pt x="1524000" y="38165"/>
                    <a:pt x="1511618" y="96268"/>
                  </a:cubicBezTo>
                  <a:lnTo>
                    <a:pt x="1276350" y="1181165"/>
                  </a:lnTo>
                  <a:lnTo>
                    <a:pt x="1149668" y="855410"/>
                  </a:lnTo>
                  <a:cubicBezTo>
                    <a:pt x="1129665" y="803023"/>
                    <a:pt x="1078230" y="768733"/>
                    <a:pt x="1018223" y="767780"/>
                  </a:cubicBezTo>
                  <a:cubicBezTo>
                    <a:pt x="958215" y="766828"/>
                    <a:pt x="905828" y="799213"/>
                    <a:pt x="882968" y="850648"/>
                  </a:cubicBezTo>
                  <a:lnTo>
                    <a:pt x="807720" y="1025908"/>
                  </a:lnTo>
                  <a:cubicBezTo>
                    <a:pt x="798195" y="1048768"/>
                    <a:pt x="765810" y="1064960"/>
                    <a:pt x="732473" y="1064960"/>
                  </a:cubicBezTo>
                  <a:lnTo>
                    <a:pt x="81915" y="1064960"/>
                  </a:lnTo>
                  <a:cubicBezTo>
                    <a:pt x="36195" y="1064960"/>
                    <a:pt x="0" y="1102108"/>
                    <a:pt x="0" y="1146875"/>
                  </a:cubicBezTo>
                  <a:cubicBezTo>
                    <a:pt x="0" y="1192595"/>
                    <a:pt x="37148" y="1228790"/>
                    <a:pt x="81915" y="1228790"/>
                  </a:cubicBezTo>
                  <a:lnTo>
                    <a:pt x="731520" y="1228790"/>
                  </a:lnTo>
                  <a:cubicBezTo>
                    <a:pt x="832485" y="1228790"/>
                    <a:pt x="922020" y="1174498"/>
                    <a:pt x="958215" y="1089725"/>
                  </a:cubicBezTo>
                  <a:lnTo>
                    <a:pt x="1014413" y="959233"/>
                  </a:lnTo>
                  <a:lnTo>
                    <a:pt x="1165860" y="1348805"/>
                  </a:lnTo>
                  <a:cubicBezTo>
                    <a:pt x="1185863" y="1400240"/>
                    <a:pt x="1238250" y="1431673"/>
                    <a:pt x="1296353" y="1426910"/>
                  </a:cubicBezTo>
                  <a:cubicBezTo>
                    <a:pt x="1353503" y="1422148"/>
                    <a:pt x="1399223" y="1384048"/>
                    <a:pt x="1410653" y="1331660"/>
                  </a:cubicBezTo>
                  <a:lnTo>
                    <a:pt x="1628775" y="322010"/>
                  </a:lnTo>
                  <a:lnTo>
                    <a:pt x="1888808" y="2004125"/>
                  </a:lnTo>
                  <a:cubicBezTo>
                    <a:pt x="1898333" y="2062228"/>
                    <a:pt x="1948815" y="2104138"/>
                    <a:pt x="2010728" y="2106043"/>
                  </a:cubicBezTo>
                  <a:cubicBezTo>
                    <a:pt x="2011680" y="2106043"/>
                    <a:pt x="2013585" y="2106043"/>
                    <a:pt x="2014538" y="2106043"/>
                  </a:cubicBezTo>
                  <a:cubicBezTo>
                    <a:pt x="2075498" y="2106043"/>
                    <a:pt x="2125980" y="2066990"/>
                    <a:pt x="2139315" y="2009840"/>
                  </a:cubicBezTo>
                  <a:lnTo>
                    <a:pt x="2360295" y="983045"/>
                  </a:lnTo>
                  <a:lnTo>
                    <a:pt x="2431733" y="1113538"/>
                  </a:lnTo>
                  <a:cubicBezTo>
                    <a:pt x="2467928" y="1184023"/>
                    <a:pt x="2547938" y="1230695"/>
                    <a:pt x="2634615" y="1230695"/>
                  </a:cubicBezTo>
                  <a:lnTo>
                    <a:pt x="2776538" y="1230695"/>
                  </a:lnTo>
                  <a:cubicBezTo>
                    <a:pt x="2777490" y="1230695"/>
                    <a:pt x="2779395" y="1230695"/>
                    <a:pt x="2780348" y="1230695"/>
                  </a:cubicBezTo>
                  <a:lnTo>
                    <a:pt x="3429953" y="1230695"/>
                  </a:lnTo>
                  <a:cubicBezTo>
                    <a:pt x="3530918" y="1230695"/>
                    <a:pt x="3619500" y="1176403"/>
                    <a:pt x="3656648" y="1091630"/>
                  </a:cubicBezTo>
                  <a:lnTo>
                    <a:pt x="3712845" y="961138"/>
                  </a:lnTo>
                  <a:lnTo>
                    <a:pt x="3864293" y="1350710"/>
                  </a:lnTo>
                  <a:cubicBezTo>
                    <a:pt x="3884295" y="1402145"/>
                    <a:pt x="3936683" y="1433578"/>
                    <a:pt x="3994785" y="1428815"/>
                  </a:cubicBezTo>
                  <a:cubicBezTo>
                    <a:pt x="4051935" y="1424053"/>
                    <a:pt x="4097655" y="1385953"/>
                    <a:pt x="4109085" y="1333565"/>
                  </a:cubicBezTo>
                  <a:lnTo>
                    <a:pt x="4329113" y="321058"/>
                  </a:lnTo>
                  <a:lnTo>
                    <a:pt x="4589145" y="2003173"/>
                  </a:lnTo>
                  <a:cubicBezTo>
                    <a:pt x="4598670" y="2061275"/>
                    <a:pt x="4649153" y="2103185"/>
                    <a:pt x="4711065" y="2105090"/>
                  </a:cubicBezTo>
                  <a:cubicBezTo>
                    <a:pt x="4712018" y="2105090"/>
                    <a:pt x="4713923" y="2105090"/>
                    <a:pt x="4714875" y="2105090"/>
                  </a:cubicBezTo>
                  <a:cubicBezTo>
                    <a:pt x="4775835" y="2105090"/>
                    <a:pt x="4826318" y="2066038"/>
                    <a:pt x="4839653" y="2008888"/>
                  </a:cubicBezTo>
                  <a:lnTo>
                    <a:pt x="5060633" y="982093"/>
                  </a:lnTo>
                  <a:lnTo>
                    <a:pt x="5132070" y="1112585"/>
                  </a:lnTo>
                  <a:cubicBezTo>
                    <a:pt x="5168265" y="1183070"/>
                    <a:pt x="5248275" y="1229743"/>
                    <a:pt x="5334953" y="1229743"/>
                  </a:cubicBezTo>
                  <a:lnTo>
                    <a:pt x="5476875" y="1229743"/>
                  </a:lnTo>
                  <a:cubicBezTo>
                    <a:pt x="5477828" y="1229743"/>
                    <a:pt x="5479733" y="1229743"/>
                    <a:pt x="5480685" y="1229743"/>
                  </a:cubicBezTo>
                  <a:lnTo>
                    <a:pt x="5656898" y="1229743"/>
                  </a:lnTo>
                  <a:cubicBezTo>
                    <a:pt x="5623560" y="1173545"/>
                    <a:pt x="5594033" y="1118300"/>
                    <a:pt x="5568315" y="1066865"/>
                  </a:cubicBezTo>
                  <a:close/>
                </a:path>
              </a:pathLst>
            </a:custGeom>
            <a:solidFill>
              <a:srgbClr val="FFFFFF"/>
            </a:solidFill>
            <a:ln w="9525" cap="flat">
              <a:noFill/>
              <a:prstDash val="solid"/>
              <a:miter/>
            </a:ln>
          </p:spPr>
          <p:txBody>
            <a:bodyPr rtlCol="0" anchor="ctr"/>
            <a:lstStyle/>
            <a:p>
              <a:endParaRPr lang="de-DE" dirty="0"/>
            </a:p>
          </p:txBody>
        </p:sp>
        <p:sp>
          <p:nvSpPr>
            <p:cNvPr id="8" name="Freihandform: Form 7">
              <a:extLst>
                <a:ext uri="{FF2B5EF4-FFF2-40B4-BE49-F238E27FC236}">
                  <a16:creationId xmlns:a16="http://schemas.microsoft.com/office/drawing/2014/main" id="{5C645B93-7524-4C8A-98C8-858BB220C093}"/>
                </a:ext>
              </a:extLst>
            </p:cNvPr>
            <p:cNvSpPr/>
            <p:nvPr/>
          </p:nvSpPr>
          <p:spPr>
            <a:xfrm>
              <a:off x="5982694" y="1924735"/>
              <a:ext cx="3190875" cy="3000375"/>
            </a:xfrm>
            <a:custGeom>
              <a:avLst/>
              <a:gdLst>
                <a:gd name="connsiteX0" fmla="*/ 2300405 w 3190875"/>
                <a:gd name="connsiteY0" fmla="*/ 109 h 3000375"/>
                <a:gd name="connsiteX1" fmla="*/ 1591745 w 3190875"/>
                <a:gd name="connsiteY1" fmla="*/ 372537 h 3000375"/>
                <a:gd name="connsiteX2" fmla="*/ 872607 w 3190875"/>
                <a:gd name="connsiteY2" fmla="*/ 22017 h 3000375"/>
                <a:gd name="connsiteX3" fmla="*/ 118 w 3190875"/>
                <a:gd name="connsiteY3" fmla="*/ 918319 h 3000375"/>
                <a:gd name="connsiteX4" fmla="*/ 50600 w 3190875"/>
                <a:gd name="connsiteY4" fmla="*/ 1204069 h 3000375"/>
                <a:gd name="connsiteX5" fmla="*/ 1461252 w 3190875"/>
                <a:gd name="connsiteY5" fmla="*/ 2938572 h 3000375"/>
                <a:gd name="connsiteX6" fmla="*/ 1799390 w 3190875"/>
                <a:gd name="connsiteY6" fmla="*/ 2933810 h 3000375"/>
                <a:gd name="connsiteX7" fmla="*/ 3149082 w 3190875"/>
                <a:gd name="connsiteY7" fmla="*/ 1182162 h 3000375"/>
                <a:gd name="connsiteX8" fmla="*/ 3199565 w 3190875"/>
                <a:gd name="connsiteY8" fmla="*/ 873552 h 3000375"/>
                <a:gd name="connsiteX9" fmla="*/ 2300405 w 3190875"/>
                <a:gd name="connsiteY9" fmla="*/ 109 h 3000375"/>
                <a:gd name="connsiteX10" fmla="*/ 2300405 w 3190875"/>
                <a:gd name="connsiteY10" fmla="*/ 109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90875" h="3000375">
                  <a:moveTo>
                    <a:pt x="2300405" y="109"/>
                  </a:moveTo>
                  <a:cubicBezTo>
                    <a:pt x="2019418" y="3919"/>
                    <a:pt x="1755575" y="142984"/>
                    <a:pt x="1591745" y="372537"/>
                  </a:cubicBezTo>
                  <a:cubicBezTo>
                    <a:pt x="1421248" y="148699"/>
                    <a:pt x="1153595" y="17254"/>
                    <a:pt x="872607" y="22017"/>
                  </a:cubicBezTo>
                  <a:cubicBezTo>
                    <a:pt x="384927" y="29637"/>
                    <a:pt x="-5598" y="431592"/>
                    <a:pt x="118" y="918319"/>
                  </a:cubicBezTo>
                  <a:cubicBezTo>
                    <a:pt x="-835" y="932607"/>
                    <a:pt x="2975" y="1088817"/>
                    <a:pt x="50600" y="1204069"/>
                  </a:cubicBezTo>
                  <a:cubicBezTo>
                    <a:pt x="165852" y="1565067"/>
                    <a:pt x="503990" y="2158475"/>
                    <a:pt x="1461252" y="2938572"/>
                  </a:cubicBezTo>
                  <a:cubicBezTo>
                    <a:pt x="1572695" y="3038585"/>
                    <a:pt x="1708902" y="3024297"/>
                    <a:pt x="1799390" y="2933810"/>
                  </a:cubicBezTo>
                  <a:cubicBezTo>
                    <a:pt x="2715695" y="2139425"/>
                    <a:pt x="3039545" y="1543159"/>
                    <a:pt x="3149082" y="1182162"/>
                  </a:cubicBezTo>
                  <a:cubicBezTo>
                    <a:pt x="3198613" y="1041192"/>
                    <a:pt x="3199565" y="877362"/>
                    <a:pt x="3199565" y="873552"/>
                  </a:cubicBezTo>
                  <a:cubicBezTo>
                    <a:pt x="3192898" y="383967"/>
                    <a:pt x="2789038" y="-7511"/>
                    <a:pt x="2300405" y="109"/>
                  </a:cubicBezTo>
                  <a:lnTo>
                    <a:pt x="2300405" y="109"/>
                  </a:lnTo>
                  <a:close/>
                </a:path>
              </a:pathLst>
            </a:custGeom>
            <a:solidFill>
              <a:srgbClr val="FFFFFF"/>
            </a:solidFill>
            <a:ln w="9525"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275C2ED3-C477-40BA-9A0B-F2FE32C1C04B}"/>
                </a:ext>
              </a:extLst>
            </p:cNvPr>
            <p:cNvSpPr/>
            <p:nvPr/>
          </p:nvSpPr>
          <p:spPr>
            <a:xfrm>
              <a:off x="6152851" y="2091532"/>
              <a:ext cx="2876550" cy="2676525"/>
            </a:xfrm>
            <a:custGeom>
              <a:avLst/>
              <a:gdLst>
                <a:gd name="connsiteX0" fmla="*/ 2116912 w 2876550"/>
                <a:gd name="connsiteY0" fmla="*/ 953 h 2676525"/>
                <a:gd name="connsiteX1" fmla="*/ 2877960 w 2876550"/>
                <a:gd name="connsiteY1" fmla="*/ 762000 h 2676525"/>
                <a:gd name="connsiteX2" fmla="*/ 2877960 w 2876550"/>
                <a:gd name="connsiteY2" fmla="*/ 777240 h 2676525"/>
                <a:gd name="connsiteX3" fmla="*/ 2877007 w 2876550"/>
                <a:gd name="connsiteY3" fmla="*/ 797243 h 2676525"/>
                <a:gd name="connsiteX4" fmla="*/ 2830335 w 2876550"/>
                <a:gd name="connsiteY4" fmla="*/ 1028700 h 2676525"/>
                <a:gd name="connsiteX5" fmla="*/ 1548270 w 2876550"/>
                <a:gd name="connsiteY5" fmla="*/ 2636520 h 2676525"/>
                <a:gd name="connsiteX6" fmla="*/ 1439685 w 2876550"/>
                <a:gd name="connsiteY6" fmla="*/ 2676525 h 2676525"/>
                <a:gd name="connsiteX7" fmla="*/ 1331100 w 2876550"/>
                <a:gd name="connsiteY7" fmla="*/ 2636520 h 2676525"/>
                <a:gd name="connsiteX8" fmla="*/ 40462 w 2876550"/>
                <a:gd name="connsiteY8" fmla="*/ 1004888 h 2676525"/>
                <a:gd name="connsiteX9" fmla="*/ 6172 w 2876550"/>
                <a:gd name="connsiteY9" fmla="*/ 855345 h 2676525"/>
                <a:gd name="connsiteX10" fmla="*/ 457 w 2876550"/>
                <a:gd name="connsiteY10" fmla="*/ 761048 h 2676525"/>
                <a:gd name="connsiteX11" fmla="*/ 761505 w 2876550"/>
                <a:gd name="connsiteY11" fmla="*/ 0 h 2676525"/>
                <a:gd name="connsiteX12" fmla="*/ 1377773 w 2876550"/>
                <a:gd name="connsiteY12" fmla="*/ 315278 h 2676525"/>
                <a:gd name="connsiteX13" fmla="*/ 1439685 w 2876550"/>
                <a:gd name="connsiteY13" fmla="*/ 346710 h 2676525"/>
                <a:gd name="connsiteX14" fmla="*/ 1501598 w 2876550"/>
                <a:gd name="connsiteY14" fmla="*/ 315278 h 2676525"/>
                <a:gd name="connsiteX15" fmla="*/ 2116912 w 2876550"/>
                <a:gd name="connsiteY15" fmla="*/ 953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6550" h="2676525">
                  <a:moveTo>
                    <a:pt x="2116912" y="953"/>
                  </a:moveTo>
                  <a:cubicBezTo>
                    <a:pt x="2536965" y="953"/>
                    <a:pt x="2877960" y="341948"/>
                    <a:pt x="2877960" y="762000"/>
                  </a:cubicBezTo>
                  <a:cubicBezTo>
                    <a:pt x="2877960" y="766763"/>
                    <a:pt x="2877960" y="772478"/>
                    <a:pt x="2877960" y="777240"/>
                  </a:cubicBezTo>
                  <a:cubicBezTo>
                    <a:pt x="2877960" y="782003"/>
                    <a:pt x="2877960" y="788670"/>
                    <a:pt x="2877007" y="797243"/>
                  </a:cubicBezTo>
                  <a:cubicBezTo>
                    <a:pt x="2873198" y="878205"/>
                    <a:pt x="2857005" y="956310"/>
                    <a:pt x="2830335" y="1028700"/>
                  </a:cubicBezTo>
                  <a:cubicBezTo>
                    <a:pt x="2732228" y="1333500"/>
                    <a:pt x="2436953" y="1889760"/>
                    <a:pt x="1548270" y="2636520"/>
                  </a:cubicBezTo>
                  <a:cubicBezTo>
                    <a:pt x="1516837" y="2663190"/>
                    <a:pt x="1478737" y="2676525"/>
                    <a:pt x="1439685" y="2676525"/>
                  </a:cubicBezTo>
                  <a:cubicBezTo>
                    <a:pt x="1400632" y="2676525"/>
                    <a:pt x="1362532" y="2663190"/>
                    <a:pt x="1331100" y="2636520"/>
                  </a:cubicBezTo>
                  <a:cubicBezTo>
                    <a:pt x="419557" y="1869758"/>
                    <a:pt x="130950" y="1304925"/>
                    <a:pt x="40462" y="1004888"/>
                  </a:cubicBezTo>
                  <a:cubicBezTo>
                    <a:pt x="24270" y="957263"/>
                    <a:pt x="12840" y="906780"/>
                    <a:pt x="6172" y="855345"/>
                  </a:cubicBezTo>
                  <a:cubicBezTo>
                    <a:pt x="-2400" y="793433"/>
                    <a:pt x="457" y="761048"/>
                    <a:pt x="457" y="761048"/>
                  </a:cubicBezTo>
                  <a:cubicBezTo>
                    <a:pt x="457" y="340995"/>
                    <a:pt x="341453" y="0"/>
                    <a:pt x="761505" y="0"/>
                  </a:cubicBezTo>
                  <a:cubicBezTo>
                    <a:pt x="1014870" y="0"/>
                    <a:pt x="1239660" y="124778"/>
                    <a:pt x="1377773" y="315278"/>
                  </a:cubicBezTo>
                  <a:cubicBezTo>
                    <a:pt x="1393012" y="336233"/>
                    <a:pt x="1415873" y="346710"/>
                    <a:pt x="1439685" y="346710"/>
                  </a:cubicBezTo>
                  <a:cubicBezTo>
                    <a:pt x="1463498" y="346710"/>
                    <a:pt x="1486357" y="336233"/>
                    <a:pt x="1501598" y="315278"/>
                  </a:cubicBezTo>
                  <a:cubicBezTo>
                    <a:pt x="1638757" y="124778"/>
                    <a:pt x="1863548" y="953"/>
                    <a:pt x="2116912" y="953"/>
                  </a:cubicBezTo>
                </a:path>
              </a:pathLst>
            </a:custGeom>
            <a:solidFill>
              <a:schemeClr val="accent1"/>
            </a:solidFill>
            <a:ln w="9525"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3A440571-F465-4E3D-BAFF-870521B56E34}"/>
                </a:ext>
              </a:extLst>
            </p:cNvPr>
            <p:cNvSpPr/>
            <p:nvPr/>
          </p:nvSpPr>
          <p:spPr>
            <a:xfrm>
              <a:off x="9047955" y="2376312"/>
              <a:ext cx="5172392" cy="2103137"/>
            </a:xfrm>
            <a:custGeom>
              <a:avLst/>
              <a:gdLst>
                <a:gd name="connsiteX0" fmla="*/ 1145857 w 5172392"/>
                <a:gd name="connsiteY0" fmla="*/ 17 h 2103137"/>
                <a:gd name="connsiteX1" fmla="*/ 1267777 w 5172392"/>
                <a:gd name="connsiteY1" fmla="*/ 101935 h 2103137"/>
                <a:gd name="connsiteX2" fmla="*/ 1527810 w 5172392"/>
                <a:gd name="connsiteY2" fmla="*/ 1783097 h 2103137"/>
                <a:gd name="connsiteX3" fmla="*/ 1728788 w 5172392"/>
                <a:gd name="connsiteY3" fmla="*/ 852505 h 2103137"/>
                <a:gd name="connsiteX4" fmla="*/ 1837373 w 5172392"/>
                <a:gd name="connsiteY4" fmla="*/ 758207 h 2103137"/>
                <a:gd name="connsiteX5" fmla="*/ 1967865 w 5172392"/>
                <a:gd name="connsiteY5" fmla="*/ 823930 h 2103137"/>
                <a:gd name="connsiteX6" fmla="*/ 2085975 w 5172392"/>
                <a:gd name="connsiteY6" fmla="*/ 1039195 h 2103137"/>
                <a:gd name="connsiteX7" fmla="*/ 2143125 w 5172392"/>
                <a:gd name="connsiteY7" fmla="*/ 1066817 h 2103137"/>
                <a:gd name="connsiteX8" fmla="*/ 2574869 w 5172392"/>
                <a:gd name="connsiteY8" fmla="*/ 1066817 h 2103137"/>
                <a:gd name="connsiteX9" fmla="*/ 2575877 w 5172392"/>
                <a:gd name="connsiteY9" fmla="*/ 1064912 h 2103137"/>
                <a:gd name="connsiteX10" fmla="*/ 2728277 w 5172392"/>
                <a:gd name="connsiteY10" fmla="*/ 1064912 h 2103137"/>
                <a:gd name="connsiteX11" fmla="*/ 2803525 w 5172392"/>
                <a:gd name="connsiteY11" fmla="*/ 1025860 h 2103137"/>
                <a:gd name="connsiteX12" fmla="*/ 2878773 w 5172392"/>
                <a:gd name="connsiteY12" fmla="*/ 850600 h 2103137"/>
                <a:gd name="connsiteX13" fmla="*/ 3014027 w 5172392"/>
                <a:gd name="connsiteY13" fmla="*/ 767732 h 2103137"/>
                <a:gd name="connsiteX14" fmla="*/ 3145473 w 5172392"/>
                <a:gd name="connsiteY14" fmla="*/ 855362 h 2103137"/>
                <a:gd name="connsiteX15" fmla="*/ 3272155 w 5172392"/>
                <a:gd name="connsiteY15" fmla="*/ 1181117 h 2103137"/>
                <a:gd name="connsiteX16" fmla="*/ 3507423 w 5172392"/>
                <a:gd name="connsiteY16" fmla="*/ 96220 h 2103137"/>
                <a:gd name="connsiteX17" fmla="*/ 3635057 w 5172392"/>
                <a:gd name="connsiteY17" fmla="*/ 17 h 2103137"/>
                <a:gd name="connsiteX18" fmla="*/ 3756977 w 5172392"/>
                <a:gd name="connsiteY18" fmla="*/ 101935 h 2103137"/>
                <a:gd name="connsiteX19" fmla="*/ 4017010 w 5172392"/>
                <a:gd name="connsiteY19" fmla="*/ 1783097 h 2103137"/>
                <a:gd name="connsiteX20" fmla="*/ 4217988 w 5172392"/>
                <a:gd name="connsiteY20" fmla="*/ 852505 h 2103137"/>
                <a:gd name="connsiteX21" fmla="*/ 4326573 w 5172392"/>
                <a:gd name="connsiteY21" fmla="*/ 758207 h 2103137"/>
                <a:gd name="connsiteX22" fmla="*/ 4457065 w 5172392"/>
                <a:gd name="connsiteY22" fmla="*/ 823930 h 2103137"/>
                <a:gd name="connsiteX23" fmla="*/ 4575175 w 5172392"/>
                <a:gd name="connsiteY23" fmla="*/ 1039195 h 2103137"/>
                <a:gd name="connsiteX24" fmla="*/ 4632325 w 5172392"/>
                <a:gd name="connsiteY24" fmla="*/ 1066817 h 2103137"/>
                <a:gd name="connsiteX25" fmla="*/ 5089525 w 5172392"/>
                <a:gd name="connsiteY25" fmla="*/ 1066817 h 2103137"/>
                <a:gd name="connsiteX26" fmla="*/ 5172392 w 5172392"/>
                <a:gd name="connsiteY26" fmla="*/ 1145875 h 2103137"/>
                <a:gd name="connsiteX27" fmla="*/ 5090477 w 5172392"/>
                <a:gd name="connsiteY27" fmla="*/ 1227790 h 2103137"/>
                <a:gd name="connsiteX28" fmla="*/ 4633277 w 5172392"/>
                <a:gd name="connsiteY28" fmla="*/ 1227790 h 2103137"/>
                <a:gd name="connsiteX29" fmla="*/ 4430396 w 5172392"/>
                <a:gd name="connsiteY29" fmla="*/ 1110632 h 2103137"/>
                <a:gd name="connsiteX30" fmla="*/ 4358958 w 5172392"/>
                <a:gd name="connsiteY30" fmla="*/ 980140 h 2103137"/>
                <a:gd name="connsiteX31" fmla="*/ 4137977 w 5172392"/>
                <a:gd name="connsiteY31" fmla="*/ 2006935 h 2103137"/>
                <a:gd name="connsiteX32" fmla="*/ 4013200 w 5172392"/>
                <a:gd name="connsiteY32" fmla="*/ 2103137 h 2103137"/>
                <a:gd name="connsiteX33" fmla="*/ 4009390 w 5172392"/>
                <a:gd name="connsiteY33" fmla="*/ 2103137 h 2103137"/>
                <a:gd name="connsiteX34" fmla="*/ 3887471 w 5172392"/>
                <a:gd name="connsiteY34" fmla="*/ 2001220 h 2103137"/>
                <a:gd name="connsiteX35" fmla="*/ 3627438 w 5172392"/>
                <a:gd name="connsiteY35" fmla="*/ 319105 h 2103137"/>
                <a:gd name="connsiteX36" fmla="*/ 3407410 w 5172392"/>
                <a:gd name="connsiteY36" fmla="*/ 1331612 h 2103137"/>
                <a:gd name="connsiteX37" fmla="*/ 3293110 w 5172392"/>
                <a:gd name="connsiteY37" fmla="*/ 1426862 h 2103137"/>
                <a:gd name="connsiteX38" fmla="*/ 3162618 w 5172392"/>
                <a:gd name="connsiteY38" fmla="*/ 1348757 h 2103137"/>
                <a:gd name="connsiteX39" fmla="*/ 3011170 w 5172392"/>
                <a:gd name="connsiteY39" fmla="*/ 959185 h 2103137"/>
                <a:gd name="connsiteX40" fmla="*/ 2954973 w 5172392"/>
                <a:gd name="connsiteY40" fmla="*/ 1089677 h 2103137"/>
                <a:gd name="connsiteX41" fmla="*/ 2728277 w 5172392"/>
                <a:gd name="connsiteY41" fmla="*/ 1228742 h 2103137"/>
                <a:gd name="connsiteX42" fmla="*/ 2489200 w 5172392"/>
                <a:gd name="connsiteY42" fmla="*/ 1228742 h 2103137"/>
                <a:gd name="connsiteX43" fmla="*/ 2489704 w 5172392"/>
                <a:gd name="connsiteY43" fmla="*/ 1227790 h 2103137"/>
                <a:gd name="connsiteX44" fmla="*/ 2144077 w 5172392"/>
                <a:gd name="connsiteY44" fmla="*/ 1227790 h 2103137"/>
                <a:gd name="connsiteX45" fmla="*/ 1941196 w 5172392"/>
                <a:gd name="connsiteY45" fmla="*/ 1110632 h 2103137"/>
                <a:gd name="connsiteX46" fmla="*/ 1869758 w 5172392"/>
                <a:gd name="connsiteY46" fmla="*/ 980140 h 2103137"/>
                <a:gd name="connsiteX47" fmla="*/ 1648777 w 5172392"/>
                <a:gd name="connsiteY47" fmla="*/ 2006935 h 2103137"/>
                <a:gd name="connsiteX48" fmla="*/ 1524000 w 5172392"/>
                <a:gd name="connsiteY48" fmla="*/ 2103137 h 2103137"/>
                <a:gd name="connsiteX49" fmla="*/ 1520190 w 5172392"/>
                <a:gd name="connsiteY49" fmla="*/ 2103137 h 2103137"/>
                <a:gd name="connsiteX50" fmla="*/ 1398271 w 5172392"/>
                <a:gd name="connsiteY50" fmla="*/ 2001220 h 2103137"/>
                <a:gd name="connsiteX51" fmla="*/ 1138238 w 5172392"/>
                <a:gd name="connsiteY51" fmla="*/ 319105 h 2103137"/>
                <a:gd name="connsiteX52" fmla="*/ 918210 w 5172392"/>
                <a:gd name="connsiteY52" fmla="*/ 1331612 h 2103137"/>
                <a:gd name="connsiteX53" fmla="*/ 803910 w 5172392"/>
                <a:gd name="connsiteY53" fmla="*/ 1426862 h 2103137"/>
                <a:gd name="connsiteX54" fmla="*/ 673418 w 5172392"/>
                <a:gd name="connsiteY54" fmla="*/ 1348757 h 2103137"/>
                <a:gd name="connsiteX55" fmla="*/ 521970 w 5172392"/>
                <a:gd name="connsiteY55" fmla="*/ 959185 h 2103137"/>
                <a:gd name="connsiteX56" fmla="*/ 465773 w 5172392"/>
                <a:gd name="connsiteY56" fmla="*/ 1089677 h 2103137"/>
                <a:gd name="connsiteX57" fmla="*/ 239077 w 5172392"/>
                <a:gd name="connsiteY57" fmla="*/ 1228742 h 2103137"/>
                <a:gd name="connsiteX58" fmla="*/ 0 w 5172392"/>
                <a:gd name="connsiteY58" fmla="*/ 1228742 h 2103137"/>
                <a:gd name="connsiteX59" fmla="*/ 86677 w 5172392"/>
                <a:gd name="connsiteY59" fmla="*/ 1064912 h 2103137"/>
                <a:gd name="connsiteX60" fmla="*/ 239077 w 5172392"/>
                <a:gd name="connsiteY60" fmla="*/ 1064912 h 2103137"/>
                <a:gd name="connsiteX61" fmla="*/ 314325 w 5172392"/>
                <a:gd name="connsiteY61" fmla="*/ 1025860 h 2103137"/>
                <a:gd name="connsiteX62" fmla="*/ 389573 w 5172392"/>
                <a:gd name="connsiteY62" fmla="*/ 850600 h 2103137"/>
                <a:gd name="connsiteX63" fmla="*/ 524827 w 5172392"/>
                <a:gd name="connsiteY63" fmla="*/ 767732 h 2103137"/>
                <a:gd name="connsiteX64" fmla="*/ 656273 w 5172392"/>
                <a:gd name="connsiteY64" fmla="*/ 855362 h 2103137"/>
                <a:gd name="connsiteX65" fmla="*/ 782955 w 5172392"/>
                <a:gd name="connsiteY65" fmla="*/ 1181117 h 2103137"/>
                <a:gd name="connsiteX66" fmla="*/ 1018223 w 5172392"/>
                <a:gd name="connsiteY66" fmla="*/ 96220 h 2103137"/>
                <a:gd name="connsiteX67" fmla="*/ 1145857 w 5172392"/>
                <a:gd name="connsiteY67" fmla="*/ 17 h 210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172392" h="2103137">
                  <a:moveTo>
                    <a:pt x="1145857" y="17"/>
                  </a:moveTo>
                  <a:cubicBezTo>
                    <a:pt x="1207771" y="1922"/>
                    <a:pt x="1258252" y="43832"/>
                    <a:pt x="1267777" y="101935"/>
                  </a:cubicBezTo>
                  <a:lnTo>
                    <a:pt x="1527810" y="1783097"/>
                  </a:lnTo>
                  <a:lnTo>
                    <a:pt x="1728788" y="852505"/>
                  </a:lnTo>
                  <a:cubicBezTo>
                    <a:pt x="1740217" y="802022"/>
                    <a:pt x="1783080" y="764875"/>
                    <a:pt x="1837373" y="758207"/>
                  </a:cubicBezTo>
                  <a:cubicBezTo>
                    <a:pt x="1891665" y="751540"/>
                    <a:pt x="1944052" y="778210"/>
                    <a:pt x="1967865" y="823930"/>
                  </a:cubicBezTo>
                  <a:lnTo>
                    <a:pt x="2085975" y="1039195"/>
                  </a:lnTo>
                  <a:cubicBezTo>
                    <a:pt x="2092642" y="1052530"/>
                    <a:pt x="2114550" y="1066817"/>
                    <a:pt x="2143125" y="1066817"/>
                  </a:cubicBezTo>
                  <a:lnTo>
                    <a:pt x="2574869" y="1066817"/>
                  </a:lnTo>
                  <a:lnTo>
                    <a:pt x="2575877" y="1064912"/>
                  </a:lnTo>
                  <a:lnTo>
                    <a:pt x="2728277" y="1064912"/>
                  </a:lnTo>
                  <a:cubicBezTo>
                    <a:pt x="2761615" y="1064912"/>
                    <a:pt x="2794000" y="1048720"/>
                    <a:pt x="2803525" y="1025860"/>
                  </a:cubicBezTo>
                  <a:lnTo>
                    <a:pt x="2878773" y="850600"/>
                  </a:lnTo>
                  <a:cubicBezTo>
                    <a:pt x="2901632" y="799165"/>
                    <a:pt x="2954973" y="766780"/>
                    <a:pt x="3014027" y="767732"/>
                  </a:cubicBezTo>
                  <a:cubicBezTo>
                    <a:pt x="3074035" y="769637"/>
                    <a:pt x="3125470" y="802975"/>
                    <a:pt x="3145473" y="855362"/>
                  </a:cubicBezTo>
                  <a:lnTo>
                    <a:pt x="3272155" y="1181117"/>
                  </a:lnTo>
                  <a:lnTo>
                    <a:pt x="3507423" y="96220"/>
                  </a:lnTo>
                  <a:cubicBezTo>
                    <a:pt x="3519805" y="38117"/>
                    <a:pt x="3572193" y="-935"/>
                    <a:pt x="3635057" y="17"/>
                  </a:cubicBezTo>
                  <a:cubicBezTo>
                    <a:pt x="3696971" y="1922"/>
                    <a:pt x="3747452" y="43832"/>
                    <a:pt x="3756977" y="101935"/>
                  </a:cubicBezTo>
                  <a:lnTo>
                    <a:pt x="4017010" y="1783097"/>
                  </a:lnTo>
                  <a:lnTo>
                    <a:pt x="4217988" y="852505"/>
                  </a:lnTo>
                  <a:cubicBezTo>
                    <a:pt x="4229417" y="802022"/>
                    <a:pt x="4272280" y="764875"/>
                    <a:pt x="4326573" y="758207"/>
                  </a:cubicBezTo>
                  <a:cubicBezTo>
                    <a:pt x="4380865" y="751540"/>
                    <a:pt x="4433252" y="778210"/>
                    <a:pt x="4457065" y="823930"/>
                  </a:cubicBezTo>
                  <a:lnTo>
                    <a:pt x="4575175" y="1039195"/>
                  </a:lnTo>
                  <a:cubicBezTo>
                    <a:pt x="4581842" y="1052530"/>
                    <a:pt x="4603750" y="1066817"/>
                    <a:pt x="4632325" y="1066817"/>
                  </a:cubicBezTo>
                  <a:lnTo>
                    <a:pt x="5089525" y="1066817"/>
                  </a:lnTo>
                  <a:cubicBezTo>
                    <a:pt x="5134292" y="1066817"/>
                    <a:pt x="5171440" y="1103012"/>
                    <a:pt x="5172392" y="1145875"/>
                  </a:cubicBezTo>
                  <a:cubicBezTo>
                    <a:pt x="5172392" y="1190642"/>
                    <a:pt x="5136198" y="1227790"/>
                    <a:pt x="5090477" y="1227790"/>
                  </a:cubicBezTo>
                  <a:lnTo>
                    <a:pt x="4633277" y="1227790"/>
                  </a:lnTo>
                  <a:cubicBezTo>
                    <a:pt x="4546600" y="1227790"/>
                    <a:pt x="4466590" y="1181117"/>
                    <a:pt x="4430396" y="1110632"/>
                  </a:cubicBezTo>
                  <a:lnTo>
                    <a:pt x="4358958" y="980140"/>
                  </a:lnTo>
                  <a:lnTo>
                    <a:pt x="4137977" y="2006935"/>
                  </a:lnTo>
                  <a:cubicBezTo>
                    <a:pt x="4124642" y="2064085"/>
                    <a:pt x="4074160" y="2103137"/>
                    <a:pt x="4013200" y="2103137"/>
                  </a:cubicBezTo>
                  <a:cubicBezTo>
                    <a:pt x="4012248" y="2103137"/>
                    <a:pt x="4010342" y="2103137"/>
                    <a:pt x="4009390" y="2103137"/>
                  </a:cubicBezTo>
                  <a:cubicBezTo>
                    <a:pt x="3947477" y="2101232"/>
                    <a:pt x="3896996" y="2059322"/>
                    <a:pt x="3887471" y="2001220"/>
                  </a:cubicBezTo>
                  <a:lnTo>
                    <a:pt x="3627438" y="319105"/>
                  </a:lnTo>
                  <a:lnTo>
                    <a:pt x="3407410" y="1331612"/>
                  </a:lnTo>
                  <a:cubicBezTo>
                    <a:pt x="3395980" y="1384000"/>
                    <a:pt x="3350260" y="1422100"/>
                    <a:pt x="3293110" y="1426862"/>
                  </a:cubicBezTo>
                  <a:cubicBezTo>
                    <a:pt x="3235007" y="1431625"/>
                    <a:pt x="3182620" y="1400192"/>
                    <a:pt x="3162618" y="1348757"/>
                  </a:cubicBezTo>
                  <a:lnTo>
                    <a:pt x="3011170" y="959185"/>
                  </a:lnTo>
                  <a:lnTo>
                    <a:pt x="2954973" y="1089677"/>
                  </a:lnTo>
                  <a:cubicBezTo>
                    <a:pt x="2918777" y="1174450"/>
                    <a:pt x="2829243" y="1228742"/>
                    <a:pt x="2728277" y="1228742"/>
                  </a:cubicBezTo>
                  <a:lnTo>
                    <a:pt x="2489200" y="1228742"/>
                  </a:lnTo>
                  <a:lnTo>
                    <a:pt x="2489704" y="1227790"/>
                  </a:lnTo>
                  <a:lnTo>
                    <a:pt x="2144077" y="1227790"/>
                  </a:lnTo>
                  <a:cubicBezTo>
                    <a:pt x="2057400" y="1227790"/>
                    <a:pt x="1977390" y="1181117"/>
                    <a:pt x="1941196" y="1110632"/>
                  </a:cubicBezTo>
                  <a:lnTo>
                    <a:pt x="1869758" y="980140"/>
                  </a:lnTo>
                  <a:lnTo>
                    <a:pt x="1648777" y="2006935"/>
                  </a:lnTo>
                  <a:cubicBezTo>
                    <a:pt x="1635442" y="2064085"/>
                    <a:pt x="1584960" y="2103137"/>
                    <a:pt x="1524000" y="2103137"/>
                  </a:cubicBezTo>
                  <a:cubicBezTo>
                    <a:pt x="1523048" y="2103137"/>
                    <a:pt x="1521142" y="2103137"/>
                    <a:pt x="1520190" y="2103137"/>
                  </a:cubicBezTo>
                  <a:cubicBezTo>
                    <a:pt x="1458277" y="2101232"/>
                    <a:pt x="1407796" y="2059322"/>
                    <a:pt x="1398271" y="2001220"/>
                  </a:cubicBezTo>
                  <a:lnTo>
                    <a:pt x="1138238" y="319105"/>
                  </a:lnTo>
                  <a:lnTo>
                    <a:pt x="918210" y="1331612"/>
                  </a:lnTo>
                  <a:cubicBezTo>
                    <a:pt x="906780" y="1384000"/>
                    <a:pt x="861060" y="1422100"/>
                    <a:pt x="803910" y="1426862"/>
                  </a:cubicBezTo>
                  <a:cubicBezTo>
                    <a:pt x="745807" y="1431625"/>
                    <a:pt x="693420" y="1400192"/>
                    <a:pt x="673418" y="1348757"/>
                  </a:cubicBezTo>
                  <a:lnTo>
                    <a:pt x="521970" y="959185"/>
                  </a:lnTo>
                  <a:lnTo>
                    <a:pt x="465773" y="1089677"/>
                  </a:lnTo>
                  <a:cubicBezTo>
                    <a:pt x="429577" y="1174450"/>
                    <a:pt x="340043" y="1228742"/>
                    <a:pt x="239077" y="1228742"/>
                  </a:cubicBezTo>
                  <a:lnTo>
                    <a:pt x="0" y="1228742"/>
                  </a:lnTo>
                  <a:cubicBezTo>
                    <a:pt x="32385" y="1171592"/>
                    <a:pt x="60960" y="1117300"/>
                    <a:pt x="86677" y="1064912"/>
                  </a:cubicBezTo>
                  <a:lnTo>
                    <a:pt x="239077" y="1064912"/>
                  </a:lnTo>
                  <a:cubicBezTo>
                    <a:pt x="272415" y="1064912"/>
                    <a:pt x="304800" y="1048720"/>
                    <a:pt x="314325" y="1025860"/>
                  </a:cubicBezTo>
                  <a:lnTo>
                    <a:pt x="389573" y="850600"/>
                  </a:lnTo>
                  <a:cubicBezTo>
                    <a:pt x="412432" y="799165"/>
                    <a:pt x="465773" y="766780"/>
                    <a:pt x="524827" y="767732"/>
                  </a:cubicBezTo>
                  <a:cubicBezTo>
                    <a:pt x="584835" y="769637"/>
                    <a:pt x="636270" y="802975"/>
                    <a:pt x="656273" y="855362"/>
                  </a:cubicBezTo>
                  <a:lnTo>
                    <a:pt x="782955" y="1181117"/>
                  </a:lnTo>
                  <a:lnTo>
                    <a:pt x="1018223" y="96220"/>
                  </a:lnTo>
                  <a:cubicBezTo>
                    <a:pt x="1030605" y="38117"/>
                    <a:pt x="1082993" y="-935"/>
                    <a:pt x="1145857" y="17"/>
                  </a:cubicBezTo>
                  <a:close/>
                </a:path>
              </a:pathLst>
            </a:custGeom>
            <a:solidFill>
              <a:srgbClr val="FFFFFF"/>
            </a:solidFill>
            <a:ln w="9525" cap="flat">
              <a:noFill/>
              <a:prstDash val="solid"/>
              <a:miter/>
            </a:ln>
          </p:spPr>
          <p:txBody>
            <a:bodyPr rtlCol="0" anchor="ctr"/>
            <a:lstStyle/>
            <a:p>
              <a:endParaRPr lang="de-DE"/>
            </a:p>
          </p:txBody>
        </p:sp>
        <p:sp>
          <p:nvSpPr>
            <p:cNvPr id="11" name="Rechteck 10">
              <a:extLst>
                <a:ext uri="{FF2B5EF4-FFF2-40B4-BE49-F238E27FC236}">
                  <a16:creationId xmlns:a16="http://schemas.microsoft.com/office/drawing/2014/main" id="{42369BF3-715F-419F-963F-DDC4612D52AC}"/>
                </a:ext>
              </a:extLst>
            </p:cNvPr>
            <p:cNvSpPr/>
            <p:nvPr/>
          </p:nvSpPr>
          <p:spPr bwMode="gray">
            <a:xfrm>
              <a:off x="6502400" y="2870179"/>
              <a:ext cx="2177452" cy="6452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bg-BG" sz="2800" b="1" dirty="0"/>
                <a:t>Решение</a:t>
              </a:r>
              <a:endParaRPr lang="en-US" sz="2800" b="1" dirty="0"/>
            </a:p>
          </p:txBody>
        </p:sp>
      </p:grpSp>
      <p:sp>
        <p:nvSpPr>
          <p:cNvPr id="18" name="Rechteck 17">
            <a:extLst>
              <a:ext uri="{FF2B5EF4-FFF2-40B4-BE49-F238E27FC236}">
                <a16:creationId xmlns:a16="http://schemas.microsoft.com/office/drawing/2014/main" id="{F477B1D7-4931-4222-B748-382BB90C4A38}"/>
              </a:ext>
            </a:extLst>
          </p:cNvPr>
          <p:cNvSpPr/>
          <p:nvPr/>
        </p:nvSpPr>
        <p:spPr bwMode="gray">
          <a:xfrm>
            <a:off x="421959" y="1680433"/>
            <a:ext cx="367982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bg-BG" sz="1800" b="1" dirty="0">
                <a:solidFill>
                  <a:schemeClr val="accent1"/>
                </a:solidFill>
              </a:rPr>
              <a:t>Отговорност</a:t>
            </a:r>
            <a:endParaRPr lang="en-US" sz="1800" b="1" dirty="0">
              <a:solidFill>
                <a:schemeClr val="accent1"/>
              </a:solidFill>
            </a:endParaRPr>
          </a:p>
          <a:p>
            <a:pPr algn="ctr"/>
            <a:r>
              <a:rPr lang="bg-BG" sz="1800" dirty="0">
                <a:solidFill>
                  <a:schemeClr val="bg1"/>
                </a:solidFill>
              </a:rPr>
              <a:t>Най-доброто решение е в нашите ръце</a:t>
            </a:r>
            <a:r>
              <a:rPr lang="en-US" sz="1800" dirty="0">
                <a:solidFill>
                  <a:schemeClr val="bg1"/>
                </a:solidFill>
              </a:rPr>
              <a:t>!</a:t>
            </a:r>
          </a:p>
        </p:txBody>
      </p:sp>
      <p:sp>
        <p:nvSpPr>
          <p:cNvPr id="19" name="Rechteck 18">
            <a:extLst>
              <a:ext uri="{FF2B5EF4-FFF2-40B4-BE49-F238E27FC236}">
                <a16:creationId xmlns:a16="http://schemas.microsoft.com/office/drawing/2014/main" id="{257011F9-50B7-4CB8-9666-90235095AB92}"/>
              </a:ext>
            </a:extLst>
          </p:cNvPr>
          <p:cNvSpPr/>
          <p:nvPr/>
        </p:nvSpPr>
        <p:spPr bwMode="gray">
          <a:xfrm>
            <a:off x="421959" y="5221917"/>
            <a:ext cx="367982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bg-BG" sz="1800" b="1" dirty="0">
                <a:solidFill>
                  <a:schemeClr val="accent1"/>
                </a:solidFill>
              </a:rPr>
              <a:t>Партньорство</a:t>
            </a:r>
            <a:endParaRPr lang="en-US" sz="1800" b="1" dirty="0">
              <a:solidFill>
                <a:schemeClr val="accent1"/>
              </a:solidFill>
            </a:endParaRPr>
          </a:p>
          <a:p>
            <a:pPr algn="ctr"/>
            <a:r>
              <a:rPr lang="bg-BG" sz="1800" dirty="0">
                <a:solidFill>
                  <a:schemeClr val="bg1"/>
                </a:solidFill>
              </a:rPr>
              <a:t>Най-доброто решение е това, което разработваме заедно</a:t>
            </a:r>
            <a:r>
              <a:rPr lang="en-US" sz="1800" dirty="0">
                <a:solidFill>
                  <a:schemeClr val="bg1"/>
                </a:solidFill>
              </a:rPr>
              <a:t>!</a:t>
            </a:r>
          </a:p>
        </p:txBody>
      </p:sp>
      <p:sp>
        <p:nvSpPr>
          <p:cNvPr id="20" name="Rechteck 19">
            <a:extLst>
              <a:ext uri="{FF2B5EF4-FFF2-40B4-BE49-F238E27FC236}">
                <a16:creationId xmlns:a16="http://schemas.microsoft.com/office/drawing/2014/main" id="{25F9955A-2194-4ED1-9862-B4EF086A4457}"/>
              </a:ext>
            </a:extLst>
          </p:cNvPr>
          <p:cNvSpPr/>
          <p:nvPr/>
        </p:nvSpPr>
        <p:spPr bwMode="gray">
          <a:xfrm>
            <a:off x="8068947" y="5221917"/>
            <a:ext cx="367823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bg-BG" sz="1800" b="1" dirty="0">
                <a:solidFill>
                  <a:schemeClr val="accent1"/>
                </a:solidFill>
              </a:rPr>
              <a:t>Ентусиазъм</a:t>
            </a:r>
            <a:endParaRPr lang="en-US" sz="1800" b="1" dirty="0">
              <a:solidFill>
                <a:schemeClr val="accent1"/>
              </a:solidFill>
            </a:endParaRPr>
          </a:p>
          <a:p>
            <a:pPr algn="ctr"/>
            <a:r>
              <a:rPr lang="bg-BG" sz="1800" dirty="0">
                <a:solidFill>
                  <a:schemeClr val="bg1"/>
                </a:solidFill>
              </a:rPr>
              <a:t>Да намерим най-доброто решение е удоволствие за нас</a:t>
            </a:r>
            <a:r>
              <a:rPr lang="en-US" sz="1800" dirty="0">
                <a:solidFill>
                  <a:schemeClr val="bg1"/>
                </a:solidFill>
              </a:rPr>
              <a:t>!</a:t>
            </a:r>
          </a:p>
        </p:txBody>
      </p:sp>
      <p:sp>
        <p:nvSpPr>
          <p:cNvPr id="21" name="Rechteck 20">
            <a:extLst>
              <a:ext uri="{FF2B5EF4-FFF2-40B4-BE49-F238E27FC236}">
                <a16:creationId xmlns:a16="http://schemas.microsoft.com/office/drawing/2014/main" id="{7DC3B66D-48CB-4E5C-8D28-5CC8E601B7AE}"/>
              </a:ext>
            </a:extLst>
          </p:cNvPr>
          <p:cNvSpPr/>
          <p:nvPr/>
        </p:nvSpPr>
        <p:spPr bwMode="gray">
          <a:xfrm>
            <a:off x="8068947" y="1680433"/>
            <a:ext cx="367823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bg-BG" sz="1800" b="1" dirty="0">
                <a:solidFill>
                  <a:schemeClr val="accent1"/>
                </a:solidFill>
              </a:rPr>
              <a:t>Визионерство</a:t>
            </a:r>
            <a:endParaRPr lang="en-US" sz="1800" b="1" dirty="0">
              <a:solidFill>
                <a:schemeClr val="accent1"/>
              </a:solidFill>
            </a:endParaRPr>
          </a:p>
          <a:p>
            <a:pPr algn="ctr"/>
            <a:r>
              <a:rPr lang="bg-BG" sz="1800" dirty="0">
                <a:solidFill>
                  <a:schemeClr val="bg1"/>
                </a:solidFill>
              </a:rPr>
              <a:t>Най-доброто решение е това, което ние сами създаваме</a:t>
            </a:r>
            <a:r>
              <a:rPr lang="en-US" sz="1800" dirty="0">
                <a:solidFill>
                  <a:schemeClr val="bg1"/>
                </a:solidFill>
              </a:rPr>
              <a:t>!</a:t>
            </a:r>
          </a:p>
        </p:txBody>
      </p:sp>
      <p:sp>
        <p:nvSpPr>
          <p:cNvPr id="22" name="Rechteck 21">
            <a:extLst>
              <a:ext uri="{FF2B5EF4-FFF2-40B4-BE49-F238E27FC236}">
                <a16:creationId xmlns:a16="http://schemas.microsoft.com/office/drawing/2014/main" id="{2D499832-2E76-45DF-A2B3-56D8116FB7FE}"/>
              </a:ext>
            </a:extLst>
          </p:cNvPr>
          <p:cNvSpPr/>
          <p:nvPr/>
        </p:nvSpPr>
        <p:spPr bwMode="gray">
          <a:xfrm>
            <a:off x="4245453" y="5221917"/>
            <a:ext cx="367982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bg-BG" sz="1800" b="1" dirty="0">
                <a:solidFill>
                  <a:schemeClr val="accent1"/>
                </a:solidFill>
              </a:rPr>
              <a:t>Резултатно-ориентирани и целеустремени</a:t>
            </a:r>
            <a:endParaRPr lang="en-US" sz="1800" b="1" dirty="0">
              <a:solidFill>
                <a:schemeClr val="accent1"/>
              </a:solidFill>
            </a:endParaRPr>
          </a:p>
          <a:p>
            <a:pPr algn="ctr"/>
            <a:r>
              <a:rPr lang="bg-BG" sz="1800" dirty="0">
                <a:solidFill>
                  <a:schemeClr val="bg1"/>
                </a:solidFill>
              </a:rPr>
              <a:t>Стремежът към най-доброто решение ни движи напред</a:t>
            </a:r>
            <a:r>
              <a:rPr lang="en-US" sz="1800" dirty="0">
                <a:solidFill>
                  <a:schemeClr val="bg1"/>
                </a:solidFill>
              </a:rPr>
              <a:t>!</a:t>
            </a:r>
          </a:p>
        </p:txBody>
      </p:sp>
      <p:sp>
        <p:nvSpPr>
          <p:cNvPr id="23" name="Foliennummernplatzhalter 22">
            <a:extLst>
              <a:ext uri="{FF2B5EF4-FFF2-40B4-BE49-F238E27FC236}">
                <a16:creationId xmlns:a16="http://schemas.microsoft.com/office/drawing/2014/main" id="{7707DAF1-7623-415A-8F0C-945145B2E162}"/>
              </a:ext>
            </a:extLst>
          </p:cNvPr>
          <p:cNvSpPr>
            <a:spLocks noGrp="1"/>
          </p:cNvSpPr>
          <p:nvPr>
            <p:ph type="sldNum" sz="quarter" idx="12"/>
          </p:nvPr>
        </p:nvSpPr>
        <p:spPr/>
        <p:txBody>
          <a:bodyPr/>
          <a:lstStyle/>
          <a:p>
            <a:fld id="{0C7C1E0B-BD27-42F8-BC6B-2F0636970842}" type="slidenum">
              <a:rPr lang="de-DE" smtClean="0"/>
              <a:pPr/>
              <a:t>46</a:t>
            </a:fld>
            <a:endParaRPr lang="de-DE"/>
          </a:p>
        </p:txBody>
      </p:sp>
    </p:spTree>
    <p:extLst>
      <p:ext uri="{BB962C8B-B14F-4D97-AF65-F5344CB8AC3E}">
        <p14:creationId xmlns:p14="http://schemas.microsoft.com/office/powerpoint/2010/main" val="57423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936D1F2-0B7C-4880-9D5F-19227633C1AB}"/>
              </a:ext>
            </a:extLst>
          </p:cNvPr>
          <p:cNvSpPr>
            <a:spLocks noGrp="1"/>
          </p:cNvSpPr>
          <p:nvPr>
            <p:ph type="sldNum" sz="quarter" idx="4294967295"/>
          </p:nvPr>
        </p:nvSpPr>
        <p:spPr>
          <a:xfrm>
            <a:off x="11642976" y="6459795"/>
            <a:ext cx="330081" cy="193605"/>
          </a:xfrm>
        </p:spPr>
        <p:txBody>
          <a:bodyPr/>
          <a:lstStyle/>
          <a:p>
            <a:fld id="{0C7C1E0B-BD27-42F8-BC6B-2F0636970842}" type="slidenum">
              <a:rPr lang="de-DE" smtClean="0"/>
              <a:pPr/>
              <a:t>47</a:t>
            </a:fld>
            <a:endParaRPr lang="de-DE" dirty="0"/>
          </a:p>
        </p:txBody>
      </p:sp>
      <p:pic>
        <p:nvPicPr>
          <p:cNvPr id="12" name="Grafik 11">
            <a:extLst>
              <a:ext uri="{FF2B5EF4-FFF2-40B4-BE49-F238E27FC236}">
                <a16:creationId xmlns:a16="http://schemas.microsoft.com/office/drawing/2014/main" id="{680FEA55-E6DD-46B0-A953-8628A0C400F1}"/>
              </a:ext>
            </a:extLst>
          </p:cNvPr>
          <p:cNvPicPr>
            <a:picLocks noChangeAspect="1"/>
          </p:cNvPicPr>
          <p:nvPr/>
        </p:nvPicPr>
        <p:blipFill>
          <a:blip r:embed="rId2"/>
          <a:stretch>
            <a:fillRect/>
          </a:stretch>
        </p:blipFill>
        <p:spPr>
          <a:xfrm>
            <a:off x="8111759" y="361329"/>
            <a:ext cx="3876688" cy="202982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14" name="Grafik 13">
            <a:extLst>
              <a:ext uri="{FF2B5EF4-FFF2-40B4-BE49-F238E27FC236}">
                <a16:creationId xmlns:a16="http://schemas.microsoft.com/office/drawing/2014/main" id="{893929BE-AB7F-493C-83CF-2C9A90A2F273}"/>
              </a:ext>
            </a:extLst>
          </p:cNvPr>
          <p:cNvPicPr>
            <a:picLocks noChangeAspect="1"/>
          </p:cNvPicPr>
          <p:nvPr/>
        </p:nvPicPr>
        <p:blipFill>
          <a:blip r:embed="rId3"/>
          <a:stretch>
            <a:fillRect/>
          </a:stretch>
        </p:blipFill>
        <p:spPr>
          <a:xfrm>
            <a:off x="148178" y="949636"/>
            <a:ext cx="4547199" cy="246652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15" name="Grafik 14">
            <a:extLst>
              <a:ext uri="{FF2B5EF4-FFF2-40B4-BE49-F238E27FC236}">
                <a16:creationId xmlns:a16="http://schemas.microsoft.com/office/drawing/2014/main" id="{82E0A42D-7BA8-402A-BCCB-3C81B3F07D5E}"/>
              </a:ext>
            </a:extLst>
          </p:cNvPr>
          <p:cNvPicPr>
            <a:picLocks noChangeAspect="1"/>
          </p:cNvPicPr>
          <p:nvPr/>
        </p:nvPicPr>
        <p:blipFill>
          <a:blip r:embed="rId4"/>
          <a:stretch>
            <a:fillRect/>
          </a:stretch>
        </p:blipFill>
        <p:spPr>
          <a:xfrm>
            <a:off x="146565" y="3674916"/>
            <a:ext cx="3632462" cy="3006002"/>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16" name="Grafik 15">
            <a:extLst>
              <a:ext uri="{FF2B5EF4-FFF2-40B4-BE49-F238E27FC236}">
                <a16:creationId xmlns:a16="http://schemas.microsoft.com/office/drawing/2014/main" id="{40C0D402-149F-4286-9D89-74F92241888D}"/>
              </a:ext>
            </a:extLst>
          </p:cNvPr>
          <p:cNvPicPr>
            <a:picLocks noChangeAspect="1"/>
          </p:cNvPicPr>
          <p:nvPr/>
        </p:nvPicPr>
        <p:blipFill>
          <a:blip r:embed="rId5"/>
          <a:stretch>
            <a:fillRect/>
          </a:stretch>
        </p:blipFill>
        <p:spPr>
          <a:xfrm>
            <a:off x="3962393" y="2396235"/>
            <a:ext cx="4269703" cy="2407268"/>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13" name="Grafik 12">
            <a:extLst>
              <a:ext uri="{FF2B5EF4-FFF2-40B4-BE49-F238E27FC236}">
                <a16:creationId xmlns:a16="http://schemas.microsoft.com/office/drawing/2014/main" id="{719D1462-047A-4274-AB3A-3A2E50E80439}"/>
              </a:ext>
            </a:extLst>
          </p:cNvPr>
          <p:cNvPicPr>
            <a:picLocks noChangeAspect="1"/>
          </p:cNvPicPr>
          <p:nvPr/>
        </p:nvPicPr>
        <p:blipFill>
          <a:blip r:embed="rId6"/>
          <a:stretch>
            <a:fillRect/>
          </a:stretch>
        </p:blipFill>
        <p:spPr>
          <a:xfrm>
            <a:off x="7869712" y="3834336"/>
            <a:ext cx="3876688" cy="2276458"/>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9" name="Titel 4">
            <a:extLst>
              <a:ext uri="{FF2B5EF4-FFF2-40B4-BE49-F238E27FC236}">
                <a16:creationId xmlns:a16="http://schemas.microsoft.com/office/drawing/2014/main" id="{4C40A317-437A-4619-B14E-9A25907A94A9}"/>
              </a:ext>
            </a:extLst>
          </p:cNvPr>
          <p:cNvSpPr txBox="1">
            <a:spLocks/>
          </p:cNvSpPr>
          <p:nvPr/>
        </p:nvSpPr>
        <p:spPr>
          <a:xfrm>
            <a:off x="153894" y="159683"/>
            <a:ext cx="11325225" cy="335046"/>
          </a:xfrm>
          <a:prstGeom prst="rect">
            <a:avLst/>
          </a:prstGeom>
        </p:spPr>
        <p:txBody>
          <a:bodyPr/>
          <a:lstStyle>
            <a:lvl1pPr algn="l" defTabSz="1088502" rtl="0" eaLnBrk="1" latinLnBrk="0" hangingPunct="1">
              <a:spcBef>
                <a:spcPct val="0"/>
              </a:spcBef>
              <a:buNone/>
              <a:defRPr sz="2800" b="1" kern="1200" cap="all" baseline="0">
                <a:solidFill>
                  <a:schemeClr val="accent1"/>
                </a:solidFill>
                <a:latin typeface="+mj-lt"/>
                <a:ea typeface="+mj-ea"/>
                <a:cs typeface="+mj-cs"/>
              </a:defRPr>
            </a:lvl1pPr>
          </a:lstStyle>
          <a:p>
            <a:r>
              <a:rPr lang="en-US" dirty="0"/>
              <a:t>Our company culture</a:t>
            </a:r>
          </a:p>
        </p:txBody>
      </p:sp>
    </p:spTree>
    <p:extLst>
      <p:ext uri="{BB962C8B-B14F-4D97-AF65-F5344CB8AC3E}">
        <p14:creationId xmlns:p14="http://schemas.microsoft.com/office/powerpoint/2010/main" val="407087262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D486C157-22D2-4AA5-827F-BE88120FA5BE}"/>
              </a:ext>
            </a:extLst>
          </p:cNvPr>
          <p:cNvGrpSpPr/>
          <p:nvPr/>
        </p:nvGrpSpPr>
        <p:grpSpPr>
          <a:xfrm>
            <a:off x="822094" y="1293488"/>
            <a:ext cx="10546226" cy="5150133"/>
            <a:chOff x="877925" y="1150369"/>
            <a:chExt cx="10546226" cy="5150133"/>
          </a:xfrm>
        </p:grpSpPr>
        <p:sp>
          <p:nvSpPr>
            <p:cNvPr id="19" name="Rechteck 18">
              <a:extLst>
                <a:ext uri="{FF2B5EF4-FFF2-40B4-BE49-F238E27FC236}">
                  <a16:creationId xmlns:a16="http://schemas.microsoft.com/office/drawing/2014/main" id="{849638D5-92EE-499D-ADED-1204ECF24BE8}"/>
                </a:ext>
              </a:extLst>
            </p:cNvPr>
            <p:cNvSpPr/>
            <p:nvPr/>
          </p:nvSpPr>
          <p:spPr bwMode="gray">
            <a:xfrm>
              <a:off x="6204151" y="3780502"/>
              <a:ext cx="5220000" cy="2520000"/>
            </a:xfrm>
            <a:prstGeom prst="rect">
              <a:avLst/>
            </a:prstGeom>
            <a:noFill/>
            <a:ln w="285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18" name="Rechteck 17">
              <a:extLst>
                <a:ext uri="{FF2B5EF4-FFF2-40B4-BE49-F238E27FC236}">
                  <a16:creationId xmlns:a16="http://schemas.microsoft.com/office/drawing/2014/main" id="{B1190CE3-E77A-4212-9B1B-477D9CAFDC17}"/>
                </a:ext>
              </a:extLst>
            </p:cNvPr>
            <p:cNvSpPr/>
            <p:nvPr/>
          </p:nvSpPr>
          <p:spPr bwMode="gray">
            <a:xfrm>
              <a:off x="877925" y="3780502"/>
              <a:ext cx="5227200" cy="2520000"/>
            </a:xfrm>
            <a:prstGeom prst="rect">
              <a:avLst/>
            </a:prstGeom>
            <a:noFill/>
            <a:ln w="285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16" name="Rechteck 15">
              <a:extLst>
                <a:ext uri="{FF2B5EF4-FFF2-40B4-BE49-F238E27FC236}">
                  <a16:creationId xmlns:a16="http://schemas.microsoft.com/office/drawing/2014/main" id="{899632E9-4B14-438D-B40E-EAAD8C2D5066}"/>
                </a:ext>
              </a:extLst>
            </p:cNvPr>
            <p:cNvSpPr/>
            <p:nvPr/>
          </p:nvSpPr>
          <p:spPr bwMode="gray">
            <a:xfrm>
              <a:off x="877925" y="1150369"/>
              <a:ext cx="5220000" cy="2520000"/>
            </a:xfrm>
            <a:prstGeom prst="rect">
              <a:avLst/>
            </a:prstGeom>
            <a:noFill/>
            <a:ln w="285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14" name="Rechteck 13">
              <a:extLst>
                <a:ext uri="{FF2B5EF4-FFF2-40B4-BE49-F238E27FC236}">
                  <a16:creationId xmlns:a16="http://schemas.microsoft.com/office/drawing/2014/main" id="{9BFE9FA8-23E4-4739-8260-F650DFE5DAA8}"/>
                </a:ext>
              </a:extLst>
            </p:cNvPr>
            <p:cNvSpPr/>
            <p:nvPr/>
          </p:nvSpPr>
          <p:spPr bwMode="gray">
            <a:xfrm>
              <a:off x="6204151" y="1150370"/>
              <a:ext cx="5220000" cy="2520000"/>
            </a:xfrm>
            <a:prstGeom prst="rect">
              <a:avLst/>
            </a:prstGeom>
            <a:noFill/>
            <a:ln w="285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grpSp>
      <p:sp>
        <p:nvSpPr>
          <p:cNvPr id="2" name="Titel 1">
            <a:extLst>
              <a:ext uri="{FF2B5EF4-FFF2-40B4-BE49-F238E27FC236}">
                <a16:creationId xmlns:a16="http://schemas.microsoft.com/office/drawing/2014/main" id="{B277AF7C-C51A-495A-957C-4B099BFF8A3F}"/>
              </a:ext>
            </a:extLst>
          </p:cNvPr>
          <p:cNvSpPr>
            <a:spLocks noGrp="1"/>
          </p:cNvSpPr>
          <p:nvPr>
            <p:ph type="title"/>
          </p:nvPr>
        </p:nvSpPr>
        <p:spPr/>
        <p:txBody>
          <a:bodyPr/>
          <a:lstStyle/>
          <a:p>
            <a:r>
              <a:rPr lang="en-US" dirty="0"/>
              <a:t>Employer Brand Platform </a:t>
            </a:r>
          </a:p>
        </p:txBody>
      </p:sp>
      <p:sp>
        <p:nvSpPr>
          <p:cNvPr id="3" name="Untertitel 2">
            <a:extLst>
              <a:ext uri="{FF2B5EF4-FFF2-40B4-BE49-F238E27FC236}">
                <a16:creationId xmlns:a16="http://schemas.microsoft.com/office/drawing/2014/main" id="{A47CF5B5-38C7-483D-A18C-EEF146C0543A}"/>
              </a:ext>
            </a:extLst>
          </p:cNvPr>
          <p:cNvSpPr>
            <a:spLocks noGrp="1"/>
          </p:cNvSpPr>
          <p:nvPr>
            <p:ph type="subTitle" idx="1"/>
          </p:nvPr>
        </p:nvSpPr>
        <p:spPr/>
        <p:txBody>
          <a:bodyPr/>
          <a:lstStyle/>
          <a:p>
            <a:r>
              <a:rPr lang="de-DE" dirty="0"/>
              <a:t>Schwarz IT</a:t>
            </a:r>
          </a:p>
        </p:txBody>
      </p:sp>
      <p:sp>
        <p:nvSpPr>
          <p:cNvPr id="5" name="Foliennummernplatzhalter 4">
            <a:extLst>
              <a:ext uri="{FF2B5EF4-FFF2-40B4-BE49-F238E27FC236}">
                <a16:creationId xmlns:a16="http://schemas.microsoft.com/office/drawing/2014/main" id="{47E13C99-35DE-474A-AADC-5DA124598CA6}"/>
              </a:ext>
            </a:extLst>
          </p:cNvPr>
          <p:cNvSpPr>
            <a:spLocks noGrp="1"/>
          </p:cNvSpPr>
          <p:nvPr>
            <p:ph type="sldNum" sz="quarter" idx="12"/>
          </p:nvPr>
        </p:nvSpPr>
        <p:spPr/>
        <p:txBody>
          <a:bodyPr/>
          <a:lstStyle/>
          <a:p>
            <a:fld id="{0C7C1E0B-BD27-42F8-BC6B-2F0636970842}" type="slidenum">
              <a:rPr lang="de-DE" smtClean="0"/>
              <a:pPr/>
              <a:t>48</a:t>
            </a:fld>
            <a:endParaRPr lang="de-DE" dirty="0"/>
          </a:p>
        </p:txBody>
      </p:sp>
      <p:sp>
        <p:nvSpPr>
          <p:cNvPr id="15" name="Textfeld 14">
            <a:extLst>
              <a:ext uri="{FF2B5EF4-FFF2-40B4-BE49-F238E27FC236}">
                <a16:creationId xmlns:a16="http://schemas.microsoft.com/office/drawing/2014/main" id="{AD6E0081-8A0B-42E8-9BB5-20597414B8E2}"/>
              </a:ext>
            </a:extLst>
          </p:cNvPr>
          <p:cNvSpPr txBox="1"/>
          <p:nvPr/>
        </p:nvSpPr>
        <p:spPr bwMode="gray">
          <a:xfrm>
            <a:off x="966851" y="1807788"/>
            <a:ext cx="3563322" cy="2092922"/>
          </a:xfrm>
          <a:prstGeom prst="rect">
            <a:avLst/>
          </a:prstGeom>
          <a:noFill/>
        </p:spPr>
        <p:txBody>
          <a:bodyPr wrap="square" lIns="0" tIns="0" rIns="0" bIns="0" rtlCol="0">
            <a:noAutofit/>
          </a:bodyPr>
          <a:lstStyle/>
          <a:p>
            <a:pPr marL="285750" indent="-285750">
              <a:buFontTx/>
              <a:buChar char="-"/>
            </a:pPr>
            <a:r>
              <a:rPr lang="en-US" sz="1400" dirty="0">
                <a:solidFill>
                  <a:schemeClr val="accent1"/>
                </a:solidFill>
              </a:rPr>
              <a:t>Exciting and challenging tasks</a:t>
            </a:r>
          </a:p>
          <a:p>
            <a:pPr marL="285750" indent="-285750">
              <a:buFontTx/>
              <a:buChar char="-"/>
            </a:pPr>
            <a:r>
              <a:rPr lang="en-US" sz="1400" dirty="0">
                <a:solidFill>
                  <a:schemeClr val="accent1"/>
                </a:solidFill>
              </a:rPr>
              <a:t>Varied tasks from the entire range of IT</a:t>
            </a:r>
          </a:p>
          <a:p>
            <a:pPr marL="285750" indent="-285750">
              <a:buFontTx/>
              <a:buChar char="-"/>
            </a:pPr>
            <a:r>
              <a:rPr lang="en-US" sz="1400" dirty="0">
                <a:solidFill>
                  <a:schemeClr val="accent1"/>
                </a:solidFill>
              </a:rPr>
              <a:t>Opportunity to quickly take responsibility</a:t>
            </a:r>
          </a:p>
          <a:p>
            <a:pPr marL="285750" indent="-285750">
              <a:buFontTx/>
              <a:buChar char="-"/>
            </a:pPr>
            <a:r>
              <a:rPr lang="en-US" sz="1400" dirty="0">
                <a:solidFill>
                  <a:schemeClr val="accent1"/>
                </a:solidFill>
              </a:rPr>
              <a:t>Individual freedom and flexibility</a:t>
            </a:r>
          </a:p>
          <a:p>
            <a:pPr marL="285750" indent="-285750">
              <a:buFontTx/>
              <a:buChar char="-"/>
            </a:pPr>
            <a:r>
              <a:rPr lang="en-US" sz="1400" dirty="0">
                <a:solidFill>
                  <a:schemeClr val="accent1"/>
                </a:solidFill>
              </a:rPr>
              <a:t>Modern equipment and setting</a:t>
            </a:r>
          </a:p>
          <a:p>
            <a:pPr marL="285750" indent="-285750">
              <a:buFontTx/>
              <a:buChar char="-"/>
            </a:pPr>
            <a:r>
              <a:rPr lang="en-US" sz="1400" dirty="0">
                <a:solidFill>
                  <a:schemeClr val="accent1"/>
                </a:solidFill>
              </a:rPr>
              <a:t>Flexible teamwork</a:t>
            </a:r>
          </a:p>
          <a:p>
            <a:pPr marL="285750" indent="-285750">
              <a:buFontTx/>
              <a:buChar char="-"/>
            </a:pPr>
            <a:r>
              <a:rPr lang="en-US" sz="1400" dirty="0">
                <a:solidFill>
                  <a:schemeClr val="accent1"/>
                </a:solidFill>
              </a:rPr>
              <a:t>Good conditions and exceptional incentives</a:t>
            </a:r>
          </a:p>
        </p:txBody>
      </p:sp>
      <p:sp>
        <p:nvSpPr>
          <p:cNvPr id="21" name="Oval 11">
            <a:extLst>
              <a:ext uri="{FF2B5EF4-FFF2-40B4-BE49-F238E27FC236}">
                <a16:creationId xmlns:a16="http://schemas.microsoft.com/office/drawing/2014/main" id="{0BC8A032-79AF-4E89-8B37-F391126A5F46}"/>
              </a:ext>
            </a:extLst>
          </p:cNvPr>
          <p:cNvSpPr/>
          <p:nvPr/>
        </p:nvSpPr>
        <p:spPr>
          <a:xfrm>
            <a:off x="4645977" y="2399662"/>
            <a:ext cx="2918124" cy="2918124"/>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algn="ctr">
              <a:lnSpc>
                <a:spcPct val="105000"/>
              </a:lnSpc>
            </a:pPr>
            <a:r>
              <a:rPr lang="en-US" sz="1800" b="1" dirty="0">
                <a:solidFill>
                  <a:schemeClr val="bg1"/>
                </a:solidFill>
                <a:latin typeface="+mj-lt"/>
              </a:rPr>
              <a:t>We are the </a:t>
            </a:r>
          </a:p>
          <a:p>
            <a:pPr lvl="0" algn="ctr">
              <a:lnSpc>
                <a:spcPct val="105000"/>
              </a:lnSpc>
            </a:pPr>
            <a:r>
              <a:rPr lang="en-US" sz="1800" b="1" dirty="0">
                <a:solidFill>
                  <a:schemeClr val="bg1"/>
                </a:solidFill>
                <a:latin typeface="+mj-lt"/>
              </a:rPr>
              <a:t>digital heartbeat</a:t>
            </a:r>
          </a:p>
          <a:p>
            <a:pPr lvl="0" algn="ctr">
              <a:lnSpc>
                <a:spcPct val="105000"/>
              </a:lnSpc>
            </a:pPr>
            <a:r>
              <a:rPr lang="en-US" sz="1800" b="1" dirty="0">
                <a:solidFill>
                  <a:schemeClr val="bg1"/>
                </a:solidFill>
                <a:latin typeface="+mj-lt"/>
              </a:rPr>
              <a:t>of one of the </a:t>
            </a:r>
          </a:p>
          <a:p>
            <a:pPr lvl="0" algn="ctr">
              <a:lnSpc>
                <a:spcPct val="105000"/>
              </a:lnSpc>
            </a:pPr>
            <a:r>
              <a:rPr lang="en-US" sz="1800" b="1" dirty="0">
                <a:solidFill>
                  <a:schemeClr val="bg1"/>
                </a:solidFill>
                <a:latin typeface="+mj-lt"/>
              </a:rPr>
              <a:t>biggest retailers</a:t>
            </a:r>
          </a:p>
          <a:p>
            <a:pPr lvl="0" algn="ctr">
              <a:lnSpc>
                <a:spcPct val="105000"/>
              </a:lnSpc>
            </a:pPr>
            <a:r>
              <a:rPr lang="en-US" sz="1800" b="1" dirty="0">
                <a:solidFill>
                  <a:schemeClr val="bg1"/>
                </a:solidFill>
                <a:latin typeface="+mj-lt"/>
              </a:rPr>
              <a:t>in the world.</a:t>
            </a:r>
            <a:endParaRPr lang="en-US" sz="1800" b="1" dirty="0">
              <a:solidFill>
                <a:schemeClr val="bg1"/>
              </a:solidFill>
              <a:highlight>
                <a:srgbClr val="FFFF00"/>
              </a:highlight>
              <a:latin typeface="+mj-lt"/>
            </a:endParaRPr>
          </a:p>
        </p:txBody>
      </p:sp>
      <p:sp>
        <p:nvSpPr>
          <p:cNvPr id="7" name="Oval 11">
            <a:extLst>
              <a:ext uri="{FF2B5EF4-FFF2-40B4-BE49-F238E27FC236}">
                <a16:creationId xmlns:a16="http://schemas.microsoft.com/office/drawing/2014/main" id="{9C4F3EE7-A811-4F80-A7C1-291DE35456DA}"/>
              </a:ext>
            </a:extLst>
          </p:cNvPr>
          <p:cNvSpPr/>
          <p:nvPr/>
        </p:nvSpPr>
        <p:spPr>
          <a:xfrm>
            <a:off x="4861561" y="2658260"/>
            <a:ext cx="2435870" cy="2435870"/>
          </a:xfrm>
          <a:prstGeom prst="ellipse">
            <a:avLst/>
          </a:prstGeom>
          <a:solidFill>
            <a:srgbClr val="77209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algn="ctr">
              <a:lnSpc>
                <a:spcPct val="105000"/>
              </a:lnSpc>
            </a:pPr>
            <a:r>
              <a:rPr lang="en-US" sz="1800" b="1" dirty="0">
                <a:solidFill>
                  <a:schemeClr val="bg1"/>
                </a:solidFill>
              </a:rPr>
              <a:t>We are the </a:t>
            </a:r>
          </a:p>
          <a:p>
            <a:pPr lvl="0" algn="ctr">
              <a:lnSpc>
                <a:spcPct val="105000"/>
              </a:lnSpc>
            </a:pPr>
            <a:r>
              <a:rPr lang="en-US" sz="1800" b="1" dirty="0">
                <a:solidFill>
                  <a:schemeClr val="bg1"/>
                </a:solidFill>
              </a:rPr>
              <a:t>digital heartbeat</a:t>
            </a:r>
          </a:p>
          <a:p>
            <a:pPr lvl="0" algn="ctr">
              <a:lnSpc>
                <a:spcPct val="105000"/>
              </a:lnSpc>
            </a:pPr>
            <a:r>
              <a:rPr lang="en-US" sz="1800" b="1" dirty="0">
                <a:solidFill>
                  <a:schemeClr val="bg1"/>
                </a:solidFill>
              </a:rPr>
              <a:t>of one of the </a:t>
            </a:r>
          </a:p>
          <a:p>
            <a:pPr lvl="0" algn="ctr">
              <a:lnSpc>
                <a:spcPct val="105000"/>
              </a:lnSpc>
            </a:pPr>
            <a:r>
              <a:rPr lang="en-US" sz="1800" b="1" dirty="0">
                <a:solidFill>
                  <a:schemeClr val="bg1"/>
                </a:solidFill>
              </a:rPr>
              <a:t>greatest retailers</a:t>
            </a:r>
          </a:p>
          <a:p>
            <a:pPr lvl="0" algn="ctr">
              <a:lnSpc>
                <a:spcPct val="105000"/>
              </a:lnSpc>
            </a:pPr>
            <a:r>
              <a:rPr lang="en-US" sz="1800" b="1" dirty="0">
                <a:solidFill>
                  <a:schemeClr val="bg1"/>
                </a:solidFill>
              </a:rPr>
              <a:t>in the world.</a:t>
            </a:r>
            <a:endParaRPr lang="en-US" sz="1800" b="1" dirty="0"/>
          </a:p>
        </p:txBody>
      </p:sp>
      <p:grpSp>
        <p:nvGrpSpPr>
          <p:cNvPr id="12" name="Gruppieren 11">
            <a:extLst>
              <a:ext uri="{FF2B5EF4-FFF2-40B4-BE49-F238E27FC236}">
                <a16:creationId xmlns:a16="http://schemas.microsoft.com/office/drawing/2014/main" id="{BFAF4A5E-EA5A-4207-883D-52234FF284BE}"/>
              </a:ext>
            </a:extLst>
          </p:cNvPr>
          <p:cNvGrpSpPr/>
          <p:nvPr/>
        </p:nvGrpSpPr>
        <p:grpSpPr>
          <a:xfrm>
            <a:off x="4108128" y="1913823"/>
            <a:ext cx="3942735" cy="3936980"/>
            <a:chOff x="5235853" y="2228793"/>
            <a:chExt cx="1696102" cy="1693626"/>
          </a:xfrm>
        </p:grpSpPr>
        <p:sp>
          <p:nvSpPr>
            <p:cNvPr id="10" name="Freeform 6">
              <a:extLst>
                <a:ext uri="{FF2B5EF4-FFF2-40B4-BE49-F238E27FC236}">
                  <a16:creationId xmlns:a16="http://schemas.microsoft.com/office/drawing/2014/main" id="{37D03B3D-1138-40B6-AC28-EBC6F58F318D}"/>
                </a:ext>
              </a:extLst>
            </p:cNvPr>
            <p:cNvSpPr>
              <a:spLocks/>
            </p:cNvSpPr>
            <p:nvPr/>
          </p:nvSpPr>
          <p:spPr bwMode="auto">
            <a:xfrm>
              <a:off x="6006246" y="2228793"/>
              <a:ext cx="925709" cy="1693626"/>
            </a:xfrm>
            <a:custGeom>
              <a:avLst/>
              <a:gdLst>
                <a:gd name="T0" fmla="*/ 633 w 633"/>
                <a:gd name="T1" fmla="*/ 580 h 1159"/>
                <a:gd name="T2" fmla="*/ 53 w 633"/>
                <a:gd name="T3" fmla="*/ 0 h 1159"/>
                <a:gd name="T4" fmla="*/ 36 w 633"/>
                <a:gd name="T5" fmla="*/ 0 h 1159"/>
                <a:gd name="T6" fmla="*/ 108 w 633"/>
                <a:gd name="T7" fmla="*/ 95 h 1159"/>
                <a:gd name="T8" fmla="*/ 48 w 633"/>
                <a:gd name="T9" fmla="*/ 175 h 1159"/>
                <a:gd name="T10" fmla="*/ 53 w 633"/>
                <a:gd name="T11" fmla="*/ 174 h 1159"/>
                <a:gd name="T12" fmla="*/ 458 w 633"/>
                <a:gd name="T13" fmla="*/ 580 h 1159"/>
                <a:gd name="T14" fmla="*/ 64 w 633"/>
                <a:gd name="T15" fmla="*/ 985 h 1159"/>
                <a:gd name="T16" fmla="*/ 0 w 633"/>
                <a:gd name="T17" fmla="*/ 1071 h 1159"/>
                <a:gd name="T18" fmla="*/ 66 w 633"/>
                <a:gd name="T19" fmla="*/ 1159 h 1159"/>
                <a:gd name="T20" fmla="*/ 633 w 633"/>
                <a:gd name="T21" fmla="*/ 58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3" h="1159">
                  <a:moveTo>
                    <a:pt x="633" y="580"/>
                  </a:moveTo>
                  <a:cubicBezTo>
                    <a:pt x="633" y="260"/>
                    <a:pt x="373" y="0"/>
                    <a:pt x="53" y="0"/>
                  </a:cubicBezTo>
                  <a:cubicBezTo>
                    <a:pt x="47" y="0"/>
                    <a:pt x="42" y="0"/>
                    <a:pt x="36" y="0"/>
                  </a:cubicBezTo>
                  <a:cubicBezTo>
                    <a:pt x="108" y="95"/>
                    <a:pt x="108" y="95"/>
                    <a:pt x="108" y="95"/>
                  </a:cubicBezTo>
                  <a:cubicBezTo>
                    <a:pt x="48" y="175"/>
                    <a:pt x="48" y="175"/>
                    <a:pt x="48" y="175"/>
                  </a:cubicBezTo>
                  <a:cubicBezTo>
                    <a:pt x="50" y="174"/>
                    <a:pt x="51" y="174"/>
                    <a:pt x="53" y="174"/>
                  </a:cubicBezTo>
                  <a:cubicBezTo>
                    <a:pt x="277" y="174"/>
                    <a:pt x="458" y="356"/>
                    <a:pt x="458" y="580"/>
                  </a:cubicBezTo>
                  <a:cubicBezTo>
                    <a:pt x="458" y="799"/>
                    <a:pt x="283" y="979"/>
                    <a:pt x="64" y="985"/>
                  </a:cubicBezTo>
                  <a:cubicBezTo>
                    <a:pt x="0" y="1071"/>
                    <a:pt x="0" y="1071"/>
                    <a:pt x="0" y="1071"/>
                  </a:cubicBezTo>
                  <a:cubicBezTo>
                    <a:pt x="66" y="1159"/>
                    <a:pt x="66" y="1159"/>
                    <a:pt x="66" y="1159"/>
                  </a:cubicBezTo>
                  <a:cubicBezTo>
                    <a:pt x="380" y="1153"/>
                    <a:pt x="633" y="895"/>
                    <a:pt x="633" y="58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11" name="Freeform 7">
              <a:extLst>
                <a:ext uri="{FF2B5EF4-FFF2-40B4-BE49-F238E27FC236}">
                  <a16:creationId xmlns:a16="http://schemas.microsoft.com/office/drawing/2014/main" id="{113C9995-460A-48DD-B68C-72FD9EF33585}"/>
                </a:ext>
              </a:extLst>
            </p:cNvPr>
            <p:cNvSpPr>
              <a:spLocks/>
            </p:cNvSpPr>
            <p:nvPr/>
          </p:nvSpPr>
          <p:spPr bwMode="auto">
            <a:xfrm>
              <a:off x="5235853" y="2230031"/>
              <a:ext cx="891676" cy="1692388"/>
            </a:xfrm>
            <a:custGeom>
              <a:avLst/>
              <a:gdLst>
                <a:gd name="T0" fmla="*/ 566 w 610"/>
                <a:gd name="T1" fmla="*/ 984 h 1158"/>
                <a:gd name="T2" fmla="*/ 175 w 610"/>
                <a:gd name="T3" fmla="*/ 579 h 1158"/>
                <a:gd name="T4" fmla="*/ 549 w 610"/>
                <a:gd name="T5" fmla="*/ 175 h 1158"/>
                <a:gd name="T6" fmla="*/ 610 w 610"/>
                <a:gd name="T7" fmla="*/ 94 h 1158"/>
                <a:gd name="T8" fmla="*/ 539 w 610"/>
                <a:gd name="T9" fmla="*/ 0 h 1158"/>
                <a:gd name="T10" fmla="*/ 0 w 610"/>
                <a:gd name="T11" fmla="*/ 579 h 1158"/>
                <a:gd name="T12" fmla="*/ 568 w 610"/>
                <a:gd name="T13" fmla="*/ 1158 h 1158"/>
                <a:gd name="T14" fmla="*/ 502 w 610"/>
                <a:gd name="T15" fmla="*/ 1070 h 1158"/>
                <a:gd name="T16" fmla="*/ 566 w 610"/>
                <a:gd name="T17" fmla="*/ 984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0" h="1158">
                  <a:moveTo>
                    <a:pt x="566" y="984"/>
                  </a:moveTo>
                  <a:cubicBezTo>
                    <a:pt x="349" y="976"/>
                    <a:pt x="175" y="798"/>
                    <a:pt x="175" y="579"/>
                  </a:cubicBezTo>
                  <a:cubicBezTo>
                    <a:pt x="175" y="366"/>
                    <a:pt x="340" y="191"/>
                    <a:pt x="549" y="175"/>
                  </a:cubicBezTo>
                  <a:cubicBezTo>
                    <a:pt x="610" y="94"/>
                    <a:pt x="610" y="94"/>
                    <a:pt x="610" y="94"/>
                  </a:cubicBezTo>
                  <a:cubicBezTo>
                    <a:pt x="539" y="0"/>
                    <a:pt x="539" y="0"/>
                    <a:pt x="539" y="0"/>
                  </a:cubicBezTo>
                  <a:cubicBezTo>
                    <a:pt x="239" y="21"/>
                    <a:pt x="0" y="273"/>
                    <a:pt x="0" y="579"/>
                  </a:cubicBezTo>
                  <a:cubicBezTo>
                    <a:pt x="0" y="894"/>
                    <a:pt x="254" y="1152"/>
                    <a:pt x="568" y="1158"/>
                  </a:cubicBezTo>
                  <a:cubicBezTo>
                    <a:pt x="502" y="1070"/>
                    <a:pt x="502" y="1070"/>
                    <a:pt x="502" y="1070"/>
                  </a:cubicBezTo>
                  <a:lnTo>
                    <a:pt x="566" y="984"/>
                  </a:ln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de-DE" dirty="0"/>
            </a:p>
          </p:txBody>
        </p:sp>
      </p:grpSp>
      <p:sp>
        <p:nvSpPr>
          <p:cNvPr id="22" name="Textfeld 21">
            <a:extLst>
              <a:ext uri="{FF2B5EF4-FFF2-40B4-BE49-F238E27FC236}">
                <a16:creationId xmlns:a16="http://schemas.microsoft.com/office/drawing/2014/main" id="{426BE489-ACD3-48B8-98DB-54DB3CAE41D0}"/>
              </a:ext>
            </a:extLst>
          </p:cNvPr>
          <p:cNvSpPr txBox="1"/>
          <p:nvPr/>
        </p:nvSpPr>
        <p:spPr bwMode="gray">
          <a:xfrm>
            <a:off x="10401387" y="1402965"/>
            <a:ext cx="3323303" cy="1533832"/>
          </a:xfrm>
          <a:prstGeom prst="rect">
            <a:avLst/>
          </a:prstGeom>
          <a:noFill/>
        </p:spPr>
        <p:txBody>
          <a:bodyPr wrap="square" lIns="0" tIns="0" rIns="0" bIns="0" rtlCol="0">
            <a:noAutofit/>
          </a:bodyPr>
          <a:lstStyle/>
          <a:p>
            <a:r>
              <a:rPr lang="de-DE" sz="1800" b="1" dirty="0">
                <a:solidFill>
                  <a:schemeClr val="accent1"/>
                </a:solidFill>
              </a:rPr>
              <a:t>Values</a:t>
            </a:r>
          </a:p>
          <a:p>
            <a:endParaRPr lang="de-DE" sz="1800" b="1" dirty="0">
              <a:solidFill>
                <a:schemeClr val="accent1"/>
              </a:solidFill>
            </a:endParaRPr>
          </a:p>
          <a:p>
            <a:endParaRPr lang="de-DE" sz="1000" b="1" dirty="0">
              <a:solidFill>
                <a:schemeClr val="accent1"/>
              </a:solidFill>
            </a:endParaRPr>
          </a:p>
        </p:txBody>
      </p:sp>
      <p:sp>
        <p:nvSpPr>
          <p:cNvPr id="23" name="Textfeld 22">
            <a:extLst>
              <a:ext uri="{FF2B5EF4-FFF2-40B4-BE49-F238E27FC236}">
                <a16:creationId xmlns:a16="http://schemas.microsoft.com/office/drawing/2014/main" id="{10D89119-7AAE-4DB7-A53D-2154DC0DFC29}"/>
              </a:ext>
            </a:extLst>
          </p:cNvPr>
          <p:cNvSpPr txBox="1"/>
          <p:nvPr/>
        </p:nvSpPr>
        <p:spPr bwMode="gray">
          <a:xfrm>
            <a:off x="10261085" y="4118798"/>
            <a:ext cx="2059615" cy="1533832"/>
          </a:xfrm>
          <a:prstGeom prst="rect">
            <a:avLst/>
          </a:prstGeom>
          <a:noFill/>
        </p:spPr>
        <p:txBody>
          <a:bodyPr wrap="square" lIns="0" tIns="0" rIns="0" bIns="0" rtlCol="0">
            <a:noAutofit/>
          </a:bodyPr>
          <a:lstStyle/>
          <a:p>
            <a:r>
              <a:rPr lang="en-US" sz="1800" b="1" dirty="0">
                <a:solidFill>
                  <a:schemeClr val="accent1"/>
                </a:solidFill>
              </a:rPr>
              <a:t>Tonality</a:t>
            </a:r>
          </a:p>
          <a:p>
            <a:endParaRPr lang="de-DE" sz="1000" b="1" dirty="0">
              <a:solidFill>
                <a:schemeClr val="accent1"/>
              </a:solidFill>
            </a:endParaRPr>
          </a:p>
        </p:txBody>
      </p:sp>
      <p:sp>
        <p:nvSpPr>
          <p:cNvPr id="25" name="Textfeld 24">
            <a:extLst>
              <a:ext uri="{FF2B5EF4-FFF2-40B4-BE49-F238E27FC236}">
                <a16:creationId xmlns:a16="http://schemas.microsoft.com/office/drawing/2014/main" id="{A9841F76-6801-44C8-911F-36EFA46D49DC}"/>
              </a:ext>
            </a:extLst>
          </p:cNvPr>
          <p:cNvSpPr txBox="1"/>
          <p:nvPr/>
        </p:nvSpPr>
        <p:spPr bwMode="gray">
          <a:xfrm>
            <a:off x="961805" y="1392492"/>
            <a:ext cx="3323303" cy="393290"/>
          </a:xfrm>
          <a:prstGeom prst="rect">
            <a:avLst/>
          </a:prstGeom>
          <a:noFill/>
        </p:spPr>
        <p:txBody>
          <a:bodyPr wrap="square" lIns="0" tIns="0" rIns="0" bIns="0" rtlCol="0">
            <a:noAutofit/>
          </a:bodyPr>
          <a:lstStyle/>
          <a:p>
            <a:r>
              <a:rPr lang="en-US" sz="1800" b="1" dirty="0">
                <a:solidFill>
                  <a:schemeClr val="accent1"/>
                </a:solidFill>
              </a:rPr>
              <a:t>Rational Benefits</a:t>
            </a:r>
          </a:p>
          <a:p>
            <a:endParaRPr lang="de-DE" sz="1000" b="1" dirty="0">
              <a:solidFill>
                <a:schemeClr val="accent1"/>
              </a:solidFill>
            </a:endParaRPr>
          </a:p>
        </p:txBody>
      </p:sp>
      <p:sp>
        <p:nvSpPr>
          <p:cNvPr id="26" name="Textfeld 25">
            <a:extLst>
              <a:ext uri="{FF2B5EF4-FFF2-40B4-BE49-F238E27FC236}">
                <a16:creationId xmlns:a16="http://schemas.microsoft.com/office/drawing/2014/main" id="{AAD6A5DE-6A3B-4E0C-91D8-6AC486EA20F9}"/>
              </a:ext>
            </a:extLst>
          </p:cNvPr>
          <p:cNvSpPr txBox="1"/>
          <p:nvPr/>
        </p:nvSpPr>
        <p:spPr bwMode="gray">
          <a:xfrm>
            <a:off x="7805288" y="4631597"/>
            <a:ext cx="3323303" cy="934502"/>
          </a:xfrm>
          <a:prstGeom prst="rect">
            <a:avLst/>
          </a:prstGeom>
          <a:noFill/>
        </p:spPr>
        <p:txBody>
          <a:bodyPr wrap="square" lIns="0" tIns="0" rIns="0" bIns="0" rtlCol="0">
            <a:noAutofit/>
          </a:bodyPr>
          <a:lstStyle/>
          <a:p>
            <a:pPr algn="r"/>
            <a:r>
              <a:rPr lang="en-US" sz="1400" dirty="0">
                <a:solidFill>
                  <a:schemeClr val="accent1"/>
                </a:solidFill>
              </a:rPr>
              <a:t>Optimistic and personal</a:t>
            </a:r>
          </a:p>
          <a:p>
            <a:pPr algn="r"/>
            <a:r>
              <a:rPr lang="en-US" sz="1400" dirty="0">
                <a:solidFill>
                  <a:schemeClr val="accent1"/>
                </a:solidFill>
              </a:rPr>
              <a:t>Open and direct</a:t>
            </a:r>
          </a:p>
          <a:p>
            <a:pPr algn="r"/>
            <a:r>
              <a:rPr lang="en-US" sz="1400" dirty="0">
                <a:solidFill>
                  <a:schemeClr val="accent1"/>
                </a:solidFill>
              </a:rPr>
              <a:t>Proactive and on point</a:t>
            </a:r>
          </a:p>
          <a:p>
            <a:endParaRPr lang="en-US" sz="1600" dirty="0">
              <a:solidFill>
                <a:schemeClr val="accent1"/>
              </a:solidFill>
            </a:endParaRPr>
          </a:p>
        </p:txBody>
      </p:sp>
      <p:sp>
        <p:nvSpPr>
          <p:cNvPr id="28" name="Textfeld 27">
            <a:extLst>
              <a:ext uri="{FF2B5EF4-FFF2-40B4-BE49-F238E27FC236}">
                <a16:creationId xmlns:a16="http://schemas.microsoft.com/office/drawing/2014/main" id="{AED0B9CE-8DFD-4BDF-BFC7-499C4D042308}"/>
              </a:ext>
            </a:extLst>
          </p:cNvPr>
          <p:cNvSpPr txBox="1"/>
          <p:nvPr/>
        </p:nvSpPr>
        <p:spPr bwMode="gray">
          <a:xfrm>
            <a:off x="1000853" y="4050274"/>
            <a:ext cx="3323303" cy="393290"/>
          </a:xfrm>
          <a:prstGeom prst="rect">
            <a:avLst/>
          </a:prstGeom>
          <a:noFill/>
        </p:spPr>
        <p:txBody>
          <a:bodyPr wrap="square" lIns="0" tIns="0" rIns="0" bIns="0" rtlCol="0">
            <a:noAutofit/>
          </a:bodyPr>
          <a:lstStyle/>
          <a:p>
            <a:r>
              <a:rPr lang="en-US" sz="1800" b="1" dirty="0">
                <a:solidFill>
                  <a:schemeClr val="accent1"/>
                </a:solidFill>
              </a:rPr>
              <a:t>Emotional Benefits</a:t>
            </a:r>
          </a:p>
          <a:p>
            <a:endParaRPr lang="de-DE" sz="1000" b="1" dirty="0">
              <a:solidFill>
                <a:schemeClr val="accent1"/>
              </a:solidFill>
            </a:endParaRPr>
          </a:p>
        </p:txBody>
      </p:sp>
      <p:sp>
        <p:nvSpPr>
          <p:cNvPr id="29" name="Textfeld 28">
            <a:extLst>
              <a:ext uri="{FF2B5EF4-FFF2-40B4-BE49-F238E27FC236}">
                <a16:creationId xmlns:a16="http://schemas.microsoft.com/office/drawing/2014/main" id="{63E06D06-7D55-4419-A2F3-1F5AFA9DB53B}"/>
              </a:ext>
            </a:extLst>
          </p:cNvPr>
          <p:cNvSpPr txBox="1"/>
          <p:nvPr/>
        </p:nvSpPr>
        <p:spPr bwMode="gray">
          <a:xfrm>
            <a:off x="1010965" y="4518311"/>
            <a:ext cx="3323303" cy="2092922"/>
          </a:xfrm>
          <a:prstGeom prst="rect">
            <a:avLst/>
          </a:prstGeom>
          <a:noFill/>
        </p:spPr>
        <p:txBody>
          <a:bodyPr wrap="square" lIns="0" tIns="0" rIns="0" bIns="0" rtlCol="0">
            <a:noAutofit/>
          </a:bodyPr>
          <a:lstStyle/>
          <a:p>
            <a:pPr marL="285750" indent="-285750">
              <a:buFontTx/>
              <a:buChar char="-"/>
            </a:pPr>
            <a:r>
              <a:rPr lang="en-US" sz="1400" dirty="0">
                <a:solidFill>
                  <a:schemeClr val="accent1"/>
                </a:solidFill>
              </a:rPr>
              <a:t>Be part of something bigger </a:t>
            </a:r>
          </a:p>
          <a:p>
            <a:pPr marL="285750" indent="-285750">
              <a:buFontTx/>
              <a:buChar char="-"/>
            </a:pPr>
            <a:r>
              <a:rPr lang="en-US" sz="1400" dirty="0">
                <a:solidFill>
                  <a:schemeClr val="accent1"/>
                </a:solidFill>
              </a:rPr>
              <a:t>Shared team spirit</a:t>
            </a:r>
          </a:p>
          <a:p>
            <a:pPr marL="285750" indent="-285750">
              <a:buFontTx/>
              <a:buChar char="-"/>
            </a:pPr>
            <a:r>
              <a:rPr lang="en-US" sz="1400" dirty="0">
                <a:solidFill>
                  <a:schemeClr val="accent1"/>
                </a:solidFill>
              </a:rPr>
              <a:t>Shared passion</a:t>
            </a:r>
          </a:p>
          <a:p>
            <a:pPr marL="285750" indent="-285750">
              <a:buFontTx/>
              <a:buChar char="-"/>
            </a:pPr>
            <a:r>
              <a:rPr lang="en-US" sz="1400" dirty="0">
                <a:solidFill>
                  <a:schemeClr val="accent1"/>
                </a:solidFill>
              </a:rPr>
              <a:t>International impact of projects</a:t>
            </a:r>
          </a:p>
          <a:p>
            <a:pPr marL="285750" indent="-285750">
              <a:buFontTx/>
              <a:buChar char="-"/>
            </a:pPr>
            <a:r>
              <a:rPr lang="en-US" sz="1400" dirty="0">
                <a:solidFill>
                  <a:schemeClr val="accent1"/>
                </a:solidFill>
              </a:rPr>
              <a:t>Individual freedom &amp; flexibility</a:t>
            </a:r>
          </a:p>
          <a:p>
            <a:pPr marL="285750" indent="-285750">
              <a:buFontTx/>
              <a:buChar char="-"/>
            </a:pPr>
            <a:r>
              <a:rPr lang="en-US" sz="1400" dirty="0">
                <a:solidFill>
                  <a:schemeClr val="accent1"/>
                </a:solidFill>
              </a:rPr>
              <a:t>Shared passion for issues</a:t>
            </a:r>
          </a:p>
          <a:p>
            <a:pPr marL="285750" indent="-285750">
              <a:buFontTx/>
              <a:buChar char="-"/>
            </a:pPr>
            <a:r>
              <a:rPr lang="en-US" sz="1400" dirty="0">
                <a:solidFill>
                  <a:schemeClr val="accent1"/>
                </a:solidFill>
              </a:rPr>
              <a:t>Open &amp; direct communication</a:t>
            </a:r>
          </a:p>
          <a:p>
            <a:pPr marL="285750" indent="-285750">
              <a:buFontTx/>
              <a:buChar char="-"/>
            </a:pPr>
            <a:r>
              <a:rPr lang="en-US" sz="1400" dirty="0">
                <a:solidFill>
                  <a:schemeClr val="accent1"/>
                </a:solidFill>
              </a:rPr>
              <a:t>90 years of experience</a:t>
            </a:r>
          </a:p>
          <a:p>
            <a:endParaRPr lang="en-US" sz="1600" dirty="0">
              <a:solidFill>
                <a:schemeClr val="accent1"/>
              </a:solidFill>
            </a:endParaRPr>
          </a:p>
        </p:txBody>
      </p:sp>
      <p:sp>
        <p:nvSpPr>
          <p:cNvPr id="8" name="Textfeld 7">
            <a:extLst>
              <a:ext uri="{FF2B5EF4-FFF2-40B4-BE49-F238E27FC236}">
                <a16:creationId xmlns:a16="http://schemas.microsoft.com/office/drawing/2014/main" id="{3AA5ABA2-07B6-447D-9317-E36966F50734}"/>
              </a:ext>
            </a:extLst>
          </p:cNvPr>
          <p:cNvSpPr txBox="1"/>
          <p:nvPr/>
        </p:nvSpPr>
        <p:spPr bwMode="gray">
          <a:xfrm>
            <a:off x="8312866" y="1989014"/>
            <a:ext cx="2910696" cy="866554"/>
          </a:xfrm>
          <a:prstGeom prst="rect">
            <a:avLst/>
          </a:prstGeom>
          <a:noFill/>
        </p:spPr>
        <p:txBody>
          <a:bodyPr wrap="square" lIns="0" tIns="0" rIns="0" bIns="0" rtlCol="0">
            <a:noAutofit/>
          </a:bodyPr>
          <a:lstStyle/>
          <a:p>
            <a:pPr algn="r"/>
            <a:r>
              <a:rPr lang="en-US" sz="1400" dirty="0">
                <a:solidFill>
                  <a:srgbClr val="772092"/>
                </a:solidFill>
                <a:latin typeface="Arial" charset="0"/>
                <a:ea typeface="Arial" charset="0"/>
                <a:cs typeface="Arial" charset="0"/>
              </a:rPr>
              <a:t>Solution Driven, Ownership, </a:t>
            </a:r>
          </a:p>
          <a:p>
            <a:pPr algn="r"/>
            <a:r>
              <a:rPr lang="en-US" sz="1400" dirty="0">
                <a:solidFill>
                  <a:srgbClr val="772092"/>
                </a:solidFill>
                <a:latin typeface="Arial" charset="0"/>
                <a:ea typeface="Arial" charset="0"/>
                <a:cs typeface="Arial" charset="0"/>
              </a:rPr>
              <a:t>Vision-driven, Enthusiasm, </a:t>
            </a:r>
          </a:p>
          <a:p>
            <a:pPr algn="r"/>
            <a:r>
              <a:rPr lang="en-US" sz="1400" dirty="0">
                <a:solidFill>
                  <a:srgbClr val="772092"/>
                </a:solidFill>
                <a:latin typeface="Arial" charset="0"/>
                <a:ea typeface="Arial" charset="0"/>
                <a:cs typeface="Arial" charset="0"/>
              </a:rPr>
              <a:t>Partnership </a:t>
            </a:r>
          </a:p>
        </p:txBody>
      </p:sp>
    </p:spTree>
    <p:extLst>
      <p:ext uri="{BB962C8B-B14F-4D97-AF65-F5344CB8AC3E}">
        <p14:creationId xmlns:p14="http://schemas.microsoft.com/office/powerpoint/2010/main" val="358086771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FB9A987-FAAD-4824-948E-2C04B5CC3206}"/>
              </a:ext>
            </a:extLst>
          </p:cNvPr>
          <p:cNvSpPr/>
          <p:nvPr/>
        </p:nvSpPr>
        <p:spPr>
          <a:xfrm>
            <a:off x="-579635" y="2627341"/>
            <a:ext cx="5189043" cy="1933860"/>
          </a:xfrm>
          <a:custGeom>
            <a:avLst/>
            <a:gdLst>
              <a:gd name="connsiteX0" fmla="*/ 5568315 w 5648325"/>
              <a:gd name="connsiteY0" fmla="*/ 1066865 h 2105025"/>
              <a:gd name="connsiteX1" fmla="*/ 5335905 w 5648325"/>
              <a:gd name="connsiteY1" fmla="*/ 1066865 h 2105025"/>
              <a:gd name="connsiteX2" fmla="*/ 5278755 w 5648325"/>
              <a:gd name="connsiteY2" fmla="*/ 1039243 h 2105025"/>
              <a:gd name="connsiteX3" fmla="*/ 5160645 w 5648325"/>
              <a:gd name="connsiteY3" fmla="*/ 823978 h 2105025"/>
              <a:gd name="connsiteX4" fmla="*/ 5030153 w 5648325"/>
              <a:gd name="connsiteY4" fmla="*/ 758255 h 2105025"/>
              <a:gd name="connsiteX5" fmla="*/ 4921568 w 5648325"/>
              <a:gd name="connsiteY5" fmla="*/ 852553 h 2105025"/>
              <a:gd name="connsiteX6" fmla="*/ 4720590 w 5648325"/>
              <a:gd name="connsiteY6" fmla="*/ 1783145 h 2105025"/>
              <a:gd name="connsiteX7" fmla="*/ 4460558 w 5648325"/>
              <a:gd name="connsiteY7" fmla="*/ 101983 h 2105025"/>
              <a:gd name="connsiteX8" fmla="*/ 4338638 w 5648325"/>
              <a:gd name="connsiteY8" fmla="*/ 65 h 2105025"/>
              <a:gd name="connsiteX9" fmla="*/ 4211003 w 5648325"/>
              <a:gd name="connsiteY9" fmla="*/ 96268 h 2105025"/>
              <a:gd name="connsiteX10" fmla="*/ 3975735 w 5648325"/>
              <a:gd name="connsiteY10" fmla="*/ 1181165 h 2105025"/>
              <a:gd name="connsiteX11" fmla="*/ 3848100 w 5648325"/>
              <a:gd name="connsiteY11" fmla="*/ 856363 h 2105025"/>
              <a:gd name="connsiteX12" fmla="*/ 3716655 w 5648325"/>
              <a:gd name="connsiteY12" fmla="*/ 768733 h 2105025"/>
              <a:gd name="connsiteX13" fmla="*/ 3581400 w 5648325"/>
              <a:gd name="connsiteY13" fmla="*/ 851600 h 2105025"/>
              <a:gd name="connsiteX14" fmla="*/ 3506153 w 5648325"/>
              <a:gd name="connsiteY14" fmla="*/ 1026860 h 2105025"/>
              <a:gd name="connsiteX15" fmla="*/ 3430905 w 5648325"/>
              <a:gd name="connsiteY15" fmla="*/ 1065913 h 2105025"/>
              <a:gd name="connsiteX16" fmla="*/ 3095625 w 5648325"/>
              <a:gd name="connsiteY16" fmla="*/ 1065913 h 2105025"/>
              <a:gd name="connsiteX17" fmla="*/ 3091815 w 5648325"/>
              <a:gd name="connsiteY17" fmla="*/ 1065913 h 2105025"/>
              <a:gd name="connsiteX18" fmla="*/ 2634615 w 5648325"/>
              <a:gd name="connsiteY18" fmla="*/ 1065913 h 2105025"/>
              <a:gd name="connsiteX19" fmla="*/ 2577465 w 5648325"/>
              <a:gd name="connsiteY19" fmla="*/ 1038290 h 2105025"/>
              <a:gd name="connsiteX20" fmla="*/ 2459355 w 5648325"/>
              <a:gd name="connsiteY20" fmla="*/ 823025 h 2105025"/>
              <a:gd name="connsiteX21" fmla="*/ 2328863 w 5648325"/>
              <a:gd name="connsiteY21" fmla="*/ 757303 h 2105025"/>
              <a:gd name="connsiteX22" fmla="*/ 2220278 w 5648325"/>
              <a:gd name="connsiteY22" fmla="*/ 851600 h 2105025"/>
              <a:gd name="connsiteX23" fmla="*/ 2019300 w 5648325"/>
              <a:gd name="connsiteY23" fmla="*/ 1782193 h 2105025"/>
              <a:gd name="connsiteX24" fmla="*/ 1761173 w 5648325"/>
              <a:gd name="connsiteY24" fmla="*/ 101983 h 2105025"/>
              <a:gd name="connsiteX25" fmla="*/ 1639253 w 5648325"/>
              <a:gd name="connsiteY25" fmla="*/ 65 h 2105025"/>
              <a:gd name="connsiteX26" fmla="*/ 1511618 w 5648325"/>
              <a:gd name="connsiteY26" fmla="*/ 96268 h 2105025"/>
              <a:gd name="connsiteX27" fmla="*/ 1276350 w 5648325"/>
              <a:gd name="connsiteY27" fmla="*/ 1181165 h 2105025"/>
              <a:gd name="connsiteX28" fmla="*/ 1149668 w 5648325"/>
              <a:gd name="connsiteY28" fmla="*/ 855410 h 2105025"/>
              <a:gd name="connsiteX29" fmla="*/ 1018223 w 5648325"/>
              <a:gd name="connsiteY29" fmla="*/ 767780 h 2105025"/>
              <a:gd name="connsiteX30" fmla="*/ 882968 w 5648325"/>
              <a:gd name="connsiteY30" fmla="*/ 850648 h 2105025"/>
              <a:gd name="connsiteX31" fmla="*/ 807720 w 5648325"/>
              <a:gd name="connsiteY31" fmla="*/ 1025908 h 2105025"/>
              <a:gd name="connsiteX32" fmla="*/ 732473 w 5648325"/>
              <a:gd name="connsiteY32" fmla="*/ 1064960 h 2105025"/>
              <a:gd name="connsiteX33" fmla="*/ 81915 w 5648325"/>
              <a:gd name="connsiteY33" fmla="*/ 1064960 h 2105025"/>
              <a:gd name="connsiteX34" fmla="*/ 0 w 5648325"/>
              <a:gd name="connsiteY34" fmla="*/ 1146875 h 2105025"/>
              <a:gd name="connsiteX35" fmla="*/ 81915 w 5648325"/>
              <a:gd name="connsiteY35" fmla="*/ 1228790 h 2105025"/>
              <a:gd name="connsiteX36" fmla="*/ 731520 w 5648325"/>
              <a:gd name="connsiteY36" fmla="*/ 1228790 h 2105025"/>
              <a:gd name="connsiteX37" fmla="*/ 958215 w 5648325"/>
              <a:gd name="connsiteY37" fmla="*/ 1089725 h 2105025"/>
              <a:gd name="connsiteX38" fmla="*/ 1014413 w 5648325"/>
              <a:gd name="connsiteY38" fmla="*/ 959233 h 2105025"/>
              <a:gd name="connsiteX39" fmla="*/ 1165860 w 5648325"/>
              <a:gd name="connsiteY39" fmla="*/ 1348805 h 2105025"/>
              <a:gd name="connsiteX40" fmla="*/ 1296353 w 5648325"/>
              <a:gd name="connsiteY40" fmla="*/ 1426910 h 2105025"/>
              <a:gd name="connsiteX41" fmla="*/ 1410653 w 5648325"/>
              <a:gd name="connsiteY41" fmla="*/ 1331660 h 2105025"/>
              <a:gd name="connsiteX42" fmla="*/ 1628775 w 5648325"/>
              <a:gd name="connsiteY42" fmla="*/ 322010 h 2105025"/>
              <a:gd name="connsiteX43" fmla="*/ 1888808 w 5648325"/>
              <a:gd name="connsiteY43" fmla="*/ 2004125 h 2105025"/>
              <a:gd name="connsiteX44" fmla="*/ 2010728 w 5648325"/>
              <a:gd name="connsiteY44" fmla="*/ 2106043 h 2105025"/>
              <a:gd name="connsiteX45" fmla="*/ 2014538 w 5648325"/>
              <a:gd name="connsiteY45" fmla="*/ 2106043 h 2105025"/>
              <a:gd name="connsiteX46" fmla="*/ 2139315 w 5648325"/>
              <a:gd name="connsiteY46" fmla="*/ 2009840 h 2105025"/>
              <a:gd name="connsiteX47" fmla="*/ 2360295 w 5648325"/>
              <a:gd name="connsiteY47" fmla="*/ 983045 h 2105025"/>
              <a:gd name="connsiteX48" fmla="*/ 2431733 w 5648325"/>
              <a:gd name="connsiteY48" fmla="*/ 1113538 h 2105025"/>
              <a:gd name="connsiteX49" fmla="*/ 2634615 w 5648325"/>
              <a:gd name="connsiteY49" fmla="*/ 1230695 h 2105025"/>
              <a:gd name="connsiteX50" fmla="*/ 2776538 w 5648325"/>
              <a:gd name="connsiteY50" fmla="*/ 1230695 h 2105025"/>
              <a:gd name="connsiteX51" fmla="*/ 2780348 w 5648325"/>
              <a:gd name="connsiteY51" fmla="*/ 1230695 h 2105025"/>
              <a:gd name="connsiteX52" fmla="*/ 3429953 w 5648325"/>
              <a:gd name="connsiteY52" fmla="*/ 1230695 h 2105025"/>
              <a:gd name="connsiteX53" fmla="*/ 3656648 w 5648325"/>
              <a:gd name="connsiteY53" fmla="*/ 1091630 h 2105025"/>
              <a:gd name="connsiteX54" fmla="*/ 3712845 w 5648325"/>
              <a:gd name="connsiteY54" fmla="*/ 961138 h 2105025"/>
              <a:gd name="connsiteX55" fmla="*/ 3864293 w 5648325"/>
              <a:gd name="connsiteY55" fmla="*/ 1350710 h 2105025"/>
              <a:gd name="connsiteX56" fmla="*/ 3994785 w 5648325"/>
              <a:gd name="connsiteY56" fmla="*/ 1428815 h 2105025"/>
              <a:gd name="connsiteX57" fmla="*/ 4109085 w 5648325"/>
              <a:gd name="connsiteY57" fmla="*/ 1333565 h 2105025"/>
              <a:gd name="connsiteX58" fmla="*/ 4329113 w 5648325"/>
              <a:gd name="connsiteY58" fmla="*/ 321058 h 2105025"/>
              <a:gd name="connsiteX59" fmla="*/ 4589145 w 5648325"/>
              <a:gd name="connsiteY59" fmla="*/ 2003173 h 2105025"/>
              <a:gd name="connsiteX60" fmla="*/ 4711065 w 5648325"/>
              <a:gd name="connsiteY60" fmla="*/ 2105090 h 2105025"/>
              <a:gd name="connsiteX61" fmla="*/ 4714875 w 5648325"/>
              <a:gd name="connsiteY61" fmla="*/ 2105090 h 2105025"/>
              <a:gd name="connsiteX62" fmla="*/ 4839653 w 5648325"/>
              <a:gd name="connsiteY62" fmla="*/ 2008888 h 2105025"/>
              <a:gd name="connsiteX63" fmla="*/ 5060633 w 5648325"/>
              <a:gd name="connsiteY63" fmla="*/ 982093 h 2105025"/>
              <a:gd name="connsiteX64" fmla="*/ 5132070 w 5648325"/>
              <a:gd name="connsiteY64" fmla="*/ 1112585 h 2105025"/>
              <a:gd name="connsiteX65" fmla="*/ 5334953 w 5648325"/>
              <a:gd name="connsiteY65" fmla="*/ 1229743 h 2105025"/>
              <a:gd name="connsiteX66" fmla="*/ 5476875 w 5648325"/>
              <a:gd name="connsiteY66" fmla="*/ 1229743 h 2105025"/>
              <a:gd name="connsiteX67" fmla="*/ 5480685 w 5648325"/>
              <a:gd name="connsiteY67" fmla="*/ 1229743 h 2105025"/>
              <a:gd name="connsiteX68" fmla="*/ 5656898 w 5648325"/>
              <a:gd name="connsiteY68" fmla="*/ 1229743 h 2105025"/>
              <a:gd name="connsiteX69" fmla="*/ 5568315 w 5648325"/>
              <a:gd name="connsiteY69" fmla="*/ 106686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48325" h="2105025">
                <a:moveTo>
                  <a:pt x="5568315" y="1066865"/>
                </a:moveTo>
                <a:lnTo>
                  <a:pt x="5335905" y="1066865"/>
                </a:lnTo>
                <a:cubicBezTo>
                  <a:pt x="5307330" y="1066865"/>
                  <a:pt x="5285423" y="1052578"/>
                  <a:pt x="5278755" y="1039243"/>
                </a:cubicBezTo>
                <a:lnTo>
                  <a:pt x="5160645" y="823978"/>
                </a:lnTo>
                <a:cubicBezTo>
                  <a:pt x="5136833" y="778258"/>
                  <a:pt x="5084445" y="751588"/>
                  <a:pt x="5030153" y="758255"/>
                </a:cubicBezTo>
                <a:cubicBezTo>
                  <a:pt x="4975860" y="764923"/>
                  <a:pt x="4932998" y="802070"/>
                  <a:pt x="4921568" y="852553"/>
                </a:cubicBezTo>
                <a:lnTo>
                  <a:pt x="4720590" y="1783145"/>
                </a:lnTo>
                <a:lnTo>
                  <a:pt x="4460558" y="101983"/>
                </a:lnTo>
                <a:cubicBezTo>
                  <a:pt x="4451033" y="43880"/>
                  <a:pt x="4400550" y="1970"/>
                  <a:pt x="4338638" y="65"/>
                </a:cubicBezTo>
                <a:cubicBezTo>
                  <a:pt x="4275773" y="-887"/>
                  <a:pt x="4223385" y="38165"/>
                  <a:pt x="4211003" y="96268"/>
                </a:cubicBezTo>
                <a:lnTo>
                  <a:pt x="3975735" y="1181165"/>
                </a:lnTo>
                <a:lnTo>
                  <a:pt x="3848100" y="856363"/>
                </a:lnTo>
                <a:cubicBezTo>
                  <a:pt x="3828098" y="803975"/>
                  <a:pt x="3776663" y="770638"/>
                  <a:pt x="3716655" y="768733"/>
                </a:cubicBezTo>
                <a:cubicBezTo>
                  <a:pt x="3656648" y="767780"/>
                  <a:pt x="3604260" y="800165"/>
                  <a:pt x="3581400" y="851600"/>
                </a:cubicBezTo>
                <a:lnTo>
                  <a:pt x="3506153" y="1026860"/>
                </a:lnTo>
                <a:cubicBezTo>
                  <a:pt x="3496628" y="1049720"/>
                  <a:pt x="3464243" y="1065913"/>
                  <a:pt x="3430905" y="1065913"/>
                </a:cubicBezTo>
                <a:lnTo>
                  <a:pt x="3095625" y="1065913"/>
                </a:lnTo>
                <a:cubicBezTo>
                  <a:pt x="3094673" y="1065913"/>
                  <a:pt x="3092768" y="1065913"/>
                  <a:pt x="3091815" y="1065913"/>
                </a:cubicBezTo>
                <a:lnTo>
                  <a:pt x="2634615" y="1065913"/>
                </a:lnTo>
                <a:cubicBezTo>
                  <a:pt x="2606040" y="1065913"/>
                  <a:pt x="2584133" y="1051625"/>
                  <a:pt x="2577465" y="1038290"/>
                </a:cubicBezTo>
                <a:lnTo>
                  <a:pt x="2459355" y="823025"/>
                </a:lnTo>
                <a:cubicBezTo>
                  <a:pt x="2435543" y="777305"/>
                  <a:pt x="2383155" y="750635"/>
                  <a:pt x="2328863" y="757303"/>
                </a:cubicBezTo>
                <a:cubicBezTo>
                  <a:pt x="2274570" y="763970"/>
                  <a:pt x="2231708" y="801118"/>
                  <a:pt x="2220278" y="851600"/>
                </a:cubicBezTo>
                <a:lnTo>
                  <a:pt x="2019300" y="1782193"/>
                </a:lnTo>
                <a:lnTo>
                  <a:pt x="1761173" y="101983"/>
                </a:lnTo>
                <a:cubicBezTo>
                  <a:pt x="1751648" y="43880"/>
                  <a:pt x="1701165" y="1970"/>
                  <a:pt x="1639253" y="65"/>
                </a:cubicBezTo>
                <a:cubicBezTo>
                  <a:pt x="1576388" y="-1840"/>
                  <a:pt x="1524000" y="38165"/>
                  <a:pt x="1511618" y="96268"/>
                </a:cubicBezTo>
                <a:lnTo>
                  <a:pt x="1276350" y="1181165"/>
                </a:lnTo>
                <a:lnTo>
                  <a:pt x="1149668" y="855410"/>
                </a:lnTo>
                <a:cubicBezTo>
                  <a:pt x="1129665" y="803023"/>
                  <a:pt x="1078230" y="768733"/>
                  <a:pt x="1018223" y="767780"/>
                </a:cubicBezTo>
                <a:cubicBezTo>
                  <a:pt x="958215" y="766828"/>
                  <a:pt x="905828" y="799213"/>
                  <a:pt x="882968" y="850648"/>
                </a:cubicBezTo>
                <a:lnTo>
                  <a:pt x="807720" y="1025908"/>
                </a:lnTo>
                <a:cubicBezTo>
                  <a:pt x="798195" y="1048768"/>
                  <a:pt x="765810" y="1064960"/>
                  <a:pt x="732473" y="1064960"/>
                </a:cubicBezTo>
                <a:lnTo>
                  <a:pt x="81915" y="1064960"/>
                </a:lnTo>
                <a:cubicBezTo>
                  <a:pt x="36195" y="1064960"/>
                  <a:pt x="0" y="1102108"/>
                  <a:pt x="0" y="1146875"/>
                </a:cubicBezTo>
                <a:cubicBezTo>
                  <a:pt x="0" y="1192595"/>
                  <a:pt x="37148" y="1228790"/>
                  <a:pt x="81915" y="1228790"/>
                </a:cubicBezTo>
                <a:lnTo>
                  <a:pt x="731520" y="1228790"/>
                </a:lnTo>
                <a:cubicBezTo>
                  <a:pt x="832485" y="1228790"/>
                  <a:pt x="922020" y="1174498"/>
                  <a:pt x="958215" y="1089725"/>
                </a:cubicBezTo>
                <a:lnTo>
                  <a:pt x="1014413" y="959233"/>
                </a:lnTo>
                <a:lnTo>
                  <a:pt x="1165860" y="1348805"/>
                </a:lnTo>
                <a:cubicBezTo>
                  <a:pt x="1185863" y="1400240"/>
                  <a:pt x="1238250" y="1431673"/>
                  <a:pt x="1296353" y="1426910"/>
                </a:cubicBezTo>
                <a:cubicBezTo>
                  <a:pt x="1353503" y="1422148"/>
                  <a:pt x="1399223" y="1384048"/>
                  <a:pt x="1410653" y="1331660"/>
                </a:cubicBezTo>
                <a:lnTo>
                  <a:pt x="1628775" y="322010"/>
                </a:lnTo>
                <a:lnTo>
                  <a:pt x="1888808" y="2004125"/>
                </a:lnTo>
                <a:cubicBezTo>
                  <a:pt x="1898333" y="2062228"/>
                  <a:pt x="1948815" y="2104138"/>
                  <a:pt x="2010728" y="2106043"/>
                </a:cubicBezTo>
                <a:cubicBezTo>
                  <a:pt x="2011680" y="2106043"/>
                  <a:pt x="2013585" y="2106043"/>
                  <a:pt x="2014538" y="2106043"/>
                </a:cubicBezTo>
                <a:cubicBezTo>
                  <a:pt x="2075498" y="2106043"/>
                  <a:pt x="2125980" y="2066990"/>
                  <a:pt x="2139315" y="2009840"/>
                </a:cubicBezTo>
                <a:lnTo>
                  <a:pt x="2360295" y="983045"/>
                </a:lnTo>
                <a:lnTo>
                  <a:pt x="2431733" y="1113538"/>
                </a:lnTo>
                <a:cubicBezTo>
                  <a:pt x="2467928" y="1184023"/>
                  <a:pt x="2547938" y="1230695"/>
                  <a:pt x="2634615" y="1230695"/>
                </a:cubicBezTo>
                <a:lnTo>
                  <a:pt x="2776538" y="1230695"/>
                </a:lnTo>
                <a:cubicBezTo>
                  <a:pt x="2777490" y="1230695"/>
                  <a:pt x="2779395" y="1230695"/>
                  <a:pt x="2780348" y="1230695"/>
                </a:cubicBezTo>
                <a:lnTo>
                  <a:pt x="3429953" y="1230695"/>
                </a:lnTo>
                <a:cubicBezTo>
                  <a:pt x="3530918" y="1230695"/>
                  <a:pt x="3619500" y="1176403"/>
                  <a:pt x="3656648" y="1091630"/>
                </a:cubicBezTo>
                <a:lnTo>
                  <a:pt x="3712845" y="961138"/>
                </a:lnTo>
                <a:lnTo>
                  <a:pt x="3864293" y="1350710"/>
                </a:lnTo>
                <a:cubicBezTo>
                  <a:pt x="3884295" y="1402145"/>
                  <a:pt x="3936683" y="1433578"/>
                  <a:pt x="3994785" y="1428815"/>
                </a:cubicBezTo>
                <a:cubicBezTo>
                  <a:pt x="4051935" y="1424053"/>
                  <a:pt x="4097655" y="1385953"/>
                  <a:pt x="4109085" y="1333565"/>
                </a:cubicBezTo>
                <a:lnTo>
                  <a:pt x="4329113" y="321058"/>
                </a:lnTo>
                <a:lnTo>
                  <a:pt x="4589145" y="2003173"/>
                </a:lnTo>
                <a:cubicBezTo>
                  <a:pt x="4598670" y="2061275"/>
                  <a:pt x="4649153" y="2103185"/>
                  <a:pt x="4711065" y="2105090"/>
                </a:cubicBezTo>
                <a:cubicBezTo>
                  <a:pt x="4712018" y="2105090"/>
                  <a:pt x="4713923" y="2105090"/>
                  <a:pt x="4714875" y="2105090"/>
                </a:cubicBezTo>
                <a:cubicBezTo>
                  <a:pt x="4775835" y="2105090"/>
                  <a:pt x="4826318" y="2066038"/>
                  <a:pt x="4839653" y="2008888"/>
                </a:cubicBezTo>
                <a:lnTo>
                  <a:pt x="5060633" y="982093"/>
                </a:lnTo>
                <a:lnTo>
                  <a:pt x="5132070" y="1112585"/>
                </a:lnTo>
                <a:cubicBezTo>
                  <a:pt x="5168265" y="1183070"/>
                  <a:pt x="5248275" y="1229743"/>
                  <a:pt x="5334953" y="1229743"/>
                </a:cubicBezTo>
                <a:lnTo>
                  <a:pt x="5476875" y="1229743"/>
                </a:lnTo>
                <a:cubicBezTo>
                  <a:pt x="5477828" y="1229743"/>
                  <a:pt x="5479733" y="1229743"/>
                  <a:pt x="5480685" y="1229743"/>
                </a:cubicBezTo>
                <a:lnTo>
                  <a:pt x="5656898" y="1229743"/>
                </a:lnTo>
                <a:cubicBezTo>
                  <a:pt x="5623560" y="1173545"/>
                  <a:pt x="5594033" y="1118300"/>
                  <a:pt x="5568315" y="1066865"/>
                </a:cubicBezTo>
                <a:close/>
              </a:path>
            </a:pathLst>
          </a:custGeom>
          <a:solidFill>
            <a:srgbClr val="FFFFFF"/>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prstClr val="black"/>
              </a:solidFill>
              <a:effectLst/>
              <a:uLnTx/>
              <a:uFillTx/>
              <a:latin typeface="Arial"/>
              <a:ea typeface="+mn-ea"/>
              <a:cs typeface="+mn-cs"/>
            </a:endParaRPr>
          </a:p>
        </p:txBody>
      </p:sp>
      <p:sp>
        <p:nvSpPr>
          <p:cNvPr id="11" name="Freihandform: Form 9">
            <a:extLst>
              <a:ext uri="{FF2B5EF4-FFF2-40B4-BE49-F238E27FC236}">
                <a16:creationId xmlns:a16="http://schemas.microsoft.com/office/drawing/2014/main" id="{1CC03C6B-8301-4349-96A3-82CCED858526}"/>
              </a:ext>
            </a:extLst>
          </p:cNvPr>
          <p:cNvSpPr/>
          <p:nvPr/>
        </p:nvSpPr>
        <p:spPr>
          <a:xfrm>
            <a:off x="8120000" y="2535901"/>
            <a:ext cx="4751809" cy="1932125"/>
          </a:xfrm>
          <a:custGeom>
            <a:avLst/>
            <a:gdLst>
              <a:gd name="connsiteX0" fmla="*/ 1145857 w 5172392"/>
              <a:gd name="connsiteY0" fmla="*/ 17 h 2103137"/>
              <a:gd name="connsiteX1" fmla="*/ 1267777 w 5172392"/>
              <a:gd name="connsiteY1" fmla="*/ 101935 h 2103137"/>
              <a:gd name="connsiteX2" fmla="*/ 1527810 w 5172392"/>
              <a:gd name="connsiteY2" fmla="*/ 1783097 h 2103137"/>
              <a:gd name="connsiteX3" fmla="*/ 1728788 w 5172392"/>
              <a:gd name="connsiteY3" fmla="*/ 852505 h 2103137"/>
              <a:gd name="connsiteX4" fmla="*/ 1837373 w 5172392"/>
              <a:gd name="connsiteY4" fmla="*/ 758207 h 2103137"/>
              <a:gd name="connsiteX5" fmla="*/ 1967865 w 5172392"/>
              <a:gd name="connsiteY5" fmla="*/ 823930 h 2103137"/>
              <a:gd name="connsiteX6" fmla="*/ 2085975 w 5172392"/>
              <a:gd name="connsiteY6" fmla="*/ 1039195 h 2103137"/>
              <a:gd name="connsiteX7" fmla="*/ 2143125 w 5172392"/>
              <a:gd name="connsiteY7" fmla="*/ 1066817 h 2103137"/>
              <a:gd name="connsiteX8" fmla="*/ 2574869 w 5172392"/>
              <a:gd name="connsiteY8" fmla="*/ 1066817 h 2103137"/>
              <a:gd name="connsiteX9" fmla="*/ 2575877 w 5172392"/>
              <a:gd name="connsiteY9" fmla="*/ 1064912 h 2103137"/>
              <a:gd name="connsiteX10" fmla="*/ 2728277 w 5172392"/>
              <a:gd name="connsiteY10" fmla="*/ 1064912 h 2103137"/>
              <a:gd name="connsiteX11" fmla="*/ 2803525 w 5172392"/>
              <a:gd name="connsiteY11" fmla="*/ 1025860 h 2103137"/>
              <a:gd name="connsiteX12" fmla="*/ 2878773 w 5172392"/>
              <a:gd name="connsiteY12" fmla="*/ 850600 h 2103137"/>
              <a:gd name="connsiteX13" fmla="*/ 3014027 w 5172392"/>
              <a:gd name="connsiteY13" fmla="*/ 767732 h 2103137"/>
              <a:gd name="connsiteX14" fmla="*/ 3145473 w 5172392"/>
              <a:gd name="connsiteY14" fmla="*/ 855362 h 2103137"/>
              <a:gd name="connsiteX15" fmla="*/ 3272155 w 5172392"/>
              <a:gd name="connsiteY15" fmla="*/ 1181117 h 2103137"/>
              <a:gd name="connsiteX16" fmla="*/ 3507423 w 5172392"/>
              <a:gd name="connsiteY16" fmla="*/ 96220 h 2103137"/>
              <a:gd name="connsiteX17" fmla="*/ 3635057 w 5172392"/>
              <a:gd name="connsiteY17" fmla="*/ 17 h 2103137"/>
              <a:gd name="connsiteX18" fmla="*/ 3756977 w 5172392"/>
              <a:gd name="connsiteY18" fmla="*/ 101935 h 2103137"/>
              <a:gd name="connsiteX19" fmla="*/ 4017010 w 5172392"/>
              <a:gd name="connsiteY19" fmla="*/ 1783097 h 2103137"/>
              <a:gd name="connsiteX20" fmla="*/ 4217988 w 5172392"/>
              <a:gd name="connsiteY20" fmla="*/ 852505 h 2103137"/>
              <a:gd name="connsiteX21" fmla="*/ 4326573 w 5172392"/>
              <a:gd name="connsiteY21" fmla="*/ 758207 h 2103137"/>
              <a:gd name="connsiteX22" fmla="*/ 4457065 w 5172392"/>
              <a:gd name="connsiteY22" fmla="*/ 823930 h 2103137"/>
              <a:gd name="connsiteX23" fmla="*/ 4575175 w 5172392"/>
              <a:gd name="connsiteY23" fmla="*/ 1039195 h 2103137"/>
              <a:gd name="connsiteX24" fmla="*/ 4632325 w 5172392"/>
              <a:gd name="connsiteY24" fmla="*/ 1066817 h 2103137"/>
              <a:gd name="connsiteX25" fmla="*/ 5089525 w 5172392"/>
              <a:gd name="connsiteY25" fmla="*/ 1066817 h 2103137"/>
              <a:gd name="connsiteX26" fmla="*/ 5172392 w 5172392"/>
              <a:gd name="connsiteY26" fmla="*/ 1145875 h 2103137"/>
              <a:gd name="connsiteX27" fmla="*/ 5090477 w 5172392"/>
              <a:gd name="connsiteY27" fmla="*/ 1227790 h 2103137"/>
              <a:gd name="connsiteX28" fmla="*/ 4633277 w 5172392"/>
              <a:gd name="connsiteY28" fmla="*/ 1227790 h 2103137"/>
              <a:gd name="connsiteX29" fmla="*/ 4430396 w 5172392"/>
              <a:gd name="connsiteY29" fmla="*/ 1110632 h 2103137"/>
              <a:gd name="connsiteX30" fmla="*/ 4358958 w 5172392"/>
              <a:gd name="connsiteY30" fmla="*/ 980140 h 2103137"/>
              <a:gd name="connsiteX31" fmla="*/ 4137977 w 5172392"/>
              <a:gd name="connsiteY31" fmla="*/ 2006935 h 2103137"/>
              <a:gd name="connsiteX32" fmla="*/ 4013200 w 5172392"/>
              <a:gd name="connsiteY32" fmla="*/ 2103137 h 2103137"/>
              <a:gd name="connsiteX33" fmla="*/ 4009390 w 5172392"/>
              <a:gd name="connsiteY33" fmla="*/ 2103137 h 2103137"/>
              <a:gd name="connsiteX34" fmla="*/ 3887471 w 5172392"/>
              <a:gd name="connsiteY34" fmla="*/ 2001220 h 2103137"/>
              <a:gd name="connsiteX35" fmla="*/ 3627438 w 5172392"/>
              <a:gd name="connsiteY35" fmla="*/ 319105 h 2103137"/>
              <a:gd name="connsiteX36" fmla="*/ 3407410 w 5172392"/>
              <a:gd name="connsiteY36" fmla="*/ 1331612 h 2103137"/>
              <a:gd name="connsiteX37" fmla="*/ 3293110 w 5172392"/>
              <a:gd name="connsiteY37" fmla="*/ 1426862 h 2103137"/>
              <a:gd name="connsiteX38" fmla="*/ 3162618 w 5172392"/>
              <a:gd name="connsiteY38" fmla="*/ 1348757 h 2103137"/>
              <a:gd name="connsiteX39" fmla="*/ 3011170 w 5172392"/>
              <a:gd name="connsiteY39" fmla="*/ 959185 h 2103137"/>
              <a:gd name="connsiteX40" fmla="*/ 2954973 w 5172392"/>
              <a:gd name="connsiteY40" fmla="*/ 1089677 h 2103137"/>
              <a:gd name="connsiteX41" fmla="*/ 2728277 w 5172392"/>
              <a:gd name="connsiteY41" fmla="*/ 1228742 h 2103137"/>
              <a:gd name="connsiteX42" fmla="*/ 2489200 w 5172392"/>
              <a:gd name="connsiteY42" fmla="*/ 1228742 h 2103137"/>
              <a:gd name="connsiteX43" fmla="*/ 2489704 w 5172392"/>
              <a:gd name="connsiteY43" fmla="*/ 1227790 h 2103137"/>
              <a:gd name="connsiteX44" fmla="*/ 2144077 w 5172392"/>
              <a:gd name="connsiteY44" fmla="*/ 1227790 h 2103137"/>
              <a:gd name="connsiteX45" fmla="*/ 1941196 w 5172392"/>
              <a:gd name="connsiteY45" fmla="*/ 1110632 h 2103137"/>
              <a:gd name="connsiteX46" fmla="*/ 1869758 w 5172392"/>
              <a:gd name="connsiteY46" fmla="*/ 980140 h 2103137"/>
              <a:gd name="connsiteX47" fmla="*/ 1648777 w 5172392"/>
              <a:gd name="connsiteY47" fmla="*/ 2006935 h 2103137"/>
              <a:gd name="connsiteX48" fmla="*/ 1524000 w 5172392"/>
              <a:gd name="connsiteY48" fmla="*/ 2103137 h 2103137"/>
              <a:gd name="connsiteX49" fmla="*/ 1520190 w 5172392"/>
              <a:gd name="connsiteY49" fmla="*/ 2103137 h 2103137"/>
              <a:gd name="connsiteX50" fmla="*/ 1398271 w 5172392"/>
              <a:gd name="connsiteY50" fmla="*/ 2001220 h 2103137"/>
              <a:gd name="connsiteX51" fmla="*/ 1138238 w 5172392"/>
              <a:gd name="connsiteY51" fmla="*/ 319105 h 2103137"/>
              <a:gd name="connsiteX52" fmla="*/ 918210 w 5172392"/>
              <a:gd name="connsiteY52" fmla="*/ 1331612 h 2103137"/>
              <a:gd name="connsiteX53" fmla="*/ 803910 w 5172392"/>
              <a:gd name="connsiteY53" fmla="*/ 1426862 h 2103137"/>
              <a:gd name="connsiteX54" fmla="*/ 673418 w 5172392"/>
              <a:gd name="connsiteY54" fmla="*/ 1348757 h 2103137"/>
              <a:gd name="connsiteX55" fmla="*/ 521970 w 5172392"/>
              <a:gd name="connsiteY55" fmla="*/ 959185 h 2103137"/>
              <a:gd name="connsiteX56" fmla="*/ 465773 w 5172392"/>
              <a:gd name="connsiteY56" fmla="*/ 1089677 h 2103137"/>
              <a:gd name="connsiteX57" fmla="*/ 239077 w 5172392"/>
              <a:gd name="connsiteY57" fmla="*/ 1228742 h 2103137"/>
              <a:gd name="connsiteX58" fmla="*/ 0 w 5172392"/>
              <a:gd name="connsiteY58" fmla="*/ 1228742 h 2103137"/>
              <a:gd name="connsiteX59" fmla="*/ 86677 w 5172392"/>
              <a:gd name="connsiteY59" fmla="*/ 1064912 h 2103137"/>
              <a:gd name="connsiteX60" fmla="*/ 239077 w 5172392"/>
              <a:gd name="connsiteY60" fmla="*/ 1064912 h 2103137"/>
              <a:gd name="connsiteX61" fmla="*/ 314325 w 5172392"/>
              <a:gd name="connsiteY61" fmla="*/ 1025860 h 2103137"/>
              <a:gd name="connsiteX62" fmla="*/ 389573 w 5172392"/>
              <a:gd name="connsiteY62" fmla="*/ 850600 h 2103137"/>
              <a:gd name="connsiteX63" fmla="*/ 524827 w 5172392"/>
              <a:gd name="connsiteY63" fmla="*/ 767732 h 2103137"/>
              <a:gd name="connsiteX64" fmla="*/ 656273 w 5172392"/>
              <a:gd name="connsiteY64" fmla="*/ 855362 h 2103137"/>
              <a:gd name="connsiteX65" fmla="*/ 782955 w 5172392"/>
              <a:gd name="connsiteY65" fmla="*/ 1181117 h 2103137"/>
              <a:gd name="connsiteX66" fmla="*/ 1018223 w 5172392"/>
              <a:gd name="connsiteY66" fmla="*/ 96220 h 2103137"/>
              <a:gd name="connsiteX67" fmla="*/ 1145857 w 5172392"/>
              <a:gd name="connsiteY67" fmla="*/ 17 h 210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172392" h="2103137">
                <a:moveTo>
                  <a:pt x="1145857" y="17"/>
                </a:moveTo>
                <a:cubicBezTo>
                  <a:pt x="1207771" y="1922"/>
                  <a:pt x="1258252" y="43832"/>
                  <a:pt x="1267777" y="101935"/>
                </a:cubicBezTo>
                <a:lnTo>
                  <a:pt x="1527810" y="1783097"/>
                </a:lnTo>
                <a:lnTo>
                  <a:pt x="1728788" y="852505"/>
                </a:lnTo>
                <a:cubicBezTo>
                  <a:pt x="1740217" y="802022"/>
                  <a:pt x="1783080" y="764875"/>
                  <a:pt x="1837373" y="758207"/>
                </a:cubicBezTo>
                <a:cubicBezTo>
                  <a:pt x="1891665" y="751540"/>
                  <a:pt x="1944052" y="778210"/>
                  <a:pt x="1967865" y="823930"/>
                </a:cubicBezTo>
                <a:lnTo>
                  <a:pt x="2085975" y="1039195"/>
                </a:lnTo>
                <a:cubicBezTo>
                  <a:pt x="2092642" y="1052530"/>
                  <a:pt x="2114550" y="1066817"/>
                  <a:pt x="2143125" y="1066817"/>
                </a:cubicBezTo>
                <a:lnTo>
                  <a:pt x="2574869" y="1066817"/>
                </a:lnTo>
                <a:lnTo>
                  <a:pt x="2575877" y="1064912"/>
                </a:lnTo>
                <a:lnTo>
                  <a:pt x="2728277" y="1064912"/>
                </a:lnTo>
                <a:cubicBezTo>
                  <a:pt x="2761615" y="1064912"/>
                  <a:pt x="2794000" y="1048720"/>
                  <a:pt x="2803525" y="1025860"/>
                </a:cubicBezTo>
                <a:lnTo>
                  <a:pt x="2878773" y="850600"/>
                </a:lnTo>
                <a:cubicBezTo>
                  <a:pt x="2901632" y="799165"/>
                  <a:pt x="2954973" y="766780"/>
                  <a:pt x="3014027" y="767732"/>
                </a:cubicBezTo>
                <a:cubicBezTo>
                  <a:pt x="3074035" y="769637"/>
                  <a:pt x="3125470" y="802975"/>
                  <a:pt x="3145473" y="855362"/>
                </a:cubicBezTo>
                <a:lnTo>
                  <a:pt x="3272155" y="1181117"/>
                </a:lnTo>
                <a:lnTo>
                  <a:pt x="3507423" y="96220"/>
                </a:lnTo>
                <a:cubicBezTo>
                  <a:pt x="3519805" y="38117"/>
                  <a:pt x="3572193" y="-935"/>
                  <a:pt x="3635057" y="17"/>
                </a:cubicBezTo>
                <a:cubicBezTo>
                  <a:pt x="3696971" y="1922"/>
                  <a:pt x="3747452" y="43832"/>
                  <a:pt x="3756977" y="101935"/>
                </a:cubicBezTo>
                <a:lnTo>
                  <a:pt x="4017010" y="1783097"/>
                </a:lnTo>
                <a:lnTo>
                  <a:pt x="4217988" y="852505"/>
                </a:lnTo>
                <a:cubicBezTo>
                  <a:pt x="4229417" y="802022"/>
                  <a:pt x="4272280" y="764875"/>
                  <a:pt x="4326573" y="758207"/>
                </a:cubicBezTo>
                <a:cubicBezTo>
                  <a:pt x="4380865" y="751540"/>
                  <a:pt x="4433252" y="778210"/>
                  <a:pt x="4457065" y="823930"/>
                </a:cubicBezTo>
                <a:lnTo>
                  <a:pt x="4575175" y="1039195"/>
                </a:lnTo>
                <a:cubicBezTo>
                  <a:pt x="4581842" y="1052530"/>
                  <a:pt x="4603750" y="1066817"/>
                  <a:pt x="4632325" y="1066817"/>
                </a:cubicBezTo>
                <a:lnTo>
                  <a:pt x="5089525" y="1066817"/>
                </a:lnTo>
                <a:cubicBezTo>
                  <a:pt x="5134292" y="1066817"/>
                  <a:pt x="5171440" y="1103012"/>
                  <a:pt x="5172392" y="1145875"/>
                </a:cubicBezTo>
                <a:cubicBezTo>
                  <a:pt x="5172392" y="1190642"/>
                  <a:pt x="5136198" y="1227790"/>
                  <a:pt x="5090477" y="1227790"/>
                </a:cubicBezTo>
                <a:lnTo>
                  <a:pt x="4633277" y="1227790"/>
                </a:lnTo>
                <a:cubicBezTo>
                  <a:pt x="4546600" y="1227790"/>
                  <a:pt x="4466590" y="1181117"/>
                  <a:pt x="4430396" y="1110632"/>
                </a:cubicBezTo>
                <a:lnTo>
                  <a:pt x="4358958" y="980140"/>
                </a:lnTo>
                <a:lnTo>
                  <a:pt x="4137977" y="2006935"/>
                </a:lnTo>
                <a:cubicBezTo>
                  <a:pt x="4124642" y="2064085"/>
                  <a:pt x="4074160" y="2103137"/>
                  <a:pt x="4013200" y="2103137"/>
                </a:cubicBezTo>
                <a:cubicBezTo>
                  <a:pt x="4012248" y="2103137"/>
                  <a:pt x="4010342" y="2103137"/>
                  <a:pt x="4009390" y="2103137"/>
                </a:cubicBezTo>
                <a:cubicBezTo>
                  <a:pt x="3947477" y="2101232"/>
                  <a:pt x="3896996" y="2059322"/>
                  <a:pt x="3887471" y="2001220"/>
                </a:cubicBezTo>
                <a:lnTo>
                  <a:pt x="3627438" y="319105"/>
                </a:lnTo>
                <a:lnTo>
                  <a:pt x="3407410" y="1331612"/>
                </a:lnTo>
                <a:cubicBezTo>
                  <a:pt x="3395980" y="1384000"/>
                  <a:pt x="3350260" y="1422100"/>
                  <a:pt x="3293110" y="1426862"/>
                </a:cubicBezTo>
                <a:cubicBezTo>
                  <a:pt x="3235007" y="1431625"/>
                  <a:pt x="3182620" y="1400192"/>
                  <a:pt x="3162618" y="1348757"/>
                </a:cubicBezTo>
                <a:lnTo>
                  <a:pt x="3011170" y="959185"/>
                </a:lnTo>
                <a:lnTo>
                  <a:pt x="2954973" y="1089677"/>
                </a:lnTo>
                <a:cubicBezTo>
                  <a:pt x="2918777" y="1174450"/>
                  <a:pt x="2829243" y="1228742"/>
                  <a:pt x="2728277" y="1228742"/>
                </a:cubicBezTo>
                <a:lnTo>
                  <a:pt x="2489200" y="1228742"/>
                </a:lnTo>
                <a:lnTo>
                  <a:pt x="2489704" y="1227790"/>
                </a:lnTo>
                <a:lnTo>
                  <a:pt x="2144077" y="1227790"/>
                </a:lnTo>
                <a:cubicBezTo>
                  <a:pt x="2057400" y="1227790"/>
                  <a:pt x="1977390" y="1181117"/>
                  <a:pt x="1941196" y="1110632"/>
                </a:cubicBezTo>
                <a:lnTo>
                  <a:pt x="1869758" y="980140"/>
                </a:lnTo>
                <a:lnTo>
                  <a:pt x="1648777" y="2006935"/>
                </a:lnTo>
                <a:cubicBezTo>
                  <a:pt x="1635442" y="2064085"/>
                  <a:pt x="1584960" y="2103137"/>
                  <a:pt x="1524000" y="2103137"/>
                </a:cubicBezTo>
                <a:cubicBezTo>
                  <a:pt x="1523048" y="2103137"/>
                  <a:pt x="1521142" y="2103137"/>
                  <a:pt x="1520190" y="2103137"/>
                </a:cubicBezTo>
                <a:cubicBezTo>
                  <a:pt x="1458277" y="2101232"/>
                  <a:pt x="1407796" y="2059322"/>
                  <a:pt x="1398271" y="2001220"/>
                </a:cubicBezTo>
                <a:lnTo>
                  <a:pt x="1138238" y="319105"/>
                </a:lnTo>
                <a:lnTo>
                  <a:pt x="918210" y="1331612"/>
                </a:lnTo>
                <a:cubicBezTo>
                  <a:pt x="906780" y="1384000"/>
                  <a:pt x="861060" y="1422100"/>
                  <a:pt x="803910" y="1426862"/>
                </a:cubicBezTo>
                <a:cubicBezTo>
                  <a:pt x="745807" y="1431625"/>
                  <a:pt x="693420" y="1400192"/>
                  <a:pt x="673418" y="1348757"/>
                </a:cubicBezTo>
                <a:lnTo>
                  <a:pt x="521970" y="959185"/>
                </a:lnTo>
                <a:lnTo>
                  <a:pt x="465773" y="1089677"/>
                </a:lnTo>
                <a:cubicBezTo>
                  <a:pt x="429577" y="1174450"/>
                  <a:pt x="340043" y="1228742"/>
                  <a:pt x="239077" y="1228742"/>
                </a:cubicBezTo>
                <a:lnTo>
                  <a:pt x="0" y="1228742"/>
                </a:lnTo>
                <a:cubicBezTo>
                  <a:pt x="32385" y="1171592"/>
                  <a:pt x="60960" y="1117300"/>
                  <a:pt x="86677" y="1064912"/>
                </a:cubicBezTo>
                <a:lnTo>
                  <a:pt x="239077" y="1064912"/>
                </a:lnTo>
                <a:cubicBezTo>
                  <a:pt x="272415" y="1064912"/>
                  <a:pt x="304800" y="1048720"/>
                  <a:pt x="314325" y="1025860"/>
                </a:cubicBezTo>
                <a:lnTo>
                  <a:pt x="389573" y="850600"/>
                </a:lnTo>
                <a:cubicBezTo>
                  <a:pt x="412432" y="799165"/>
                  <a:pt x="465773" y="766780"/>
                  <a:pt x="524827" y="767732"/>
                </a:cubicBezTo>
                <a:cubicBezTo>
                  <a:pt x="584835" y="769637"/>
                  <a:pt x="636270" y="802975"/>
                  <a:pt x="656273" y="855362"/>
                </a:cubicBezTo>
                <a:lnTo>
                  <a:pt x="782955" y="1181117"/>
                </a:lnTo>
                <a:lnTo>
                  <a:pt x="1018223" y="96220"/>
                </a:lnTo>
                <a:cubicBezTo>
                  <a:pt x="1030605" y="38117"/>
                  <a:pt x="1082993" y="-935"/>
                  <a:pt x="1145857" y="17"/>
                </a:cubicBezTo>
                <a:close/>
              </a:path>
            </a:pathLst>
          </a:custGeom>
          <a:solidFill>
            <a:srgbClr val="FFFFFF"/>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prstClr val="black"/>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13983C6A-3A6C-4E10-84D8-7AC0AC4E6A8E}"/>
              </a:ext>
            </a:extLst>
          </p:cNvPr>
          <p:cNvGrpSpPr/>
          <p:nvPr/>
        </p:nvGrpSpPr>
        <p:grpSpPr>
          <a:xfrm>
            <a:off x="3454282" y="1293966"/>
            <a:ext cx="5189043" cy="4780174"/>
            <a:chOff x="3962401" y="1590675"/>
            <a:chExt cx="3601444" cy="3389524"/>
          </a:xfrm>
        </p:grpSpPr>
        <p:sp>
          <p:nvSpPr>
            <p:cNvPr id="9" name="Freihandform: Form 7">
              <a:extLst>
                <a:ext uri="{FF2B5EF4-FFF2-40B4-BE49-F238E27FC236}">
                  <a16:creationId xmlns:a16="http://schemas.microsoft.com/office/drawing/2014/main" id="{85C906FA-E33F-4399-B934-8C4AA5567E4C}"/>
                </a:ext>
              </a:extLst>
            </p:cNvPr>
            <p:cNvSpPr/>
            <p:nvPr/>
          </p:nvSpPr>
          <p:spPr>
            <a:xfrm>
              <a:off x="3962401" y="1590675"/>
              <a:ext cx="3601444" cy="3389524"/>
            </a:xfrm>
            <a:custGeom>
              <a:avLst/>
              <a:gdLst>
                <a:gd name="connsiteX0" fmla="*/ 2300405 w 3190875"/>
                <a:gd name="connsiteY0" fmla="*/ 109 h 3000375"/>
                <a:gd name="connsiteX1" fmla="*/ 1591745 w 3190875"/>
                <a:gd name="connsiteY1" fmla="*/ 372537 h 3000375"/>
                <a:gd name="connsiteX2" fmla="*/ 872607 w 3190875"/>
                <a:gd name="connsiteY2" fmla="*/ 22017 h 3000375"/>
                <a:gd name="connsiteX3" fmla="*/ 118 w 3190875"/>
                <a:gd name="connsiteY3" fmla="*/ 918319 h 3000375"/>
                <a:gd name="connsiteX4" fmla="*/ 50600 w 3190875"/>
                <a:gd name="connsiteY4" fmla="*/ 1204069 h 3000375"/>
                <a:gd name="connsiteX5" fmla="*/ 1461252 w 3190875"/>
                <a:gd name="connsiteY5" fmla="*/ 2938572 h 3000375"/>
                <a:gd name="connsiteX6" fmla="*/ 1799390 w 3190875"/>
                <a:gd name="connsiteY6" fmla="*/ 2933810 h 3000375"/>
                <a:gd name="connsiteX7" fmla="*/ 3149082 w 3190875"/>
                <a:gd name="connsiteY7" fmla="*/ 1182162 h 3000375"/>
                <a:gd name="connsiteX8" fmla="*/ 3199565 w 3190875"/>
                <a:gd name="connsiteY8" fmla="*/ 873552 h 3000375"/>
                <a:gd name="connsiteX9" fmla="*/ 2300405 w 3190875"/>
                <a:gd name="connsiteY9" fmla="*/ 109 h 3000375"/>
                <a:gd name="connsiteX10" fmla="*/ 2300405 w 3190875"/>
                <a:gd name="connsiteY10" fmla="*/ 109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90875" h="3000375">
                  <a:moveTo>
                    <a:pt x="2300405" y="109"/>
                  </a:moveTo>
                  <a:cubicBezTo>
                    <a:pt x="2019418" y="3919"/>
                    <a:pt x="1755575" y="142984"/>
                    <a:pt x="1591745" y="372537"/>
                  </a:cubicBezTo>
                  <a:cubicBezTo>
                    <a:pt x="1421248" y="148699"/>
                    <a:pt x="1153595" y="17254"/>
                    <a:pt x="872607" y="22017"/>
                  </a:cubicBezTo>
                  <a:cubicBezTo>
                    <a:pt x="384927" y="29637"/>
                    <a:pt x="-5598" y="431592"/>
                    <a:pt x="118" y="918319"/>
                  </a:cubicBezTo>
                  <a:cubicBezTo>
                    <a:pt x="-835" y="932607"/>
                    <a:pt x="2975" y="1088817"/>
                    <a:pt x="50600" y="1204069"/>
                  </a:cubicBezTo>
                  <a:cubicBezTo>
                    <a:pt x="165852" y="1565067"/>
                    <a:pt x="503990" y="2158475"/>
                    <a:pt x="1461252" y="2938572"/>
                  </a:cubicBezTo>
                  <a:cubicBezTo>
                    <a:pt x="1572695" y="3038585"/>
                    <a:pt x="1708902" y="3024297"/>
                    <a:pt x="1799390" y="2933810"/>
                  </a:cubicBezTo>
                  <a:cubicBezTo>
                    <a:pt x="2715695" y="2139425"/>
                    <a:pt x="3039545" y="1543159"/>
                    <a:pt x="3149082" y="1182162"/>
                  </a:cubicBezTo>
                  <a:cubicBezTo>
                    <a:pt x="3198613" y="1041192"/>
                    <a:pt x="3199565" y="877362"/>
                    <a:pt x="3199565" y="873552"/>
                  </a:cubicBezTo>
                  <a:cubicBezTo>
                    <a:pt x="3192898" y="383967"/>
                    <a:pt x="2789038" y="-7511"/>
                    <a:pt x="2300405" y="109"/>
                  </a:cubicBezTo>
                  <a:lnTo>
                    <a:pt x="2300405" y="109"/>
                  </a:lnTo>
                  <a:close/>
                </a:path>
              </a:pathLst>
            </a:custGeom>
            <a:solidFill>
              <a:srgbClr val="FFFFFF"/>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prstClr val="black"/>
                </a:solidFill>
                <a:effectLst/>
                <a:uLnTx/>
                <a:uFillTx/>
                <a:latin typeface="Arial"/>
                <a:ea typeface="+mn-ea"/>
                <a:cs typeface="+mn-cs"/>
              </a:endParaRPr>
            </a:p>
          </p:txBody>
        </p:sp>
        <p:sp>
          <p:nvSpPr>
            <p:cNvPr id="10" name="Freihandform: Form 8">
              <a:extLst>
                <a:ext uri="{FF2B5EF4-FFF2-40B4-BE49-F238E27FC236}">
                  <a16:creationId xmlns:a16="http://schemas.microsoft.com/office/drawing/2014/main" id="{F50CF2C4-1C8E-4A76-90A6-594C5873A074}"/>
                </a:ext>
              </a:extLst>
            </p:cNvPr>
            <p:cNvSpPr/>
            <p:nvPr/>
          </p:nvSpPr>
          <p:spPr>
            <a:xfrm>
              <a:off x="4133850" y="1762125"/>
              <a:ext cx="3297549" cy="3073791"/>
            </a:xfrm>
            <a:custGeom>
              <a:avLst/>
              <a:gdLst>
                <a:gd name="connsiteX0" fmla="*/ 2116912 w 2876550"/>
                <a:gd name="connsiteY0" fmla="*/ 953 h 2676525"/>
                <a:gd name="connsiteX1" fmla="*/ 2877960 w 2876550"/>
                <a:gd name="connsiteY1" fmla="*/ 762000 h 2676525"/>
                <a:gd name="connsiteX2" fmla="*/ 2877960 w 2876550"/>
                <a:gd name="connsiteY2" fmla="*/ 777240 h 2676525"/>
                <a:gd name="connsiteX3" fmla="*/ 2877007 w 2876550"/>
                <a:gd name="connsiteY3" fmla="*/ 797243 h 2676525"/>
                <a:gd name="connsiteX4" fmla="*/ 2830335 w 2876550"/>
                <a:gd name="connsiteY4" fmla="*/ 1028700 h 2676525"/>
                <a:gd name="connsiteX5" fmla="*/ 1548270 w 2876550"/>
                <a:gd name="connsiteY5" fmla="*/ 2636520 h 2676525"/>
                <a:gd name="connsiteX6" fmla="*/ 1439685 w 2876550"/>
                <a:gd name="connsiteY6" fmla="*/ 2676525 h 2676525"/>
                <a:gd name="connsiteX7" fmla="*/ 1331100 w 2876550"/>
                <a:gd name="connsiteY7" fmla="*/ 2636520 h 2676525"/>
                <a:gd name="connsiteX8" fmla="*/ 40462 w 2876550"/>
                <a:gd name="connsiteY8" fmla="*/ 1004888 h 2676525"/>
                <a:gd name="connsiteX9" fmla="*/ 6172 w 2876550"/>
                <a:gd name="connsiteY9" fmla="*/ 855345 h 2676525"/>
                <a:gd name="connsiteX10" fmla="*/ 457 w 2876550"/>
                <a:gd name="connsiteY10" fmla="*/ 761048 h 2676525"/>
                <a:gd name="connsiteX11" fmla="*/ 761505 w 2876550"/>
                <a:gd name="connsiteY11" fmla="*/ 0 h 2676525"/>
                <a:gd name="connsiteX12" fmla="*/ 1377773 w 2876550"/>
                <a:gd name="connsiteY12" fmla="*/ 315278 h 2676525"/>
                <a:gd name="connsiteX13" fmla="*/ 1439685 w 2876550"/>
                <a:gd name="connsiteY13" fmla="*/ 346710 h 2676525"/>
                <a:gd name="connsiteX14" fmla="*/ 1501598 w 2876550"/>
                <a:gd name="connsiteY14" fmla="*/ 315278 h 2676525"/>
                <a:gd name="connsiteX15" fmla="*/ 2116912 w 2876550"/>
                <a:gd name="connsiteY15" fmla="*/ 953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6550" h="2676525">
                  <a:moveTo>
                    <a:pt x="2116912" y="953"/>
                  </a:moveTo>
                  <a:cubicBezTo>
                    <a:pt x="2536965" y="953"/>
                    <a:pt x="2877960" y="341948"/>
                    <a:pt x="2877960" y="762000"/>
                  </a:cubicBezTo>
                  <a:cubicBezTo>
                    <a:pt x="2877960" y="766763"/>
                    <a:pt x="2877960" y="772478"/>
                    <a:pt x="2877960" y="777240"/>
                  </a:cubicBezTo>
                  <a:cubicBezTo>
                    <a:pt x="2877960" y="782003"/>
                    <a:pt x="2877960" y="788670"/>
                    <a:pt x="2877007" y="797243"/>
                  </a:cubicBezTo>
                  <a:cubicBezTo>
                    <a:pt x="2873198" y="878205"/>
                    <a:pt x="2857005" y="956310"/>
                    <a:pt x="2830335" y="1028700"/>
                  </a:cubicBezTo>
                  <a:cubicBezTo>
                    <a:pt x="2732228" y="1333500"/>
                    <a:pt x="2436953" y="1889760"/>
                    <a:pt x="1548270" y="2636520"/>
                  </a:cubicBezTo>
                  <a:cubicBezTo>
                    <a:pt x="1516837" y="2663190"/>
                    <a:pt x="1478737" y="2676525"/>
                    <a:pt x="1439685" y="2676525"/>
                  </a:cubicBezTo>
                  <a:cubicBezTo>
                    <a:pt x="1400632" y="2676525"/>
                    <a:pt x="1362532" y="2663190"/>
                    <a:pt x="1331100" y="2636520"/>
                  </a:cubicBezTo>
                  <a:cubicBezTo>
                    <a:pt x="419557" y="1869758"/>
                    <a:pt x="130950" y="1304925"/>
                    <a:pt x="40462" y="1004888"/>
                  </a:cubicBezTo>
                  <a:cubicBezTo>
                    <a:pt x="24270" y="957263"/>
                    <a:pt x="12840" y="906780"/>
                    <a:pt x="6172" y="855345"/>
                  </a:cubicBezTo>
                  <a:cubicBezTo>
                    <a:pt x="-2400" y="793433"/>
                    <a:pt x="457" y="761048"/>
                    <a:pt x="457" y="761048"/>
                  </a:cubicBezTo>
                  <a:cubicBezTo>
                    <a:pt x="457" y="340995"/>
                    <a:pt x="341453" y="0"/>
                    <a:pt x="761505" y="0"/>
                  </a:cubicBezTo>
                  <a:cubicBezTo>
                    <a:pt x="1014870" y="0"/>
                    <a:pt x="1239660" y="124778"/>
                    <a:pt x="1377773" y="315278"/>
                  </a:cubicBezTo>
                  <a:cubicBezTo>
                    <a:pt x="1393012" y="336233"/>
                    <a:pt x="1415873" y="346710"/>
                    <a:pt x="1439685" y="346710"/>
                  </a:cubicBezTo>
                  <a:cubicBezTo>
                    <a:pt x="1463498" y="346710"/>
                    <a:pt x="1486357" y="336233"/>
                    <a:pt x="1501598" y="315278"/>
                  </a:cubicBezTo>
                  <a:cubicBezTo>
                    <a:pt x="1638757" y="124778"/>
                    <a:pt x="1863548" y="953"/>
                    <a:pt x="2116912" y="953"/>
                  </a:cubicBezTo>
                </a:path>
              </a:pathLst>
            </a:custGeom>
            <a:solidFill>
              <a:schemeClr val="accent1"/>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3" name="Subtitle 2">
            <a:extLst>
              <a:ext uri="{FF2B5EF4-FFF2-40B4-BE49-F238E27FC236}">
                <a16:creationId xmlns:a16="http://schemas.microsoft.com/office/drawing/2014/main" id="{DE3FEEA9-23A0-455A-BE2F-893399ECEB6C}"/>
              </a:ext>
            </a:extLst>
          </p:cNvPr>
          <p:cNvSpPr>
            <a:spLocks noGrp="1"/>
          </p:cNvSpPr>
          <p:nvPr>
            <p:ph type="subTitle" idx="1"/>
          </p:nvPr>
        </p:nvSpPr>
        <p:spPr>
          <a:xfrm>
            <a:off x="4155440" y="2399460"/>
            <a:ext cx="3896774" cy="1275619"/>
          </a:xfrm>
        </p:spPr>
        <p:txBody>
          <a:bodyPr/>
          <a:lstStyle/>
          <a:p>
            <a:pPr algn="ctr"/>
            <a:r>
              <a:rPr lang="en-US" sz="6600" b="0" dirty="0">
                <a:solidFill>
                  <a:schemeClr val="bg1"/>
                </a:solidFill>
              </a:rPr>
              <a:t>Thank you</a:t>
            </a:r>
            <a:endParaRPr lang="bg-BG" sz="6600" b="0" dirty="0">
              <a:solidFill>
                <a:schemeClr val="bg1"/>
              </a:solidFill>
            </a:endParaRPr>
          </a:p>
        </p:txBody>
      </p:sp>
      <p:pic>
        <p:nvPicPr>
          <p:cNvPr id="12" name="Grafik 57" descr="Klatschende Hände">
            <a:extLst>
              <a:ext uri="{FF2B5EF4-FFF2-40B4-BE49-F238E27FC236}">
                <a16:creationId xmlns:a16="http://schemas.microsoft.com/office/drawing/2014/main" id="{5A43F0B0-F4EE-4306-990E-FBFB1771318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8851" y="4243553"/>
            <a:ext cx="2019166" cy="2019166"/>
          </a:xfrm>
          <a:prstGeom prst="rect">
            <a:avLst/>
          </a:prstGeom>
        </p:spPr>
      </p:pic>
      <p:pic>
        <p:nvPicPr>
          <p:cNvPr id="15" name="Grafik 57" descr="Klatschende Hände">
            <a:extLst>
              <a:ext uri="{FF2B5EF4-FFF2-40B4-BE49-F238E27FC236}">
                <a16:creationId xmlns:a16="http://schemas.microsoft.com/office/drawing/2014/main" id="{03B5EC33-4B23-4BE5-8C60-83ADE0873B8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9908520" y="3971298"/>
            <a:ext cx="2163873" cy="2171961"/>
          </a:xfrm>
          <a:prstGeom prst="rect">
            <a:avLst/>
          </a:prstGeom>
        </p:spPr>
      </p:pic>
      <p:pic>
        <p:nvPicPr>
          <p:cNvPr id="16" name="Grafik 57" descr="Klatschende Hände">
            <a:extLst>
              <a:ext uri="{FF2B5EF4-FFF2-40B4-BE49-F238E27FC236}">
                <a16:creationId xmlns:a16="http://schemas.microsoft.com/office/drawing/2014/main" id="{005A9D18-1ECC-4763-BE01-02410907BEB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63712" y="5320357"/>
            <a:ext cx="1094762" cy="1094762"/>
          </a:xfrm>
          <a:prstGeom prst="rect">
            <a:avLst/>
          </a:prstGeom>
        </p:spPr>
      </p:pic>
      <p:pic>
        <p:nvPicPr>
          <p:cNvPr id="17" name="Grafik 57" descr="Klatschende Hände">
            <a:extLst>
              <a:ext uri="{FF2B5EF4-FFF2-40B4-BE49-F238E27FC236}">
                <a16:creationId xmlns:a16="http://schemas.microsoft.com/office/drawing/2014/main" id="{0778F19D-9584-463C-A595-A28A526015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9565184" y="5314620"/>
            <a:ext cx="1173220" cy="1177605"/>
          </a:xfrm>
          <a:prstGeom prst="rect">
            <a:avLst/>
          </a:prstGeom>
        </p:spPr>
      </p:pic>
      <p:sp>
        <p:nvSpPr>
          <p:cNvPr id="13" name="Foliennummernplatzhalter 12">
            <a:extLst>
              <a:ext uri="{FF2B5EF4-FFF2-40B4-BE49-F238E27FC236}">
                <a16:creationId xmlns:a16="http://schemas.microsoft.com/office/drawing/2014/main" id="{5E2172F4-047A-4BD5-9B24-782D5EBBF10E}"/>
              </a:ext>
            </a:extLst>
          </p:cNvPr>
          <p:cNvSpPr>
            <a:spLocks noGrp="1"/>
          </p:cNvSpPr>
          <p:nvPr>
            <p:ph type="sldNum" sz="quarter" idx="12"/>
          </p:nvPr>
        </p:nvSpPr>
        <p:spPr/>
        <p:txBody>
          <a:bodyPr/>
          <a:lstStyle/>
          <a:p>
            <a:fld id="{0C7C1E0B-BD27-42F8-BC6B-2F0636970842}" type="slidenum">
              <a:rPr lang="de-DE" smtClean="0"/>
              <a:pPr/>
              <a:t>49</a:t>
            </a:fld>
            <a:endParaRPr lang="de-DE"/>
          </a:p>
        </p:txBody>
      </p:sp>
    </p:spTree>
    <p:extLst>
      <p:ext uri="{BB962C8B-B14F-4D97-AF65-F5344CB8AC3E}">
        <p14:creationId xmlns:p14="http://schemas.microsoft.com/office/powerpoint/2010/main" val="209612988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56B9DC90-31EE-4B84-A5C5-9158FBEDCAAE}"/>
              </a:ext>
            </a:extLst>
          </p:cNvPr>
          <p:cNvSpPr>
            <a:spLocks noGrp="1"/>
          </p:cNvSpPr>
          <p:nvPr>
            <p:ph type="subTitle" idx="1"/>
          </p:nvPr>
        </p:nvSpPr>
        <p:spPr/>
        <p:txBody>
          <a:bodyPr/>
          <a:lstStyle/>
          <a:p>
            <a:r>
              <a:rPr lang="en-US"/>
              <a:t>We focus on the things that matter</a:t>
            </a:r>
          </a:p>
          <a:p>
            <a:endParaRPr lang="de-DE"/>
          </a:p>
        </p:txBody>
      </p:sp>
      <p:sp>
        <p:nvSpPr>
          <p:cNvPr id="5" name="Titel 4">
            <a:extLst>
              <a:ext uri="{FF2B5EF4-FFF2-40B4-BE49-F238E27FC236}">
                <a16:creationId xmlns:a16="http://schemas.microsoft.com/office/drawing/2014/main" id="{82F69CC6-637C-4530-82C8-2F80D2542658}"/>
              </a:ext>
            </a:extLst>
          </p:cNvPr>
          <p:cNvSpPr>
            <a:spLocks noGrp="1"/>
          </p:cNvSpPr>
          <p:nvPr>
            <p:ph type="title"/>
          </p:nvPr>
        </p:nvSpPr>
        <p:spPr/>
        <p:txBody>
          <a:bodyPr/>
          <a:lstStyle/>
          <a:p>
            <a:r>
              <a:rPr lang="en-US"/>
              <a:t>Schwarz Group</a:t>
            </a:r>
          </a:p>
        </p:txBody>
      </p:sp>
      <p:sp>
        <p:nvSpPr>
          <p:cNvPr id="7" name="Titelplatzhalter 12">
            <a:extLst>
              <a:ext uri="{FF2B5EF4-FFF2-40B4-BE49-F238E27FC236}">
                <a16:creationId xmlns:a16="http://schemas.microsoft.com/office/drawing/2014/main" id="{17906F0B-EA74-408E-B029-E67817442FD8}"/>
              </a:ext>
            </a:extLst>
          </p:cNvPr>
          <p:cNvSpPr txBox="1">
            <a:spLocks/>
          </p:cNvSpPr>
          <p:nvPr>
            <p:custDataLst>
              <p:tags r:id="rId1"/>
            </p:custDataLst>
          </p:nvPr>
        </p:nvSpPr>
        <p:spPr bwMode="gray">
          <a:xfrm>
            <a:off x="431800" y="4401234"/>
            <a:ext cx="2721600" cy="1178351"/>
          </a:xfrm>
          <a:prstGeom prst="rect">
            <a:avLst/>
          </a:prstGeom>
          <a:noFill/>
        </p:spPr>
        <p:txBody>
          <a:bodyPr vert="horz" wrap="none" lIns="0" tIns="0" rIns="0" bIns="0" rtlCol="0" anchor="t" anchorCtr="0">
            <a:noAutofit/>
          </a:bodyPr>
          <a:lstStyle>
            <a:lvl1pPr algn="l" defTabSz="914400" rtl="0" eaLnBrk="1" latinLnBrk="0" hangingPunct="1">
              <a:lnSpc>
                <a:spcPct val="90000"/>
              </a:lnSpc>
              <a:spcBef>
                <a:spcPct val="0"/>
              </a:spcBef>
              <a:buNone/>
              <a:defRPr sz="2400" b="0" i="0" kern="1200" baseline="0">
                <a:solidFill>
                  <a:srgbClr val="06507F"/>
                </a:solidFill>
                <a:latin typeface="Calibri" panose="020B0503020203020204" pitchFamily="34" charset="0"/>
                <a:ea typeface="Calibri"/>
                <a:cs typeface="Calibri"/>
              </a:defRPr>
            </a:lvl1pPr>
          </a:lstStyle>
          <a:p>
            <a:pPr algn="ctr">
              <a:lnSpc>
                <a:spcPct val="100000"/>
              </a:lnSpc>
              <a:spcBef>
                <a:spcPts val="0"/>
              </a:spcBef>
              <a:spcAft>
                <a:spcPts val="1200"/>
              </a:spcAft>
            </a:pPr>
            <a:r>
              <a:rPr lang="en-US" b="1">
                <a:solidFill>
                  <a:srgbClr val="791F82"/>
                </a:solidFill>
                <a:latin typeface="Arial"/>
                <a:ea typeface="Tahoma" panose="020B0604030504040204" pitchFamily="34" charset="0"/>
                <a:cs typeface="Tahoma" panose="020B0604030504040204" pitchFamily="34" charset="0"/>
              </a:rPr>
              <a:t>Quality</a:t>
            </a:r>
          </a:p>
          <a:p>
            <a:pPr algn="ctr">
              <a:lnSpc>
                <a:spcPct val="100000"/>
              </a:lnSpc>
              <a:spcBef>
                <a:spcPts val="0"/>
              </a:spcBef>
            </a:pPr>
            <a:r>
              <a:rPr lang="en-US" sz="1600">
                <a:solidFill>
                  <a:prstClr val="black"/>
                </a:solidFill>
                <a:latin typeface="Arial"/>
                <a:ea typeface="Tahoma" panose="020B0604030504040204" pitchFamily="34" charset="0"/>
                <a:cs typeface="Tahoma" panose="020B0604030504040204" pitchFamily="34" charset="0"/>
              </a:rPr>
              <a:t>High-quality </a:t>
            </a:r>
          </a:p>
          <a:p>
            <a:pPr algn="ctr">
              <a:lnSpc>
                <a:spcPct val="100000"/>
              </a:lnSpc>
              <a:spcBef>
                <a:spcPts val="0"/>
              </a:spcBef>
            </a:pPr>
            <a:r>
              <a:rPr lang="en-US" sz="1600">
                <a:solidFill>
                  <a:prstClr val="black"/>
                </a:solidFill>
                <a:latin typeface="Arial"/>
                <a:ea typeface="Tahoma" panose="020B0604030504040204" pitchFamily="34" charset="0"/>
                <a:cs typeface="Tahoma" panose="020B0604030504040204" pitchFamily="34" charset="0"/>
              </a:rPr>
              <a:t>products, daily</a:t>
            </a:r>
          </a:p>
        </p:txBody>
      </p:sp>
      <p:sp>
        <p:nvSpPr>
          <p:cNvPr id="8" name="Titelplatzhalter 12">
            <a:extLst>
              <a:ext uri="{FF2B5EF4-FFF2-40B4-BE49-F238E27FC236}">
                <a16:creationId xmlns:a16="http://schemas.microsoft.com/office/drawing/2014/main" id="{6BD8DF3A-AEAA-4825-B3E3-99110FCF6E79}"/>
              </a:ext>
            </a:extLst>
          </p:cNvPr>
          <p:cNvSpPr txBox="1">
            <a:spLocks/>
          </p:cNvSpPr>
          <p:nvPr>
            <p:custDataLst>
              <p:tags r:id="rId2"/>
            </p:custDataLst>
          </p:nvPr>
        </p:nvSpPr>
        <p:spPr bwMode="gray">
          <a:xfrm>
            <a:off x="3302000" y="4401234"/>
            <a:ext cx="2721600" cy="1178351"/>
          </a:xfrm>
          <a:prstGeom prst="rect">
            <a:avLst/>
          </a:prstGeom>
          <a:noFill/>
        </p:spPr>
        <p:txBody>
          <a:bodyPr vert="horz" wrap="none" lIns="0" tIns="0" rIns="0" bIns="0" rtlCol="0" anchor="t" anchorCtr="0">
            <a:noAutofit/>
          </a:bodyPr>
          <a:lstStyle>
            <a:lvl1pPr algn="l" defTabSz="914400" rtl="0" eaLnBrk="1" latinLnBrk="0" hangingPunct="1">
              <a:lnSpc>
                <a:spcPct val="90000"/>
              </a:lnSpc>
              <a:spcBef>
                <a:spcPct val="0"/>
              </a:spcBef>
              <a:buNone/>
              <a:defRPr sz="2400" b="0" i="0" kern="1200" baseline="0">
                <a:solidFill>
                  <a:srgbClr val="06507F"/>
                </a:solidFill>
                <a:latin typeface="Calibri" panose="020B0503020203020204" pitchFamily="34" charset="0"/>
                <a:ea typeface="Calibri"/>
                <a:cs typeface="Calibri"/>
              </a:defRPr>
            </a:lvl1pPr>
          </a:lstStyle>
          <a:p>
            <a:pPr algn="ctr">
              <a:lnSpc>
                <a:spcPct val="100000"/>
              </a:lnSpc>
              <a:spcBef>
                <a:spcPts val="0"/>
              </a:spcBef>
              <a:spcAft>
                <a:spcPts val="1200"/>
              </a:spcAft>
            </a:pPr>
            <a:r>
              <a:rPr lang="en-US" b="1">
                <a:solidFill>
                  <a:srgbClr val="791F82"/>
                </a:solidFill>
                <a:latin typeface="Arial"/>
                <a:ea typeface="Tahoma" panose="020B0604030504040204" pitchFamily="34" charset="0"/>
                <a:cs typeface="Tahoma" panose="020B0604030504040204" pitchFamily="34" charset="0"/>
              </a:rPr>
              <a:t>Price</a:t>
            </a:r>
          </a:p>
          <a:p>
            <a:pPr algn="ctr">
              <a:lnSpc>
                <a:spcPct val="100000"/>
              </a:lnSpc>
              <a:spcBef>
                <a:spcPts val="0"/>
              </a:spcBef>
            </a:pPr>
            <a:r>
              <a:rPr lang="en-US" sz="1600">
                <a:solidFill>
                  <a:prstClr val="black"/>
                </a:solidFill>
                <a:latin typeface="Arial"/>
                <a:ea typeface="Tahoma" panose="020B0604030504040204" pitchFamily="34" charset="0"/>
                <a:cs typeface="Tahoma" panose="020B0604030504040204" pitchFamily="34" charset="0"/>
              </a:rPr>
              <a:t>Top quality</a:t>
            </a:r>
            <a:br>
              <a:rPr lang="en-US" sz="1600">
                <a:solidFill>
                  <a:prstClr val="black"/>
                </a:solidFill>
                <a:latin typeface="Arial"/>
                <a:ea typeface="Tahoma" panose="020B0604030504040204" pitchFamily="34" charset="0"/>
                <a:cs typeface="Tahoma" panose="020B0604030504040204" pitchFamily="34" charset="0"/>
              </a:rPr>
            </a:br>
            <a:r>
              <a:rPr lang="en-US" sz="1600">
                <a:solidFill>
                  <a:prstClr val="black"/>
                </a:solidFill>
                <a:latin typeface="Arial"/>
                <a:ea typeface="Tahoma" panose="020B0604030504040204" pitchFamily="34" charset="0"/>
                <a:cs typeface="Tahoma" panose="020B0604030504040204" pitchFamily="34" charset="0"/>
              </a:rPr>
              <a:t>at unbeatable prices</a:t>
            </a:r>
          </a:p>
        </p:txBody>
      </p:sp>
      <p:sp>
        <p:nvSpPr>
          <p:cNvPr id="9" name="Rechteck 8">
            <a:extLst>
              <a:ext uri="{FF2B5EF4-FFF2-40B4-BE49-F238E27FC236}">
                <a16:creationId xmlns:a16="http://schemas.microsoft.com/office/drawing/2014/main" id="{13D5D794-A53C-4E49-965D-D510CCF2126A}"/>
              </a:ext>
            </a:extLst>
          </p:cNvPr>
          <p:cNvSpPr/>
          <p:nvPr>
            <p:custDataLst>
              <p:tags r:id="rId3"/>
            </p:custDataLst>
          </p:nvPr>
        </p:nvSpPr>
        <p:spPr bwMode="gray">
          <a:xfrm>
            <a:off x="6218238" y="4431714"/>
            <a:ext cx="2721600" cy="1178351"/>
          </a:xfrm>
          <a:prstGeom prst="rect">
            <a:avLst/>
          </a:prstGeom>
        </p:spPr>
        <p:txBody>
          <a:bodyPr vert="horz" wrap="none" lIns="0" tIns="0" rIns="0" bIns="0" anchor="t" anchorCtr="0">
            <a:noAutofit/>
          </a:bodyPr>
          <a:lstStyle/>
          <a:p>
            <a:pPr algn="ctr" defTabSz="914309">
              <a:spcAft>
                <a:spcPts val="1200"/>
              </a:spcAft>
            </a:pPr>
            <a:r>
              <a:rPr lang="en-US" sz="2400" b="1" dirty="0">
                <a:solidFill>
                  <a:srgbClr val="791F82"/>
                </a:solidFill>
                <a:ea typeface="Tahoma" panose="020B0604030504040204" pitchFamily="34" charset="0"/>
                <a:cs typeface="Tahoma" panose="020B0604030504040204" pitchFamily="34" charset="0"/>
              </a:rPr>
              <a:t>Efficiency</a:t>
            </a:r>
            <a:r>
              <a:rPr lang="en-US" sz="2400" dirty="0">
                <a:solidFill>
                  <a:prstClr val="black"/>
                </a:solidFill>
                <a:ea typeface="Tahoma" panose="020B0604030504040204" pitchFamily="34" charset="0"/>
                <a:cs typeface="Tahoma" panose="020B0604030504040204" pitchFamily="34" charset="0"/>
              </a:rPr>
              <a:t> </a:t>
            </a:r>
          </a:p>
          <a:p>
            <a:pPr algn="ctr" defTabSz="914309"/>
            <a:r>
              <a:rPr lang="en-US" sz="1600" dirty="0">
                <a:solidFill>
                  <a:prstClr val="black"/>
                </a:solidFill>
                <a:ea typeface="Tahoma" panose="020B0604030504040204" pitchFamily="34" charset="0"/>
                <a:cs typeface="Tahoma" panose="020B0604030504040204" pitchFamily="34" charset="0"/>
              </a:rPr>
              <a:t>Process pros with a system </a:t>
            </a:r>
          </a:p>
          <a:p>
            <a:pPr algn="ctr" defTabSz="914309"/>
            <a:r>
              <a:rPr lang="en-US" sz="1600" dirty="0">
                <a:solidFill>
                  <a:prstClr val="black"/>
                </a:solidFill>
                <a:ea typeface="Tahoma" panose="020B0604030504040204" pitchFamily="34" charset="0"/>
                <a:cs typeface="Tahoma" panose="020B0604030504040204" pitchFamily="34" charset="0"/>
              </a:rPr>
              <a:t>and price edge</a:t>
            </a:r>
          </a:p>
        </p:txBody>
      </p:sp>
      <p:sp>
        <p:nvSpPr>
          <p:cNvPr id="10" name="Rechteck 9">
            <a:extLst>
              <a:ext uri="{FF2B5EF4-FFF2-40B4-BE49-F238E27FC236}">
                <a16:creationId xmlns:a16="http://schemas.microsoft.com/office/drawing/2014/main" id="{610E025D-9C18-4A93-AA1F-E10FD78235E6}"/>
              </a:ext>
            </a:extLst>
          </p:cNvPr>
          <p:cNvSpPr/>
          <p:nvPr>
            <p:custDataLst>
              <p:tags r:id="rId4"/>
            </p:custDataLst>
          </p:nvPr>
        </p:nvSpPr>
        <p:spPr bwMode="gray">
          <a:xfrm>
            <a:off x="9032875" y="4401234"/>
            <a:ext cx="2721600" cy="1178351"/>
          </a:xfrm>
          <a:prstGeom prst="rect">
            <a:avLst/>
          </a:prstGeom>
        </p:spPr>
        <p:txBody>
          <a:bodyPr vert="horz" wrap="none" lIns="0" tIns="0" rIns="0" bIns="0" anchor="t" anchorCtr="0">
            <a:noAutofit/>
          </a:bodyPr>
          <a:lstStyle/>
          <a:p>
            <a:pPr algn="ctr" defTabSz="914309">
              <a:spcAft>
                <a:spcPts val="1200"/>
              </a:spcAft>
            </a:pPr>
            <a:r>
              <a:rPr lang="en-US" sz="2400" b="1">
                <a:solidFill>
                  <a:srgbClr val="791F82"/>
                </a:solidFill>
                <a:ea typeface="Tahoma" panose="020B0604030504040204" pitchFamily="34" charset="0"/>
                <a:cs typeface="Tahoma" panose="020B0604030504040204" pitchFamily="34" charset="0"/>
              </a:rPr>
              <a:t>Responsibility</a:t>
            </a:r>
          </a:p>
          <a:p>
            <a:pPr algn="ctr" defTabSz="914309"/>
            <a:r>
              <a:rPr lang="en-US" sz="1600">
                <a:solidFill>
                  <a:prstClr val="black"/>
                </a:solidFill>
                <a:ea typeface="Tahoma" panose="020B0604030504040204" pitchFamily="34" charset="0"/>
                <a:cs typeface="Tahoma" panose="020B0604030504040204" pitchFamily="34" charset="0"/>
              </a:rPr>
              <a:t>Economic, social and </a:t>
            </a:r>
          </a:p>
          <a:p>
            <a:pPr algn="ctr" defTabSz="914309"/>
            <a:r>
              <a:rPr lang="en-US" sz="1600">
                <a:solidFill>
                  <a:prstClr val="black"/>
                </a:solidFill>
                <a:ea typeface="Tahoma" panose="020B0604030504040204" pitchFamily="34" charset="0"/>
                <a:cs typeface="Tahoma" panose="020B0604030504040204" pitchFamily="34" charset="0"/>
              </a:rPr>
              <a:t>ecological responsibility</a:t>
            </a:r>
          </a:p>
        </p:txBody>
      </p:sp>
      <p:pic>
        <p:nvPicPr>
          <p:cNvPr id="11" name="Grafik 10">
            <a:extLst>
              <a:ext uri="{FF2B5EF4-FFF2-40B4-BE49-F238E27FC236}">
                <a16:creationId xmlns:a16="http://schemas.microsoft.com/office/drawing/2014/main" id="{E269133D-B500-4AC6-8396-DB815E90D4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4341" y="1833460"/>
            <a:ext cx="2287794" cy="2287794"/>
          </a:xfrm>
          <a:prstGeom prst="rect">
            <a:avLst/>
          </a:prstGeom>
        </p:spPr>
      </p:pic>
      <p:pic>
        <p:nvPicPr>
          <p:cNvPr id="12" name="Grafik 11">
            <a:extLst>
              <a:ext uri="{FF2B5EF4-FFF2-40B4-BE49-F238E27FC236}">
                <a16:creationId xmlns:a16="http://schemas.microsoft.com/office/drawing/2014/main" id="{C88DC60B-43FB-4A71-8156-97AC9E4B919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18903" y="1767471"/>
            <a:ext cx="2287794" cy="2287794"/>
          </a:xfrm>
          <a:prstGeom prst="rect">
            <a:avLst/>
          </a:prstGeom>
        </p:spPr>
      </p:pic>
      <p:pic>
        <p:nvPicPr>
          <p:cNvPr id="13" name="Grafik 12">
            <a:extLst>
              <a:ext uri="{FF2B5EF4-FFF2-40B4-BE49-F238E27FC236}">
                <a16:creationId xmlns:a16="http://schemas.microsoft.com/office/drawing/2014/main" id="{43777138-1B2D-4D9B-9216-21BF68714B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5618" y="1842096"/>
            <a:ext cx="2287794" cy="2287794"/>
          </a:xfrm>
          <a:prstGeom prst="rect">
            <a:avLst/>
          </a:prstGeom>
        </p:spPr>
      </p:pic>
      <p:pic>
        <p:nvPicPr>
          <p:cNvPr id="14" name="Grafik 13">
            <a:extLst>
              <a:ext uri="{FF2B5EF4-FFF2-40B4-BE49-F238E27FC236}">
                <a16:creationId xmlns:a16="http://schemas.microsoft.com/office/drawing/2014/main" id="{4E43ACBE-1CB1-4AEC-92F6-AFAC0FDB603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249779" y="1842191"/>
            <a:ext cx="2287794" cy="2287794"/>
          </a:xfrm>
          <a:prstGeom prst="rect">
            <a:avLst/>
          </a:prstGeom>
        </p:spPr>
      </p:pic>
      <p:sp>
        <p:nvSpPr>
          <p:cNvPr id="15" name="Foliennummernplatzhalter 14">
            <a:extLst>
              <a:ext uri="{FF2B5EF4-FFF2-40B4-BE49-F238E27FC236}">
                <a16:creationId xmlns:a16="http://schemas.microsoft.com/office/drawing/2014/main" id="{7A0013FB-936D-4A68-962B-4EA6723FE30B}"/>
              </a:ext>
            </a:extLst>
          </p:cNvPr>
          <p:cNvSpPr>
            <a:spLocks noGrp="1"/>
          </p:cNvSpPr>
          <p:nvPr>
            <p:ph type="sldNum" sz="quarter" idx="12"/>
          </p:nvPr>
        </p:nvSpPr>
        <p:spPr/>
        <p:txBody>
          <a:bodyPr/>
          <a:lstStyle/>
          <a:p>
            <a:fld id="{0C7C1E0B-BD27-42F8-BC6B-2F0636970842}" type="slidenum">
              <a:rPr lang="de-DE" smtClean="0"/>
              <a:pPr/>
              <a:t>5</a:t>
            </a:fld>
            <a:endParaRPr lang="de-DE"/>
          </a:p>
        </p:txBody>
      </p:sp>
    </p:spTree>
    <p:extLst>
      <p:ext uri="{BB962C8B-B14F-4D97-AF65-F5344CB8AC3E}">
        <p14:creationId xmlns:p14="http://schemas.microsoft.com/office/powerpoint/2010/main" val="13512406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D2CC002-6FDA-4FF3-804B-D944222306FF}"/>
              </a:ext>
            </a:extLst>
          </p:cNvPr>
          <p:cNvSpPr>
            <a:spLocks noGrp="1"/>
          </p:cNvSpPr>
          <p:nvPr>
            <p:ph type="sldNum" sz="quarter" idx="12"/>
          </p:nvPr>
        </p:nvSpPr>
        <p:spPr/>
        <p:txBody>
          <a:bodyPr/>
          <a:lstStyle/>
          <a:p>
            <a:fld id="{0C7C1E0B-BD27-42F8-BC6B-2F0636970842}" type="slidenum">
              <a:rPr lang="de-DE" smtClean="0"/>
              <a:pPr/>
              <a:t>6</a:t>
            </a:fld>
            <a:endParaRPr lang="de-DE"/>
          </a:p>
        </p:txBody>
      </p:sp>
      <p:sp>
        <p:nvSpPr>
          <p:cNvPr id="3" name="Subtitle 2">
            <a:extLst>
              <a:ext uri="{FF2B5EF4-FFF2-40B4-BE49-F238E27FC236}">
                <a16:creationId xmlns:a16="http://schemas.microsoft.com/office/drawing/2014/main" id="{3A6CE49E-5B0D-44D3-9FA0-C3274C934AEB}"/>
              </a:ext>
            </a:extLst>
          </p:cNvPr>
          <p:cNvSpPr>
            <a:spLocks noGrp="1"/>
          </p:cNvSpPr>
          <p:nvPr>
            <p:ph type="subTitle" idx="4294967295"/>
          </p:nvPr>
        </p:nvSpPr>
        <p:spPr>
          <a:xfrm>
            <a:off x="426720" y="739775"/>
            <a:ext cx="10922318" cy="425450"/>
          </a:xfrm>
        </p:spPr>
        <p:txBody>
          <a:bodyPr/>
          <a:lstStyle/>
          <a:p>
            <a:r>
              <a:rPr lang="en-GB" dirty="0"/>
              <a:t>COUNTRIES OF OPERATIONS</a:t>
            </a:r>
            <a:endParaRPr lang="en-US" sz="1866" dirty="0"/>
          </a:p>
        </p:txBody>
      </p:sp>
      <p:sp>
        <p:nvSpPr>
          <p:cNvPr id="11" name="Textplatzhalter 18">
            <a:extLst>
              <a:ext uri="{FF2B5EF4-FFF2-40B4-BE49-F238E27FC236}">
                <a16:creationId xmlns:a16="http://schemas.microsoft.com/office/drawing/2014/main" id="{1378A507-DBEC-40AF-BE09-C4242F2D742A}"/>
              </a:ext>
            </a:extLst>
          </p:cNvPr>
          <p:cNvSpPr txBox="1">
            <a:spLocks/>
          </p:cNvSpPr>
          <p:nvPr/>
        </p:nvSpPr>
        <p:spPr>
          <a:xfrm>
            <a:off x="312512" y="331935"/>
            <a:ext cx="3440027" cy="433560"/>
          </a:xfrm>
          <a:prstGeom prst="rect">
            <a:avLst/>
          </a:prstGeom>
        </p:spPr>
        <p:txBody>
          <a:bodyPr/>
          <a:lstStyle>
            <a:lvl1pPr marL="0" indent="0" algn="l" defTabSz="914400" rtl="0" eaLnBrk="1" latinLnBrk="0" hangingPunct="1">
              <a:lnSpc>
                <a:spcPct val="11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Kaufland Office" panose="020B0503040000020003" pitchFamily="34" charset="0"/>
              <a:buChar char="−"/>
              <a:defRPr sz="1200" b="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SzPct val="90000"/>
              <a:buFont typeface="Kaufland Office" panose="020B0503040000020003" pitchFamily="34" charset="0"/>
              <a:buChar char="−"/>
              <a:defRPr sz="1200" kern="1200">
                <a:solidFill>
                  <a:schemeClr val="tx1"/>
                </a:solidFill>
                <a:latin typeface="+mn-lt"/>
                <a:ea typeface="+mn-ea"/>
                <a:cs typeface="+mn-cs"/>
              </a:defRPr>
            </a:lvl3pPr>
            <a:lvl4pPr marL="180000" indent="-180000" algn="l" defTabSz="914400" rtl="0" eaLnBrk="1" latinLnBrk="0" hangingPunct="1">
              <a:lnSpc>
                <a:spcPct val="110000"/>
              </a:lnSpc>
              <a:spcBef>
                <a:spcPts val="300"/>
              </a:spcBef>
              <a:spcAft>
                <a:spcPts val="300"/>
              </a:spcAft>
              <a:buClr>
                <a:schemeClr val="tx2"/>
              </a:buClr>
              <a:buSzPct val="90000"/>
              <a:buFont typeface="+mj-lt"/>
              <a:buAutoNum type="arabicPeriod"/>
              <a:defRPr sz="1200" kern="1200">
                <a:solidFill>
                  <a:schemeClr val="tx1"/>
                </a:solidFill>
                <a:latin typeface="+mn-lt"/>
                <a:ea typeface="+mn-ea"/>
                <a:cs typeface="+mn-cs"/>
              </a:defRPr>
            </a:lvl4pPr>
            <a:lvl5pPr marL="360000" indent="-180975" algn="l" defTabSz="914400" rtl="0" eaLnBrk="1" latinLnBrk="0" hangingPunct="1">
              <a:lnSpc>
                <a:spcPct val="110000"/>
              </a:lnSpc>
              <a:spcBef>
                <a:spcPts val="300"/>
              </a:spcBef>
              <a:spcAft>
                <a:spcPts val="300"/>
              </a:spcAft>
              <a:buClr>
                <a:schemeClr val="tx2"/>
              </a:buClr>
              <a:buSzPct val="100000"/>
              <a:buFont typeface="+mj-lt"/>
              <a:buAutoNum type="alphaLcPeriod"/>
              <a:defRPr sz="1200" kern="1200" baseline="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Clr>
                <a:schemeClr val="tx2"/>
              </a:buClr>
              <a:buFont typeface="+mj-lt"/>
              <a:buNone/>
              <a:defRPr sz="1400" b="1" kern="1200" cap="all" baseline="0">
                <a:solidFill>
                  <a:schemeClr val="accent4"/>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bg2"/>
                </a:solidFill>
                <a:latin typeface="+mn-lt"/>
                <a:ea typeface="+mn-ea"/>
                <a:cs typeface="+mn-cs"/>
              </a:defRPr>
            </a:lvl8pPr>
            <a:lvl9pPr marL="0" indent="0" algn="l" defTabSz="914400" rtl="0" eaLnBrk="1" latinLnBrk="0" hangingPunct="1">
              <a:lnSpc>
                <a:spcPct val="110000"/>
              </a:lnSpc>
              <a:spcBef>
                <a:spcPts val="300"/>
              </a:spcBef>
              <a:spcAft>
                <a:spcPts val="300"/>
              </a:spcAft>
              <a:buFont typeface="Arial" panose="020B0604020202020204" pitchFamily="34" charset="0"/>
              <a:buNone/>
              <a:defRPr sz="600" kern="1200">
                <a:solidFill>
                  <a:schemeClr val="tx1"/>
                </a:solidFill>
                <a:latin typeface="+mn-lt"/>
                <a:ea typeface="+mn-ea"/>
                <a:cs typeface="+mn-cs"/>
              </a:defRPr>
            </a:lvl9pPr>
          </a:lstStyle>
          <a:p>
            <a:r>
              <a:rPr lang="en-US" sz="2666" b="1" dirty="0">
                <a:solidFill>
                  <a:srgbClr val="7030A0"/>
                </a:solidFill>
              </a:rPr>
              <a:t>SCHWARZ GROUP</a:t>
            </a:r>
          </a:p>
        </p:txBody>
      </p:sp>
      <p:pic>
        <p:nvPicPr>
          <p:cNvPr id="9" name="Picture 8">
            <a:extLst>
              <a:ext uri="{FF2B5EF4-FFF2-40B4-BE49-F238E27FC236}">
                <a16:creationId xmlns:a16="http://schemas.microsoft.com/office/drawing/2014/main" id="{FB9D84B9-CF6D-4590-A1AF-29D29D2C560A}"/>
              </a:ext>
            </a:extLst>
          </p:cNvPr>
          <p:cNvPicPr>
            <a:picLocks noChangeAspect="1"/>
          </p:cNvPicPr>
          <p:nvPr/>
        </p:nvPicPr>
        <p:blipFill>
          <a:blip r:embed="rId2"/>
          <a:stretch>
            <a:fillRect/>
          </a:stretch>
        </p:blipFill>
        <p:spPr>
          <a:xfrm>
            <a:off x="1847849" y="1111465"/>
            <a:ext cx="8390305" cy="5442722"/>
          </a:xfrm>
          <a:prstGeom prst="rect">
            <a:avLst/>
          </a:prstGeom>
        </p:spPr>
      </p:pic>
    </p:spTree>
    <p:extLst>
      <p:ext uri="{BB962C8B-B14F-4D97-AF65-F5344CB8AC3E}">
        <p14:creationId xmlns:p14="http://schemas.microsoft.com/office/powerpoint/2010/main" val="391970693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BC12DB67-461F-419E-ADCE-16A212B5F9D4}"/>
              </a:ext>
            </a:extLst>
          </p:cNvPr>
          <p:cNvPicPr>
            <a:picLocks noChangeAspect="1"/>
          </p:cNvPicPr>
          <p:nvPr/>
        </p:nvPicPr>
        <p:blipFill>
          <a:blip r:embed="rId3"/>
          <a:stretch>
            <a:fillRect/>
          </a:stretch>
        </p:blipFill>
        <p:spPr>
          <a:xfrm>
            <a:off x="2680954" y="413673"/>
            <a:ext cx="6828504" cy="6144924"/>
          </a:xfrm>
          <a:prstGeom prst="rect">
            <a:avLst/>
          </a:prstGeom>
        </p:spPr>
      </p:pic>
      <p:sp>
        <p:nvSpPr>
          <p:cNvPr id="5" name="Titel 4">
            <a:extLst>
              <a:ext uri="{FF2B5EF4-FFF2-40B4-BE49-F238E27FC236}">
                <a16:creationId xmlns:a16="http://schemas.microsoft.com/office/drawing/2014/main" id="{658DD477-9052-4433-8F9D-316E6270CB0C}"/>
              </a:ext>
            </a:extLst>
          </p:cNvPr>
          <p:cNvSpPr>
            <a:spLocks noGrp="1"/>
          </p:cNvSpPr>
          <p:nvPr>
            <p:ph type="title"/>
          </p:nvPr>
        </p:nvSpPr>
        <p:spPr/>
        <p:txBody>
          <a:bodyPr/>
          <a:lstStyle/>
          <a:p>
            <a:r>
              <a:rPr lang="en-US"/>
              <a:t>SCHWARZ GROUP</a:t>
            </a:r>
          </a:p>
        </p:txBody>
      </p:sp>
      <p:sp>
        <p:nvSpPr>
          <p:cNvPr id="7" name="Foliennummernplatzhalter 6">
            <a:extLst>
              <a:ext uri="{FF2B5EF4-FFF2-40B4-BE49-F238E27FC236}">
                <a16:creationId xmlns:a16="http://schemas.microsoft.com/office/drawing/2014/main" id="{1AD8AFFD-FD8F-4FFA-A2F2-88147F51C88F}"/>
              </a:ext>
            </a:extLst>
          </p:cNvPr>
          <p:cNvSpPr>
            <a:spLocks noGrp="1"/>
          </p:cNvSpPr>
          <p:nvPr>
            <p:ph type="sldNum" sz="quarter" idx="12"/>
          </p:nvPr>
        </p:nvSpPr>
        <p:spPr/>
        <p:txBody>
          <a:bodyPr/>
          <a:lstStyle/>
          <a:p>
            <a:fld id="{0C7C1E0B-BD27-42F8-BC6B-2F0636970842}" type="slidenum">
              <a:rPr lang="de-DE" smtClean="0"/>
              <a:pPr/>
              <a:t>7</a:t>
            </a:fld>
            <a:endParaRPr lang="de-DE"/>
          </a:p>
        </p:txBody>
      </p:sp>
      <p:grpSp>
        <p:nvGrpSpPr>
          <p:cNvPr id="59" name="Gruppieren 58">
            <a:extLst>
              <a:ext uri="{FF2B5EF4-FFF2-40B4-BE49-F238E27FC236}">
                <a16:creationId xmlns:a16="http://schemas.microsoft.com/office/drawing/2014/main" id="{492397B7-AFB3-4BE7-90EB-8A98671132A5}"/>
              </a:ext>
            </a:extLst>
          </p:cNvPr>
          <p:cNvGrpSpPr/>
          <p:nvPr/>
        </p:nvGrpSpPr>
        <p:grpSpPr>
          <a:xfrm>
            <a:off x="4831874" y="2946642"/>
            <a:ext cx="2540315" cy="2537531"/>
            <a:chOff x="4599843" y="1892778"/>
            <a:chExt cx="3052372" cy="3049027"/>
          </a:xfrm>
        </p:grpSpPr>
        <p:grpSp>
          <p:nvGrpSpPr>
            <p:cNvPr id="60" name="Gruppieren 59">
              <a:extLst>
                <a:ext uri="{FF2B5EF4-FFF2-40B4-BE49-F238E27FC236}">
                  <a16:creationId xmlns:a16="http://schemas.microsoft.com/office/drawing/2014/main" id="{8EA6EBBD-AA81-4BAA-AC4F-18EF449C33BB}"/>
                </a:ext>
              </a:extLst>
            </p:cNvPr>
            <p:cNvGrpSpPr/>
            <p:nvPr/>
          </p:nvGrpSpPr>
          <p:grpSpPr>
            <a:xfrm>
              <a:off x="4603188" y="1892778"/>
              <a:ext cx="3049027" cy="3049027"/>
              <a:chOff x="4603188" y="1892778"/>
              <a:chExt cx="3049027" cy="3049027"/>
            </a:xfrm>
          </p:grpSpPr>
          <p:grpSp>
            <p:nvGrpSpPr>
              <p:cNvPr id="62" name="Gruppieren 61">
                <a:extLst>
                  <a:ext uri="{FF2B5EF4-FFF2-40B4-BE49-F238E27FC236}">
                    <a16:creationId xmlns:a16="http://schemas.microsoft.com/office/drawing/2014/main" id="{5C63AD16-C7FB-48AB-8E64-2A3C6C6132F5}"/>
                  </a:ext>
                </a:extLst>
              </p:cNvPr>
              <p:cNvGrpSpPr/>
              <p:nvPr/>
            </p:nvGrpSpPr>
            <p:grpSpPr>
              <a:xfrm>
                <a:off x="4603188" y="1892778"/>
                <a:ext cx="3049027" cy="3049027"/>
                <a:chOff x="4603188" y="1892778"/>
                <a:chExt cx="3049027" cy="3049027"/>
              </a:xfrm>
            </p:grpSpPr>
            <p:sp>
              <p:nvSpPr>
                <p:cNvPr id="64" name="Ellipse 63">
                  <a:extLst>
                    <a:ext uri="{FF2B5EF4-FFF2-40B4-BE49-F238E27FC236}">
                      <a16:creationId xmlns:a16="http://schemas.microsoft.com/office/drawing/2014/main" id="{7838FF47-93C8-4115-8A49-CE106ADCCB37}"/>
                    </a:ext>
                  </a:extLst>
                </p:cNvPr>
                <p:cNvSpPr/>
                <p:nvPr/>
              </p:nvSpPr>
              <p:spPr bwMode="gray">
                <a:xfrm>
                  <a:off x="4603188" y="1892778"/>
                  <a:ext cx="3049027" cy="304902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pic>
              <p:nvPicPr>
                <p:cNvPr id="65" name="Grafik 64" descr="Ein Bild, das Schild enthält.&#10;&#10;Automatisch generierte Beschreibung">
                  <a:extLst>
                    <a:ext uri="{FF2B5EF4-FFF2-40B4-BE49-F238E27FC236}">
                      <a16:creationId xmlns:a16="http://schemas.microsoft.com/office/drawing/2014/main" id="{A8392D8A-20BE-4143-8DCC-66F9B043F2DD}"/>
                    </a:ext>
                  </a:extLst>
                </p:cNvPr>
                <p:cNvPicPr>
                  <a:picLocks noChangeAspect="1"/>
                </p:cNvPicPr>
                <p:nvPr/>
              </p:nvPicPr>
              <p:blipFill>
                <a:blip r:embed="rId4"/>
                <a:stretch>
                  <a:fillRect/>
                </a:stretch>
              </p:blipFill>
              <p:spPr>
                <a:xfrm>
                  <a:off x="5410042" y="2835987"/>
                  <a:ext cx="1435319" cy="1162608"/>
                </a:xfrm>
                <a:prstGeom prst="rect">
                  <a:avLst/>
                </a:prstGeom>
              </p:spPr>
            </p:pic>
            <p:pic>
              <p:nvPicPr>
                <p:cNvPr id="66" name="Grafik 65" descr="Ein Bild, das Zeichnung enthält.&#10;&#10;Automatisch generierte Beschreibung">
                  <a:extLst>
                    <a:ext uri="{FF2B5EF4-FFF2-40B4-BE49-F238E27FC236}">
                      <a16:creationId xmlns:a16="http://schemas.microsoft.com/office/drawing/2014/main" id="{D9B14F8D-AECA-47AC-B261-5D740C462066}"/>
                    </a:ext>
                  </a:extLst>
                </p:cNvPr>
                <p:cNvPicPr>
                  <a:picLocks noChangeAspect="1"/>
                </p:cNvPicPr>
                <p:nvPr/>
              </p:nvPicPr>
              <p:blipFill>
                <a:blip r:embed="rId5"/>
                <a:stretch>
                  <a:fillRect/>
                </a:stretch>
              </p:blipFill>
              <p:spPr>
                <a:xfrm>
                  <a:off x="5460246" y="4262651"/>
                  <a:ext cx="1379576" cy="504925"/>
                </a:xfrm>
                <a:prstGeom prst="rect">
                  <a:avLst/>
                </a:prstGeom>
              </p:spPr>
            </p:pic>
            <p:pic>
              <p:nvPicPr>
                <p:cNvPr id="67" name="Grafik 66" descr="Ein Bild, das Zeichnung enthält.&#10;&#10;Automatisch generierte Beschreibung">
                  <a:extLst>
                    <a:ext uri="{FF2B5EF4-FFF2-40B4-BE49-F238E27FC236}">
                      <a16:creationId xmlns:a16="http://schemas.microsoft.com/office/drawing/2014/main" id="{EDD90090-60AC-4E96-9BD4-DF2EBC1D1E12}"/>
                    </a:ext>
                  </a:extLst>
                </p:cNvPr>
                <p:cNvPicPr>
                  <a:picLocks noChangeAspect="1"/>
                </p:cNvPicPr>
                <p:nvPr/>
              </p:nvPicPr>
              <p:blipFill>
                <a:blip r:embed="rId6"/>
                <a:stretch>
                  <a:fillRect/>
                </a:stretch>
              </p:blipFill>
              <p:spPr>
                <a:xfrm>
                  <a:off x="5437913" y="2092804"/>
                  <a:ext cx="1379575" cy="504925"/>
                </a:xfrm>
                <a:prstGeom prst="rect">
                  <a:avLst/>
                </a:prstGeom>
              </p:spPr>
            </p:pic>
            <p:grpSp>
              <p:nvGrpSpPr>
                <p:cNvPr id="68" name="Gruppieren 67">
                  <a:extLst>
                    <a:ext uri="{FF2B5EF4-FFF2-40B4-BE49-F238E27FC236}">
                      <a16:creationId xmlns:a16="http://schemas.microsoft.com/office/drawing/2014/main" id="{D0BE03C9-9D80-47EC-9558-96EC17971B95}"/>
                    </a:ext>
                  </a:extLst>
                </p:cNvPr>
                <p:cNvGrpSpPr/>
                <p:nvPr/>
              </p:nvGrpSpPr>
              <p:grpSpPr>
                <a:xfrm>
                  <a:off x="6948711" y="3277170"/>
                  <a:ext cx="703504" cy="555768"/>
                  <a:chOff x="6948711" y="3277170"/>
                  <a:chExt cx="703504" cy="555768"/>
                </a:xfrm>
              </p:grpSpPr>
              <p:sp>
                <p:nvSpPr>
                  <p:cNvPr id="74" name="Pfeil: Fünfeck 38">
                    <a:extLst>
                      <a:ext uri="{FF2B5EF4-FFF2-40B4-BE49-F238E27FC236}">
                        <a16:creationId xmlns:a16="http://schemas.microsoft.com/office/drawing/2014/main" id="{CB02ABCE-B894-4602-B553-63AB5EEF002A}"/>
                      </a:ext>
                    </a:extLst>
                  </p:cNvPr>
                  <p:cNvSpPr/>
                  <p:nvPr/>
                </p:nvSpPr>
                <p:spPr bwMode="gray">
                  <a:xfrm rot="5400000">
                    <a:off x="7123997" y="3240167"/>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75" name="Pfeil: Fünfeck 38">
                    <a:extLst>
                      <a:ext uri="{FF2B5EF4-FFF2-40B4-BE49-F238E27FC236}">
                        <a16:creationId xmlns:a16="http://schemas.microsoft.com/office/drawing/2014/main" id="{BC191AA5-0B6D-4984-9BD7-0665D5DB9D8B}"/>
                      </a:ext>
                    </a:extLst>
                  </p:cNvPr>
                  <p:cNvSpPr/>
                  <p:nvPr/>
                </p:nvSpPr>
                <p:spPr bwMode="gray">
                  <a:xfrm rot="5400000">
                    <a:off x="7123997" y="3151182"/>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76" name="Rechteck 45">
                    <a:extLst>
                      <a:ext uri="{FF2B5EF4-FFF2-40B4-BE49-F238E27FC236}">
                        <a16:creationId xmlns:a16="http://schemas.microsoft.com/office/drawing/2014/main" id="{DE5C1304-9828-44A0-9EA0-6274A20BF17B}"/>
                      </a:ext>
                    </a:extLst>
                  </p:cNvPr>
                  <p:cNvSpPr/>
                  <p:nvPr/>
                </p:nvSpPr>
                <p:spPr bwMode="gray">
                  <a:xfrm rot="18931262" flipV="1">
                    <a:off x="7103319" y="3277170"/>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77" name="Rechteck 45">
                    <a:extLst>
                      <a:ext uri="{FF2B5EF4-FFF2-40B4-BE49-F238E27FC236}">
                        <a16:creationId xmlns:a16="http://schemas.microsoft.com/office/drawing/2014/main" id="{F77A0D7B-F1B8-405C-91B9-2A1B076D6012}"/>
                      </a:ext>
                    </a:extLst>
                  </p:cNvPr>
                  <p:cNvSpPr/>
                  <p:nvPr/>
                </p:nvSpPr>
                <p:spPr bwMode="gray">
                  <a:xfrm rot="13468738">
                    <a:off x="7442599" y="3285056"/>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grpSp>
              <p:nvGrpSpPr>
                <p:cNvPr id="69" name="Gruppieren 68">
                  <a:extLst>
                    <a:ext uri="{FF2B5EF4-FFF2-40B4-BE49-F238E27FC236}">
                      <a16:creationId xmlns:a16="http://schemas.microsoft.com/office/drawing/2014/main" id="{3ADFC311-A99A-48C0-844E-E01DFD94129C}"/>
                    </a:ext>
                  </a:extLst>
                </p:cNvPr>
                <p:cNvGrpSpPr/>
                <p:nvPr/>
              </p:nvGrpSpPr>
              <p:grpSpPr>
                <a:xfrm>
                  <a:off x="4603946" y="3005384"/>
                  <a:ext cx="703504" cy="547882"/>
                  <a:chOff x="4603946" y="3005384"/>
                  <a:chExt cx="703504" cy="547882"/>
                </a:xfrm>
              </p:grpSpPr>
              <p:sp>
                <p:nvSpPr>
                  <p:cNvPr id="70" name="Pfeil: Fünfeck 38">
                    <a:extLst>
                      <a:ext uri="{FF2B5EF4-FFF2-40B4-BE49-F238E27FC236}">
                        <a16:creationId xmlns:a16="http://schemas.microsoft.com/office/drawing/2014/main" id="{E6A2199A-0C7E-454B-B0C8-3E840E69ACFF}"/>
                      </a:ext>
                    </a:extLst>
                  </p:cNvPr>
                  <p:cNvSpPr/>
                  <p:nvPr/>
                </p:nvSpPr>
                <p:spPr bwMode="gray">
                  <a:xfrm rot="16200000" flipV="1">
                    <a:off x="4779232" y="2974716"/>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71" name="Pfeil: Fünfeck 38">
                    <a:extLst>
                      <a:ext uri="{FF2B5EF4-FFF2-40B4-BE49-F238E27FC236}">
                        <a16:creationId xmlns:a16="http://schemas.microsoft.com/office/drawing/2014/main" id="{79560BA5-286A-41BE-808B-BD19D7059120}"/>
                      </a:ext>
                    </a:extLst>
                  </p:cNvPr>
                  <p:cNvSpPr/>
                  <p:nvPr/>
                </p:nvSpPr>
                <p:spPr bwMode="gray">
                  <a:xfrm rot="16200000" flipV="1">
                    <a:off x="4777327" y="2887636"/>
                    <a:ext cx="352932" cy="69969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 name="connsiteX0" fmla="*/ 3808 w 352932"/>
                      <a:gd name="connsiteY0" fmla="*/ 6350 h 699694"/>
                      <a:gd name="connsiteX1" fmla="*/ 3744 w 352932"/>
                      <a:gd name="connsiteY1" fmla="*/ 0 h 699694"/>
                      <a:gd name="connsiteX2" fmla="*/ 352932 w 352932"/>
                      <a:gd name="connsiteY2" fmla="*/ 347284 h 699694"/>
                      <a:gd name="connsiteX3" fmla="*/ 1839 w 352932"/>
                      <a:gd name="connsiteY3" fmla="*/ 698378 h 699694"/>
                      <a:gd name="connsiteX4" fmla="*/ 0 w 352932"/>
                      <a:gd name="connsiteY4" fmla="*/ 699648 h 69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699694">
                        <a:moveTo>
                          <a:pt x="3808" y="6350"/>
                        </a:moveTo>
                        <a:cubicBezTo>
                          <a:pt x="3787" y="4233"/>
                          <a:pt x="3765" y="2117"/>
                          <a:pt x="3744" y="0"/>
                        </a:cubicBezTo>
                        <a:lnTo>
                          <a:pt x="352932" y="347284"/>
                        </a:lnTo>
                        <a:lnTo>
                          <a:pt x="1839" y="698378"/>
                        </a:lnTo>
                        <a:cubicBezTo>
                          <a:pt x="2495" y="700071"/>
                          <a:pt x="0" y="699648"/>
                          <a:pt x="0" y="699648"/>
                        </a:cubicBezTo>
                      </a:path>
                    </a:pathLst>
                  </a:custGeom>
                  <a:noFill/>
                  <a:ln>
                    <a:solidFill>
                      <a:srgbClr val="E5E5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72" name="Rechteck 45">
                    <a:extLst>
                      <a:ext uri="{FF2B5EF4-FFF2-40B4-BE49-F238E27FC236}">
                        <a16:creationId xmlns:a16="http://schemas.microsoft.com/office/drawing/2014/main" id="{EBE4E61C-9A12-4749-B2EF-F27E35799359}"/>
                      </a:ext>
                    </a:extLst>
                  </p:cNvPr>
                  <p:cNvSpPr/>
                  <p:nvPr/>
                </p:nvSpPr>
                <p:spPr bwMode="gray">
                  <a:xfrm rot="2668738">
                    <a:off x="475292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sp>
                <p:nvSpPr>
                  <p:cNvPr id="73" name="Rechteck 45">
                    <a:extLst>
                      <a:ext uri="{FF2B5EF4-FFF2-40B4-BE49-F238E27FC236}">
                        <a16:creationId xmlns:a16="http://schemas.microsoft.com/office/drawing/2014/main" id="{A2CFB56C-0718-470C-B655-886C497E4F3C}"/>
                      </a:ext>
                    </a:extLst>
                  </p:cNvPr>
                  <p:cNvSpPr/>
                  <p:nvPr/>
                </p:nvSpPr>
                <p:spPr bwMode="gray">
                  <a:xfrm rot="18931262" flipH="1">
                    <a:off x="509135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grpSp>
          <p:sp>
            <p:nvSpPr>
              <p:cNvPr id="63" name="Ellipse 62">
                <a:extLst>
                  <a:ext uri="{FF2B5EF4-FFF2-40B4-BE49-F238E27FC236}">
                    <a16:creationId xmlns:a16="http://schemas.microsoft.com/office/drawing/2014/main" id="{FD8AFD80-E58F-44A3-BC42-24DD05B1641F}"/>
                  </a:ext>
                </a:extLst>
              </p:cNvPr>
              <p:cNvSpPr/>
              <p:nvPr/>
            </p:nvSpPr>
            <p:spPr bwMode="gray">
              <a:xfrm>
                <a:off x="5305375" y="2594965"/>
                <a:ext cx="1644652" cy="1644652"/>
              </a:xfrm>
              <a:prstGeom prst="ellipse">
                <a:avLst/>
              </a:prstGeom>
              <a:noFill/>
              <a:ln>
                <a:solidFill>
                  <a:srgbClr val="B1B1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p>
            </p:txBody>
          </p:sp>
        </p:grpSp>
        <p:sp>
          <p:nvSpPr>
            <p:cNvPr id="61" name="Ellipse 60">
              <a:extLst>
                <a:ext uri="{FF2B5EF4-FFF2-40B4-BE49-F238E27FC236}">
                  <a16:creationId xmlns:a16="http://schemas.microsoft.com/office/drawing/2014/main" id="{B1D4196C-2DD2-48E7-9158-76E8E8F16284}"/>
                </a:ext>
              </a:extLst>
            </p:cNvPr>
            <p:cNvSpPr/>
            <p:nvPr/>
          </p:nvSpPr>
          <p:spPr bwMode="gray">
            <a:xfrm>
              <a:off x="4599843" y="1892778"/>
              <a:ext cx="3049027" cy="3049027"/>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grpSp>
      <p:sp>
        <p:nvSpPr>
          <p:cNvPr id="4" name="Textfeld 3">
            <a:extLst>
              <a:ext uri="{FF2B5EF4-FFF2-40B4-BE49-F238E27FC236}">
                <a16:creationId xmlns:a16="http://schemas.microsoft.com/office/drawing/2014/main" id="{45A54836-F78F-4655-81E1-786057AD4045}"/>
              </a:ext>
            </a:extLst>
          </p:cNvPr>
          <p:cNvSpPr txBox="1"/>
          <p:nvPr/>
        </p:nvSpPr>
        <p:spPr bwMode="gray">
          <a:xfrm>
            <a:off x="5664809" y="2386118"/>
            <a:ext cx="914400" cy="318193"/>
          </a:xfrm>
          <a:prstGeom prst="rect">
            <a:avLst/>
          </a:prstGeom>
          <a:solidFill>
            <a:schemeClr val="accent1"/>
          </a:solidFill>
        </p:spPr>
        <p:txBody>
          <a:bodyPr wrap="none" lIns="0" tIns="0" rIns="0" bIns="0" rtlCol="0">
            <a:noAutofit/>
          </a:bodyPr>
          <a:lstStyle/>
          <a:p>
            <a:pPr algn="ctr"/>
            <a:r>
              <a:rPr lang="en-US" sz="1800">
                <a:solidFill>
                  <a:schemeClr val="bg1"/>
                </a:solidFill>
              </a:rPr>
              <a:t>Retail</a:t>
            </a:r>
          </a:p>
        </p:txBody>
      </p:sp>
      <p:sp>
        <p:nvSpPr>
          <p:cNvPr id="8" name="Textfeld 7">
            <a:extLst>
              <a:ext uri="{FF2B5EF4-FFF2-40B4-BE49-F238E27FC236}">
                <a16:creationId xmlns:a16="http://schemas.microsoft.com/office/drawing/2014/main" id="{839C0F71-D40F-460B-BE82-8E71D9CE5AC5}"/>
              </a:ext>
            </a:extLst>
          </p:cNvPr>
          <p:cNvSpPr txBox="1"/>
          <p:nvPr/>
        </p:nvSpPr>
        <p:spPr bwMode="gray">
          <a:xfrm>
            <a:off x="5646222" y="2422656"/>
            <a:ext cx="914400" cy="349324"/>
          </a:xfrm>
          <a:prstGeom prst="rect">
            <a:avLst/>
          </a:prstGeom>
          <a:solidFill>
            <a:schemeClr val="accent1"/>
          </a:solidFill>
        </p:spPr>
        <p:txBody>
          <a:bodyPr wrap="none" lIns="0" tIns="0" rIns="0" bIns="0" rtlCol="0">
            <a:prstTxWarp prst="textArchUp">
              <a:avLst/>
            </a:prstTxWarp>
            <a:noAutofit/>
          </a:bodyPr>
          <a:lstStyle/>
          <a:p>
            <a:pPr algn="ctr">
              <a:spcBef>
                <a:spcPts val="1200"/>
              </a:spcBef>
            </a:pPr>
            <a:r>
              <a:rPr lang="en-US" sz="2000" b="1">
                <a:solidFill>
                  <a:schemeClr val="bg1"/>
                </a:solidFill>
              </a:rPr>
              <a:t>Retail</a:t>
            </a:r>
          </a:p>
        </p:txBody>
      </p:sp>
      <p:sp>
        <p:nvSpPr>
          <p:cNvPr id="9" name="Textfeld 8">
            <a:extLst>
              <a:ext uri="{FF2B5EF4-FFF2-40B4-BE49-F238E27FC236}">
                <a16:creationId xmlns:a16="http://schemas.microsoft.com/office/drawing/2014/main" id="{CC72F745-234D-4257-AF57-0BF48C3B8E16}"/>
              </a:ext>
            </a:extLst>
          </p:cNvPr>
          <p:cNvSpPr txBox="1"/>
          <p:nvPr/>
        </p:nvSpPr>
        <p:spPr bwMode="gray">
          <a:xfrm rot="14386342">
            <a:off x="3962635" y="4872012"/>
            <a:ext cx="1418466" cy="349324"/>
          </a:xfrm>
          <a:prstGeom prst="rect">
            <a:avLst/>
          </a:prstGeom>
          <a:solidFill>
            <a:schemeClr val="accent1"/>
          </a:solidFill>
        </p:spPr>
        <p:txBody>
          <a:bodyPr wrap="none" lIns="0" tIns="0" rIns="0" bIns="0" rtlCol="0">
            <a:prstTxWarp prst="textArchUp">
              <a:avLst/>
            </a:prstTxWarp>
            <a:noAutofit/>
          </a:bodyPr>
          <a:lstStyle/>
          <a:p>
            <a:pPr algn="ctr">
              <a:spcBef>
                <a:spcPts val="1200"/>
              </a:spcBef>
            </a:pPr>
            <a:r>
              <a:rPr lang="en-US" sz="2000" b="1" dirty="0">
                <a:solidFill>
                  <a:schemeClr val="bg1"/>
                </a:solidFill>
              </a:rPr>
              <a:t>Production</a:t>
            </a:r>
          </a:p>
        </p:txBody>
      </p:sp>
      <p:sp>
        <p:nvSpPr>
          <p:cNvPr id="10" name="Halbbogen 9">
            <a:extLst>
              <a:ext uri="{FF2B5EF4-FFF2-40B4-BE49-F238E27FC236}">
                <a16:creationId xmlns:a16="http://schemas.microsoft.com/office/drawing/2014/main" id="{E0730D9B-69E1-4345-88CC-120158CA3B77}"/>
              </a:ext>
            </a:extLst>
          </p:cNvPr>
          <p:cNvSpPr/>
          <p:nvPr/>
        </p:nvSpPr>
        <p:spPr bwMode="gray">
          <a:xfrm rot="9978330">
            <a:off x="4218775" y="2083276"/>
            <a:ext cx="3806468" cy="4073982"/>
          </a:xfrm>
          <a:prstGeom prst="blockArc">
            <a:avLst>
              <a:gd name="adj1" fmla="val 10738884"/>
              <a:gd name="adj2" fmla="val 16521447"/>
              <a:gd name="adj3" fmla="val 116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solidFill>
                <a:schemeClr val="tx1"/>
              </a:solidFill>
            </a:endParaRPr>
          </a:p>
        </p:txBody>
      </p:sp>
      <p:sp>
        <p:nvSpPr>
          <p:cNvPr id="11" name="Textfeld 10">
            <a:extLst>
              <a:ext uri="{FF2B5EF4-FFF2-40B4-BE49-F238E27FC236}">
                <a16:creationId xmlns:a16="http://schemas.microsoft.com/office/drawing/2014/main" id="{AF99D744-0E99-4C75-BC74-4B7902F9534D}"/>
              </a:ext>
            </a:extLst>
          </p:cNvPr>
          <p:cNvSpPr txBox="1"/>
          <p:nvPr/>
        </p:nvSpPr>
        <p:spPr bwMode="gray">
          <a:xfrm rot="7247891">
            <a:off x="5271420" y="3574165"/>
            <a:ext cx="2812147" cy="2045069"/>
          </a:xfrm>
          <a:prstGeom prst="rect">
            <a:avLst/>
          </a:prstGeom>
          <a:noFill/>
        </p:spPr>
        <p:txBody>
          <a:bodyPr wrap="none" lIns="0" tIns="0" rIns="0" bIns="0" rtlCol="0">
            <a:prstTxWarp prst="textArchUp">
              <a:avLst>
                <a:gd name="adj" fmla="val 12248805"/>
              </a:avLst>
            </a:prstTxWarp>
            <a:noAutofit/>
          </a:bodyPr>
          <a:lstStyle/>
          <a:p>
            <a:pPr algn="ctr">
              <a:spcBef>
                <a:spcPts val="1200"/>
              </a:spcBef>
            </a:pPr>
            <a:r>
              <a:rPr lang="en-US" sz="2000" b="1" dirty="0">
                <a:solidFill>
                  <a:schemeClr val="bg1"/>
                </a:solidFill>
              </a:rPr>
              <a:t>Recyclables management</a:t>
            </a:r>
          </a:p>
        </p:txBody>
      </p:sp>
    </p:spTree>
    <p:extLst>
      <p:ext uri="{BB962C8B-B14F-4D97-AF65-F5344CB8AC3E}">
        <p14:creationId xmlns:p14="http://schemas.microsoft.com/office/powerpoint/2010/main" val="262413940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Grafik 75">
            <a:extLst>
              <a:ext uri="{FF2B5EF4-FFF2-40B4-BE49-F238E27FC236}">
                <a16:creationId xmlns:a16="http://schemas.microsoft.com/office/drawing/2014/main" id="{870B886E-2D4D-4654-ACA8-E377D3B6AB0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50821" y="4859775"/>
            <a:ext cx="432000" cy="432000"/>
          </a:xfrm>
          <a:prstGeom prst="rect">
            <a:avLst/>
          </a:prstGeom>
        </p:spPr>
      </p:pic>
      <p:sp>
        <p:nvSpPr>
          <p:cNvPr id="7" name="Untertitel 6"/>
          <p:cNvSpPr>
            <a:spLocks noGrp="1"/>
          </p:cNvSpPr>
          <p:nvPr>
            <p:ph type="subTitle" idx="1"/>
          </p:nvPr>
        </p:nvSpPr>
        <p:spPr/>
        <p:txBody>
          <a:bodyPr/>
          <a:lstStyle/>
          <a:p>
            <a:r>
              <a:rPr lang="en-US"/>
              <a:t>Our milestones, part I</a:t>
            </a:r>
          </a:p>
        </p:txBody>
      </p:sp>
      <p:sp>
        <p:nvSpPr>
          <p:cNvPr id="2" name="Titel 1"/>
          <p:cNvSpPr>
            <a:spLocks noGrp="1"/>
          </p:cNvSpPr>
          <p:nvPr>
            <p:ph type="title"/>
          </p:nvPr>
        </p:nvSpPr>
        <p:spPr/>
        <p:txBody>
          <a:bodyPr/>
          <a:lstStyle/>
          <a:p>
            <a:r>
              <a:rPr lang="en-US"/>
              <a:t>Schwarz Group</a:t>
            </a:r>
          </a:p>
        </p:txBody>
      </p:sp>
      <p:cxnSp>
        <p:nvCxnSpPr>
          <p:cNvPr id="10" name="Gerade Verbindung mit Pfeil 9">
            <a:extLst>
              <a:ext uri="{FF2B5EF4-FFF2-40B4-BE49-F238E27FC236}">
                <a16:creationId xmlns:a16="http://schemas.microsoft.com/office/drawing/2014/main" id="{85AAD9C5-8FF6-46B8-852F-8849D0D77DE0}"/>
              </a:ext>
            </a:extLst>
          </p:cNvPr>
          <p:cNvCxnSpPr/>
          <p:nvPr/>
        </p:nvCxnSpPr>
        <p:spPr bwMode="gray">
          <a:xfrm>
            <a:off x="0" y="3797300"/>
            <a:ext cx="11784013" cy="0"/>
          </a:xfrm>
          <a:prstGeom prst="straightConnector1">
            <a:avLst/>
          </a:prstGeom>
          <a:ln w="38100">
            <a:solidFill>
              <a:schemeClr val="bg2"/>
            </a:solidFill>
            <a:miter lim="800000"/>
            <a:headEnd w="med" len="med"/>
            <a:tailEnd type="triangle" w="med" len="lg"/>
          </a:ln>
        </p:spPr>
        <p:style>
          <a:lnRef idx="1">
            <a:schemeClr val="accent1"/>
          </a:lnRef>
          <a:fillRef idx="0">
            <a:schemeClr val="accent1"/>
          </a:fillRef>
          <a:effectRef idx="0">
            <a:schemeClr val="accent1"/>
          </a:effectRef>
          <a:fontRef idx="minor">
            <a:schemeClr val="tx1"/>
          </a:fontRef>
        </p:style>
      </p:cxnSp>
      <p:sp>
        <p:nvSpPr>
          <p:cNvPr id="21" name="Ellipse 20">
            <a:extLst>
              <a:ext uri="{FF2B5EF4-FFF2-40B4-BE49-F238E27FC236}">
                <a16:creationId xmlns:a16="http://schemas.microsoft.com/office/drawing/2014/main" id="{8B150BFF-07E2-4337-A3AD-D3B05E88B5A3}"/>
              </a:ext>
            </a:extLst>
          </p:cNvPr>
          <p:cNvSpPr/>
          <p:nvPr/>
        </p:nvSpPr>
        <p:spPr bwMode="gray">
          <a:xfrm>
            <a:off x="2157992"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23" name="Gerader Verbinder 22">
            <a:extLst>
              <a:ext uri="{FF2B5EF4-FFF2-40B4-BE49-F238E27FC236}">
                <a16:creationId xmlns:a16="http://schemas.microsoft.com/office/drawing/2014/main" id="{660CB3F0-319F-42AB-8D58-C3EE9002A013}"/>
              </a:ext>
            </a:extLst>
          </p:cNvPr>
          <p:cNvCxnSpPr>
            <a:cxnSpLocks/>
            <a:stCxn id="21" idx="4"/>
            <a:endCxn id="24" idx="0"/>
          </p:cNvCxnSpPr>
          <p:nvPr/>
        </p:nvCxnSpPr>
        <p:spPr bwMode="gray">
          <a:xfrm>
            <a:off x="2265992" y="3905300"/>
            <a:ext cx="0" cy="1391003"/>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4" name="Rechteck 23">
            <a:extLst>
              <a:ext uri="{FF2B5EF4-FFF2-40B4-BE49-F238E27FC236}">
                <a16:creationId xmlns:a16="http://schemas.microsoft.com/office/drawing/2014/main" id="{BDF3FBDE-6652-4754-AAE0-726CCBE87DF3}"/>
              </a:ext>
            </a:extLst>
          </p:cNvPr>
          <p:cNvSpPr/>
          <p:nvPr/>
        </p:nvSpPr>
        <p:spPr bwMode="gray">
          <a:xfrm>
            <a:off x="1329992" y="5296303"/>
            <a:ext cx="1872000" cy="837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t" anchorCtr="0" forceAA="0" compatLnSpc="1">
            <a:prstTxWarp prst="textNoShape">
              <a:avLst/>
            </a:prstTxWarp>
            <a:spAutoFit/>
          </a:bodyPr>
          <a:lstStyle/>
          <a:p>
            <a:pPr algn="ctr"/>
            <a:r>
              <a:rPr lang="en-US" sz="2400" b="1">
                <a:solidFill>
                  <a:schemeClr val="accent1"/>
                </a:solidFill>
              </a:rPr>
              <a:t>1960</a:t>
            </a:r>
          </a:p>
          <a:p>
            <a:pPr algn="ctr"/>
            <a:r>
              <a:rPr lang="en-US" sz="1100" cap="all">
                <a:solidFill>
                  <a:schemeClr val="accent1"/>
                </a:solidFill>
              </a:rPr>
              <a:t>1st Cash &amp; carry market</a:t>
            </a:r>
          </a:p>
          <a:p>
            <a:pPr algn="ctr">
              <a:spcBef>
                <a:spcPts val="400"/>
              </a:spcBef>
            </a:pPr>
            <a:r>
              <a:rPr lang="en-US" sz="900" i="1" cap="all">
                <a:solidFill>
                  <a:schemeClr val="accent1"/>
                </a:solidFill>
              </a:rPr>
              <a:t>Heilbronn</a:t>
            </a:r>
          </a:p>
        </p:txBody>
      </p:sp>
      <p:sp>
        <p:nvSpPr>
          <p:cNvPr id="75" name="Ellipse 74">
            <a:extLst>
              <a:ext uri="{FF2B5EF4-FFF2-40B4-BE49-F238E27FC236}">
                <a16:creationId xmlns:a16="http://schemas.microsoft.com/office/drawing/2014/main" id="{F6636CA4-1865-448B-A2C1-ADD39B753BBB}"/>
              </a:ext>
            </a:extLst>
          </p:cNvPr>
          <p:cNvSpPr/>
          <p:nvPr/>
        </p:nvSpPr>
        <p:spPr bwMode="gray">
          <a:xfrm>
            <a:off x="3245596"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87" name="Gerader Verbinder 86">
            <a:extLst>
              <a:ext uri="{FF2B5EF4-FFF2-40B4-BE49-F238E27FC236}">
                <a16:creationId xmlns:a16="http://schemas.microsoft.com/office/drawing/2014/main" id="{B413B5A6-1017-4D44-8CAB-155CF365DD9A}"/>
              </a:ext>
            </a:extLst>
          </p:cNvPr>
          <p:cNvCxnSpPr>
            <a:cxnSpLocks/>
            <a:stCxn id="75" idx="0"/>
            <a:endCxn id="89" idx="2"/>
          </p:cNvCxnSpPr>
          <p:nvPr/>
        </p:nvCxnSpPr>
        <p:spPr bwMode="gray">
          <a:xfrm flipV="1">
            <a:off x="3353596" y="2425502"/>
            <a:ext cx="0" cy="1263798"/>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9" name="Rechteck 88">
            <a:extLst>
              <a:ext uri="{FF2B5EF4-FFF2-40B4-BE49-F238E27FC236}">
                <a16:creationId xmlns:a16="http://schemas.microsoft.com/office/drawing/2014/main" id="{41CE3488-337D-4AA7-9600-7B1835203D44}"/>
              </a:ext>
            </a:extLst>
          </p:cNvPr>
          <p:cNvSpPr/>
          <p:nvPr/>
        </p:nvSpPr>
        <p:spPr bwMode="gray">
          <a:xfrm>
            <a:off x="2417596" y="1588043"/>
            <a:ext cx="1872000" cy="837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b" anchorCtr="0" forceAA="0" compatLnSpc="1">
            <a:prstTxWarp prst="textNoShape">
              <a:avLst/>
            </a:prstTxWarp>
            <a:spAutoFit/>
          </a:bodyPr>
          <a:lstStyle/>
          <a:p>
            <a:pPr algn="ctr"/>
            <a:r>
              <a:rPr lang="en-US" sz="2400" b="1">
                <a:solidFill>
                  <a:schemeClr val="accent1"/>
                </a:solidFill>
              </a:rPr>
              <a:t>1968</a:t>
            </a:r>
          </a:p>
          <a:p>
            <a:pPr algn="ctr"/>
            <a:r>
              <a:rPr lang="en-US" sz="1100" cap="all">
                <a:solidFill>
                  <a:schemeClr val="accent1"/>
                </a:solidFill>
              </a:rPr>
              <a:t>1st Handelshof</a:t>
            </a:r>
          </a:p>
          <a:p>
            <a:pPr lvl="0" algn="ctr">
              <a:spcBef>
                <a:spcPts val="400"/>
              </a:spcBef>
            </a:pPr>
            <a:r>
              <a:rPr lang="en-US" sz="900" i="1" cap="all">
                <a:solidFill>
                  <a:srgbClr val="791F82"/>
                </a:solidFill>
              </a:rPr>
              <a:t>Backnang</a:t>
            </a:r>
          </a:p>
        </p:txBody>
      </p:sp>
      <p:sp>
        <p:nvSpPr>
          <p:cNvPr id="94" name="Ellipse 93">
            <a:extLst>
              <a:ext uri="{FF2B5EF4-FFF2-40B4-BE49-F238E27FC236}">
                <a16:creationId xmlns:a16="http://schemas.microsoft.com/office/drawing/2014/main" id="{D40B4481-CD60-4508-AF58-556A8100A50B}"/>
              </a:ext>
            </a:extLst>
          </p:cNvPr>
          <p:cNvSpPr/>
          <p:nvPr/>
        </p:nvSpPr>
        <p:spPr bwMode="gray">
          <a:xfrm>
            <a:off x="1070388"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95" name="Gerader Verbinder 94">
            <a:extLst>
              <a:ext uri="{FF2B5EF4-FFF2-40B4-BE49-F238E27FC236}">
                <a16:creationId xmlns:a16="http://schemas.microsoft.com/office/drawing/2014/main" id="{42F50694-570B-4CAA-88E3-A8360B130184}"/>
              </a:ext>
            </a:extLst>
          </p:cNvPr>
          <p:cNvCxnSpPr>
            <a:cxnSpLocks/>
            <a:stCxn id="94" idx="0"/>
            <a:endCxn id="96" idx="2"/>
          </p:cNvCxnSpPr>
          <p:nvPr/>
        </p:nvCxnSpPr>
        <p:spPr bwMode="gray">
          <a:xfrm flipV="1">
            <a:off x="1178388" y="3209554"/>
            <a:ext cx="0" cy="47974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96" name="Rechteck 95">
            <a:extLst>
              <a:ext uri="{FF2B5EF4-FFF2-40B4-BE49-F238E27FC236}">
                <a16:creationId xmlns:a16="http://schemas.microsoft.com/office/drawing/2014/main" id="{49F55D37-8BBA-41F1-A6EB-2036BA6C95AF}"/>
              </a:ext>
            </a:extLst>
          </p:cNvPr>
          <p:cNvSpPr/>
          <p:nvPr/>
        </p:nvSpPr>
        <p:spPr bwMode="gray">
          <a:xfrm>
            <a:off x="242388" y="2392613"/>
            <a:ext cx="1872000" cy="8169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b" anchorCtr="0" forceAA="0" compatLnSpc="1">
            <a:prstTxWarp prst="textNoShape">
              <a:avLst/>
            </a:prstTxWarp>
            <a:spAutoFit/>
          </a:bodyPr>
          <a:lstStyle/>
          <a:p>
            <a:pPr algn="ctr"/>
            <a:r>
              <a:rPr lang="en-US" sz="2400" b="1">
                <a:solidFill>
                  <a:schemeClr val="accent1"/>
                </a:solidFill>
              </a:rPr>
              <a:t>1930</a:t>
            </a:r>
          </a:p>
          <a:p>
            <a:pPr algn="ctr"/>
            <a:r>
              <a:rPr lang="en-US" sz="1100" cap="all">
                <a:solidFill>
                  <a:schemeClr val="accent1"/>
                </a:solidFill>
              </a:rPr>
              <a:t>Founding of</a:t>
            </a:r>
          </a:p>
          <a:p>
            <a:pPr algn="ctr"/>
            <a:r>
              <a:rPr lang="en-US" sz="1100" cap="all">
                <a:solidFill>
                  <a:schemeClr val="accent1"/>
                </a:solidFill>
              </a:rPr>
              <a:t>Lidl &amp; Schwarz KG</a:t>
            </a:r>
          </a:p>
        </p:txBody>
      </p:sp>
      <p:pic>
        <p:nvPicPr>
          <p:cNvPr id="97" name="Grafik 96">
            <a:extLst>
              <a:ext uri="{FF2B5EF4-FFF2-40B4-BE49-F238E27FC236}">
                <a16:creationId xmlns:a16="http://schemas.microsoft.com/office/drawing/2014/main" id="{EDE0ECCC-36E0-46A3-9A36-C1C3A4FA118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12804" y="1794357"/>
            <a:ext cx="432000" cy="432000"/>
          </a:xfrm>
          <a:prstGeom prst="rect">
            <a:avLst/>
          </a:prstGeom>
        </p:spPr>
      </p:pic>
      <p:pic>
        <p:nvPicPr>
          <p:cNvPr id="99" name="Grafik 98">
            <a:extLst>
              <a:ext uri="{FF2B5EF4-FFF2-40B4-BE49-F238E27FC236}">
                <a16:creationId xmlns:a16="http://schemas.microsoft.com/office/drawing/2014/main" id="{3452EF84-2BFE-425E-A4B9-BC984BEC6A9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25200" y="4227432"/>
            <a:ext cx="432000" cy="432000"/>
          </a:xfrm>
          <a:prstGeom prst="rect">
            <a:avLst/>
          </a:prstGeom>
        </p:spPr>
      </p:pic>
      <p:sp>
        <p:nvSpPr>
          <p:cNvPr id="112" name="Ellipse 111">
            <a:extLst>
              <a:ext uri="{FF2B5EF4-FFF2-40B4-BE49-F238E27FC236}">
                <a16:creationId xmlns:a16="http://schemas.microsoft.com/office/drawing/2014/main" id="{6A3295CF-90A8-41F4-B19D-1BAF0F71C891}"/>
              </a:ext>
            </a:extLst>
          </p:cNvPr>
          <p:cNvSpPr/>
          <p:nvPr/>
        </p:nvSpPr>
        <p:spPr bwMode="gray">
          <a:xfrm>
            <a:off x="4333200"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113" name="Gerader Verbinder 112">
            <a:extLst>
              <a:ext uri="{FF2B5EF4-FFF2-40B4-BE49-F238E27FC236}">
                <a16:creationId xmlns:a16="http://schemas.microsoft.com/office/drawing/2014/main" id="{FE09ED82-B490-42B8-B4DB-60D0BC4CC6B0}"/>
              </a:ext>
            </a:extLst>
          </p:cNvPr>
          <p:cNvCxnSpPr>
            <a:cxnSpLocks/>
            <a:stCxn id="112" idx="4"/>
            <a:endCxn id="99" idx="0"/>
          </p:cNvCxnSpPr>
          <p:nvPr/>
        </p:nvCxnSpPr>
        <p:spPr bwMode="gray">
          <a:xfrm>
            <a:off x="4441200" y="3905300"/>
            <a:ext cx="0" cy="32213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14" name="Rechteck 113">
            <a:extLst>
              <a:ext uri="{FF2B5EF4-FFF2-40B4-BE49-F238E27FC236}">
                <a16:creationId xmlns:a16="http://schemas.microsoft.com/office/drawing/2014/main" id="{247C8D90-3C06-4FB8-87AE-EC852891FA1B}"/>
              </a:ext>
            </a:extLst>
          </p:cNvPr>
          <p:cNvSpPr/>
          <p:nvPr/>
        </p:nvSpPr>
        <p:spPr bwMode="gray">
          <a:xfrm>
            <a:off x="3505200" y="4660215"/>
            <a:ext cx="1872000" cy="837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t" anchorCtr="0" forceAA="0" compatLnSpc="1">
            <a:prstTxWarp prst="textNoShape">
              <a:avLst/>
            </a:prstTxWarp>
            <a:spAutoFit/>
          </a:bodyPr>
          <a:lstStyle/>
          <a:p>
            <a:pPr algn="ctr"/>
            <a:r>
              <a:rPr lang="en-US" sz="2400" b="1">
                <a:solidFill>
                  <a:schemeClr val="accent1"/>
                </a:solidFill>
              </a:rPr>
              <a:t>1973</a:t>
            </a:r>
          </a:p>
          <a:p>
            <a:pPr algn="ctr"/>
            <a:r>
              <a:rPr lang="en-US" sz="1100" cap="all">
                <a:solidFill>
                  <a:schemeClr val="accent1"/>
                </a:solidFill>
              </a:rPr>
              <a:t>1st Lidl Store</a:t>
            </a:r>
          </a:p>
          <a:p>
            <a:pPr algn="ctr">
              <a:spcBef>
                <a:spcPts val="400"/>
              </a:spcBef>
            </a:pPr>
            <a:r>
              <a:rPr lang="en-US" sz="900" i="1" cap="all">
                <a:solidFill>
                  <a:schemeClr val="accent1"/>
                </a:solidFill>
              </a:rPr>
              <a:t>Ludwigshafen</a:t>
            </a:r>
          </a:p>
        </p:txBody>
      </p:sp>
      <p:sp>
        <p:nvSpPr>
          <p:cNvPr id="118" name="Ellipse 117">
            <a:extLst>
              <a:ext uri="{FF2B5EF4-FFF2-40B4-BE49-F238E27FC236}">
                <a16:creationId xmlns:a16="http://schemas.microsoft.com/office/drawing/2014/main" id="{F4F50812-9A98-4C2B-AC8D-C53F84A4E100}"/>
              </a:ext>
            </a:extLst>
          </p:cNvPr>
          <p:cNvSpPr/>
          <p:nvPr/>
        </p:nvSpPr>
        <p:spPr bwMode="gray">
          <a:xfrm>
            <a:off x="5420804"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119" name="Gerader Verbinder 118">
            <a:extLst>
              <a:ext uri="{FF2B5EF4-FFF2-40B4-BE49-F238E27FC236}">
                <a16:creationId xmlns:a16="http://schemas.microsoft.com/office/drawing/2014/main" id="{F4547E1E-D738-4324-9E38-B4F89EB0C4FF}"/>
              </a:ext>
            </a:extLst>
          </p:cNvPr>
          <p:cNvCxnSpPr>
            <a:cxnSpLocks/>
            <a:stCxn id="118" idx="0"/>
            <a:endCxn id="120" idx="2"/>
          </p:cNvCxnSpPr>
          <p:nvPr/>
        </p:nvCxnSpPr>
        <p:spPr bwMode="gray">
          <a:xfrm flipV="1">
            <a:off x="5528804" y="3399349"/>
            <a:ext cx="0" cy="289951"/>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0" name="Rechteck 119">
            <a:extLst>
              <a:ext uri="{FF2B5EF4-FFF2-40B4-BE49-F238E27FC236}">
                <a16:creationId xmlns:a16="http://schemas.microsoft.com/office/drawing/2014/main" id="{1792CC85-EDA8-4304-AD9C-8C149C081B15}"/>
              </a:ext>
            </a:extLst>
          </p:cNvPr>
          <p:cNvSpPr/>
          <p:nvPr/>
        </p:nvSpPr>
        <p:spPr bwMode="gray">
          <a:xfrm>
            <a:off x="4592804" y="2223336"/>
            <a:ext cx="1872000" cy="1176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b" anchorCtr="0" forceAA="0" compatLnSpc="1">
            <a:prstTxWarp prst="textNoShape">
              <a:avLst/>
            </a:prstTxWarp>
            <a:spAutoFit/>
          </a:bodyPr>
          <a:lstStyle/>
          <a:p>
            <a:pPr lvl="0" algn="ctr"/>
            <a:r>
              <a:rPr lang="en-US" sz="2400" b="1">
                <a:solidFill>
                  <a:srgbClr val="791F82"/>
                </a:solidFill>
              </a:rPr>
              <a:t>1984</a:t>
            </a:r>
          </a:p>
          <a:p>
            <a:pPr lvl="0" algn="ctr"/>
            <a:r>
              <a:rPr lang="en-US" sz="1100" cap="all">
                <a:solidFill>
                  <a:srgbClr val="791F82"/>
                </a:solidFill>
              </a:rPr>
              <a:t>1st Kaufland</a:t>
            </a:r>
            <a:br>
              <a:rPr lang="en-US" sz="1100" cap="all">
                <a:solidFill>
                  <a:srgbClr val="791F82"/>
                </a:solidFill>
              </a:rPr>
            </a:br>
            <a:r>
              <a:rPr lang="en-US" sz="1100" cap="all">
                <a:solidFill>
                  <a:srgbClr val="791F82"/>
                </a:solidFill>
              </a:rPr>
              <a:t>self-service dept. store</a:t>
            </a:r>
          </a:p>
          <a:p>
            <a:pPr lvl="0" algn="ctr">
              <a:spcBef>
                <a:spcPts val="400"/>
              </a:spcBef>
            </a:pPr>
            <a:r>
              <a:rPr lang="en-US" sz="900" i="1" cap="all">
                <a:solidFill>
                  <a:srgbClr val="791F82"/>
                </a:solidFill>
              </a:rPr>
              <a:t>Neckarsulm</a:t>
            </a:r>
          </a:p>
        </p:txBody>
      </p:sp>
      <p:pic>
        <p:nvPicPr>
          <p:cNvPr id="42" name="Grafik 41">
            <a:extLst>
              <a:ext uri="{FF2B5EF4-FFF2-40B4-BE49-F238E27FC236}">
                <a16:creationId xmlns:a16="http://schemas.microsoft.com/office/drawing/2014/main" id="{A7BAD6D5-C59E-41B8-B480-9D1CD36B4C8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00408" y="4864303"/>
            <a:ext cx="432000" cy="432000"/>
          </a:xfrm>
          <a:prstGeom prst="rect">
            <a:avLst/>
          </a:prstGeom>
        </p:spPr>
      </p:pic>
      <p:sp>
        <p:nvSpPr>
          <p:cNvPr id="44" name="Ellipse 43">
            <a:extLst>
              <a:ext uri="{FF2B5EF4-FFF2-40B4-BE49-F238E27FC236}">
                <a16:creationId xmlns:a16="http://schemas.microsoft.com/office/drawing/2014/main" id="{616A9839-EEF0-4B17-8D08-B1EA4AEAFE9E}"/>
              </a:ext>
            </a:extLst>
          </p:cNvPr>
          <p:cNvSpPr/>
          <p:nvPr/>
        </p:nvSpPr>
        <p:spPr bwMode="gray">
          <a:xfrm>
            <a:off x="6508408"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45" name="Gerader Verbinder 44">
            <a:extLst>
              <a:ext uri="{FF2B5EF4-FFF2-40B4-BE49-F238E27FC236}">
                <a16:creationId xmlns:a16="http://schemas.microsoft.com/office/drawing/2014/main" id="{9135FBFE-77DF-46A9-95A1-BBAA1AB6D016}"/>
              </a:ext>
            </a:extLst>
          </p:cNvPr>
          <p:cNvCxnSpPr>
            <a:cxnSpLocks/>
            <a:stCxn id="44" idx="4"/>
            <a:endCxn id="42" idx="0"/>
          </p:cNvCxnSpPr>
          <p:nvPr/>
        </p:nvCxnSpPr>
        <p:spPr bwMode="gray">
          <a:xfrm>
            <a:off x="6616408" y="3905300"/>
            <a:ext cx="0" cy="959003"/>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129F618C-E9D2-4EEA-BE0B-9B69B646B0AD}"/>
              </a:ext>
            </a:extLst>
          </p:cNvPr>
          <p:cNvSpPr/>
          <p:nvPr/>
        </p:nvSpPr>
        <p:spPr bwMode="gray">
          <a:xfrm>
            <a:off x="5680408" y="5294751"/>
            <a:ext cx="1872000" cy="100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t" anchorCtr="0" forceAA="0" compatLnSpc="1">
            <a:prstTxWarp prst="textNoShape">
              <a:avLst/>
            </a:prstTxWarp>
            <a:spAutoFit/>
          </a:bodyPr>
          <a:lstStyle/>
          <a:p>
            <a:pPr algn="ctr"/>
            <a:r>
              <a:rPr lang="en-US" sz="2400" b="1">
                <a:solidFill>
                  <a:schemeClr val="accent1"/>
                </a:solidFill>
              </a:rPr>
              <a:t>1989</a:t>
            </a:r>
          </a:p>
          <a:p>
            <a:pPr algn="ctr"/>
            <a:r>
              <a:rPr lang="en-US" sz="1100" cap="all">
                <a:solidFill>
                  <a:schemeClr val="accent1"/>
                </a:solidFill>
              </a:rPr>
              <a:t>Intl. expansion</a:t>
            </a:r>
            <a:br>
              <a:rPr lang="en-US" sz="1100" cap="all">
                <a:solidFill>
                  <a:schemeClr val="accent1"/>
                </a:solidFill>
              </a:rPr>
            </a:br>
            <a:r>
              <a:rPr lang="en-US" sz="1100" cap="all">
                <a:solidFill>
                  <a:schemeClr val="accent1"/>
                </a:solidFill>
              </a:rPr>
              <a:t>begins</a:t>
            </a:r>
          </a:p>
          <a:p>
            <a:pPr algn="ctr">
              <a:spcBef>
                <a:spcPts val="400"/>
              </a:spcBef>
            </a:pPr>
            <a:r>
              <a:rPr lang="en-US" sz="900" i="1" cap="all">
                <a:solidFill>
                  <a:schemeClr val="accent1"/>
                </a:solidFill>
              </a:rPr>
              <a:t>France</a:t>
            </a:r>
          </a:p>
        </p:txBody>
      </p:sp>
      <p:pic>
        <p:nvPicPr>
          <p:cNvPr id="48" name="Grafik 47">
            <a:extLst>
              <a:ext uri="{FF2B5EF4-FFF2-40B4-BE49-F238E27FC236}">
                <a16:creationId xmlns:a16="http://schemas.microsoft.com/office/drawing/2014/main" id="{B5C8FF6C-1420-485D-8E69-B4AB3B19A32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88012" y="1340355"/>
            <a:ext cx="432000" cy="432000"/>
          </a:xfrm>
          <a:prstGeom prst="rect">
            <a:avLst/>
          </a:prstGeom>
        </p:spPr>
      </p:pic>
      <p:sp>
        <p:nvSpPr>
          <p:cNvPr id="49" name="Ellipse 48">
            <a:extLst>
              <a:ext uri="{FF2B5EF4-FFF2-40B4-BE49-F238E27FC236}">
                <a16:creationId xmlns:a16="http://schemas.microsoft.com/office/drawing/2014/main" id="{9037DFB4-94F7-40EF-862F-6D658EC5D559}"/>
              </a:ext>
            </a:extLst>
          </p:cNvPr>
          <p:cNvSpPr/>
          <p:nvPr/>
        </p:nvSpPr>
        <p:spPr bwMode="gray">
          <a:xfrm>
            <a:off x="7596012"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50" name="Gerader Verbinder 49">
            <a:extLst>
              <a:ext uri="{FF2B5EF4-FFF2-40B4-BE49-F238E27FC236}">
                <a16:creationId xmlns:a16="http://schemas.microsoft.com/office/drawing/2014/main" id="{CC1FDFA8-7C0B-4B34-AED2-1F742FEB5093}"/>
              </a:ext>
            </a:extLst>
          </p:cNvPr>
          <p:cNvCxnSpPr>
            <a:cxnSpLocks/>
            <a:stCxn id="49" idx="0"/>
            <a:endCxn id="51" idx="2"/>
          </p:cNvCxnSpPr>
          <p:nvPr/>
        </p:nvCxnSpPr>
        <p:spPr bwMode="gray">
          <a:xfrm flipV="1">
            <a:off x="7704012" y="2779091"/>
            <a:ext cx="0" cy="910209"/>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1" name="Rechteck 50">
            <a:extLst>
              <a:ext uri="{FF2B5EF4-FFF2-40B4-BE49-F238E27FC236}">
                <a16:creationId xmlns:a16="http://schemas.microsoft.com/office/drawing/2014/main" id="{6DD37140-904B-442B-AB04-83E5F13FF208}"/>
              </a:ext>
            </a:extLst>
          </p:cNvPr>
          <p:cNvSpPr/>
          <p:nvPr/>
        </p:nvSpPr>
        <p:spPr bwMode="gray">
          <a:xfrm>
            <a:off x="6768012" y="1772355"/>
            <a:ext cx="1872000" cy="100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b" anchorCtr="0" forceAA="0" compatLnSpc="1">
            <a:prstTxWarp prst="textNoShape">
              <a:avLst/>
            </a:prstTxWarp>
            <a:spAutoFit/>
          </a:bodyPr>
          <a:lstStyle/>
          <a:p>
            <a:pPr lvl="0" algn="ctr"/>
            <a:r>
              <a:rPr lang="en-US" sz="2400" b="1" dirty="0">
                <a:solidFill>
                  <a:srgbClr val="791F82"/>
                </a:solidFill>
              </a:rPr>
              <a:t>1998</a:t>
            </a:r>
          </a:p>
          <a:p>
            <a:pPr lvl="0" algn="ctr"/>
            <a:r>
              <a:rPr lang="en-US" sz="1100" cap="all" dirty="0">
                <a:solidFill>
                  <a:srgbClr val="791F82"/>
                </a:solidFill>
              </a:rPr>
              <a:t>Intl. expansion</a:t>
            </a:r>
            <a:br>
              <a:rPr lang="en-US" sz="1100" cap="all" dirty="0">
                <a:solidFill>
                  <a:srgbClr val="791F82"/>
                </a:solidFill>
              </a:rPr>
            </a:br>
            <a:r>
              <a:rPr lang="en-US" sz="1100" cap="all" dirty="0">
                <a:solidFill>
                  <a:srgbClr val="791F82"/>
                </a:solidFill>
              </a:rPr>
              <a:t>begins</a:t>
            </a:r>
          </a:p>
          <a:p>
            <a:pPr lvl="0" algn="ctr">
              <a:spcBef>
                <a:spcPts val="400"/>
              </a:spcBef>
            </a:pPr>
            <a:r>
              <a:rPr lang="en-US" sz="900" i="1" cap="all" dirty="0">
                <a:solidFill>
                  <a:srgbClr val="791F82"/>
                </a:solidFill>
              </a:rPr>
              <a:t>Czech Republic</a:t>
            </a:r>
          </a:p>
        </p:txBody>
      </p:sp>
      <p:sp>
        <p:nvSpPr>
          <p:cNvPr id="53" name="Ellipse 52">
            <a:extLst>
              <a:ext uri="{FF2B5EF4-FFF2-40B4-BE49-F238E27FC236}">
                <a16:creationId xmlns:a16="http://schemas.microsoft.com/office/drawing/2014/main" id="{61DB1E73-02ED-4829-A231-952DC871B2EF}"/>
              </a:ext>
            </a:extLst>
          </p:cNvPr>
          <p:cNvSpPr/>
          <p:nvPr/>
        </p:nvSpPr>
        <p:spPr bwMode="gray">
          <a:xfrm>
            <a:off x="8683616"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54" name="Gerader Verbinder 53">
            <a:extLst>
              <a:ext uri="{FF2B5EF4-FFF2-40B4-BE49-F238E27FC236}">
                <a16:creationId xmlns:a16="http://schemas.microsoft.com/office/drawing/2014/main" id="{5F614B4E-12D1-4B71-9CF2-B2EAB21B650B}"/>
              </a:ext>
            </a:extLst>
          </p:cNvPr>
          <p:cNvCxnSpPr>
            <a:cxnSpLocks/>
            <a:stCxn id="53" idx="4"/>
          </p:cNvCxnSpPr>
          <p:nvPr/>
        </p:nvCxnSpPr>
        <p:spPr bwMode="gray">
          <a:xfrm>
            <a:off x="8791616" y="3905300"/>
            <a:ext cx="0" cy="339333"/>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5" name="Rechteck 54">
            <a:extLst>
              <a:ext uri="{FF2B5EF4-FFF2-40B4-BE49-F238E27FC236}">
                <a16:creationId xmlns:a16="http://schemas.microsoft.com/office/drawing/2014/main" id="{0C7EEBF9-D82B-4177-A106-AAA16A95E0D8}"/>
              </a:ext>
            </a:extLst>
          </p:cNvPr>
          <p:cNvSpPr/>
          <p:nvPr/>
        </p:nvSpPr>
        <p:spPr bwMode="gray">
          <a:xfrm>
            <a:off x="7855616" y="4670236"/>
            <a:ext cx="1872000" cy="986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t" anchorCtr="0" forceAA="0" compatLnSpc="1">
            <a:prstTxWarp prst="textNoShape">
              <a:avLst/>
            </a:prstTxWarp>
            <a:spAutoFit/>
          </a:bodyPr>
          <a:lstStyle/>
          <a:p>
            <a:pPr algn="ctr"/>
            <a:r>
              <a:rPr lang="en-US" sz="2400" b="1">
                <a:solidFill>
                  <a:schemeClr val="accent1"/>
                </a:solidFill>
              </a:rPr>
              <a:t>1998 – 2009</a:t>
            </a:r>
          </a:p>
          <a:p>
            <a:pPr algn="ctr"/>
            <a:r>
              <a:rPr lang="en-US" sz="1100" cap="all">
                <a:solidFill>
                  <a:schemeClr val="accent1"/>
                </a:solidFill>
              </a:rPr>
              <a:t>Expansion</a:t>
            </a:r>
            <a:br>
              <a:rPr lang="en-US" sz="1100" cap="all">
                <a:solidFill>
                  <a:schemeClr val="accent1"/>
                </a:solidFill>
              </a:rPr>
            </a:br>
            <a:r>
              <a:rPr lang="en-US" sz="1100" cap="all">
                <a:solidFill>
                  <a:schemeClr val="accent1"/>
                </a:solidFill>
              </a:rPr>
              <a:t>into 17 more European countries</a:t>
            </a:r>
          </a:p>
        </p:txBody>
      </p:sp>
      <p:grpSp>
        <p:nvGrpSpPr>
          <p:cNvPr id="8" name="Gruppieren 7">
            <a:extLst>
              <a:ext uri="{FF2B5EF4-FFF2-40B4-BE49-F238E27FC236}">
                <a16:creationId xmlns:a16="http://schemas.microsoft.com/office/drawing/2014/main" id="{5515D09D-9060-4ECE-8460-A4C41375F288}"/>
              </a:ext>
            </a:extLst>
          </p:cNvPr>
          <p:cNvGrpSpPr/>
          <p:nvPr/>
        </p:nvGrpSpPr>
        <p:grpSpPr>
          <a:xfrm>
            <a:off x="8325681" y="4244633"/>
            <a:ext cx="931870" cy="432000"/>
            <a:chOff x="7507123" y="4509888"/>
            <a:chExt cx="931870" cy="432000"/>
          </a:xfrm>
        </p:grpSpPr>
        <p:pic>
          <p:nvPicPr>
            <p:cNvPr id="56" name="Grafik 55">
              <a:extLst>
                <a:ext uri="{FF2B5EF4-FFF2-40B4-BE49-F238E27FC236}">
                  <a16:creationId xmlns:a16="http://schemas.microsoft.com/office/drawing/2014/main" id="{1EDDB6F7-CEBD-4705-B2D2-8CA9A3EA296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07123" y="4509888"/>
              <a:ext cx="432000" cy="432000"/>
            </a:xfrm>
            <a:prstGeom prst="rect">
              <a:avLst/>
            </a:prstGeom>
          </p:spPr>
        </p:pic>
        <p:pic>
          <p:nvPicPr>
            <p:cNvPr id="57" name="Grafik 56">
              <a:extLst>
                <a:ext uri="{FF2B5EF4-FFF2-40B4-BE49-F238E27FC236}">
                  <a16:creationId xmlns:a16="http://schemas.microsoft.com/office/drawing/2014/main" id="{9B999C76-1961-4E4C-9F3D-E8DE11383F5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06993" y="4509888"/>
              <a:ext cx="432000" cy="432000"/>
            </a:xfrm>
            <a:prstGeom prst="rect">
              <a:avLst/>
            </a:prstGeom>
          </p:spPr>
        </p:pic>
      </p:grpSp>
      <p:pic>
        <p:nvPicPr>
          <p:cNvPr id="61" name="Grafik 60">
            <a:extLst>
              <a:ext uri="{FF2B5EF4-FFF2-40B4-BE49-F238E27FC236}">
                <a16:creationId xmlns:a16="http://schemas.microsoft.com/office/drawing/2014/main" id="{EFDBF0BE-DDAF-4F17-B49B-4D5A811785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63220" y="2168433"/>
            <a:ext cx="432000" cy="432000"/>
          </a:xfrm>
          <a:prstGeom prst="rect">
            <a:avLst/>
          </a:prstGeom>
        </p:spPr>
      </p:pic>
      <p:sp>
        <p:nvSpPr>
          <p:cNvPr id="66" name="Ellipse 65">
            <a:extLst>
              <a:ext uri="{FF2B5EF4-FFF2-40B4-BE49-F238E27FC236}">
                <a16:creationId xmlns:a16="http://schemas.microsoft.com/office/drawing/2014/main" id="{755A9259-8F77-4295-91D2-6379526563DE}"/>
              </a:ext>
            </a:extLst>
          </p:cNvPr>
          <p:cNvSpPr/>
          <p:nvPr/>
        </p:nvSpPr>
        <p:spPr bwMode="gray">
          <a:xfrm>
            <a:off x="9771220"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67" name="Gerader Verbinder 66">
            <a:extLst>
              <a:ext uri="{FF2B5EF4-FFF2-40B4-BE49-F238E27FC236}">
                <a16:creationId xmlns:a16="http://schemas.microsoft.com/office/drawing/2014/main" id="{CCEFF2C5-7CD6-4791-9789-30A0C56C9069}"/>
              </a:ext>
            </a:extLst>
          </p:cNvPr>
          <p:cNvCxnSpPr>
            <a:cxnSpLocks/>
            <a:stCxn id="66" idx="0"/>
            <a:endCxn id="68" idx="2"/>
          </p:cNvCxnSpPr>
          <p:nvPr/>
        </p:nvCxnSpPr>
        <p:spPr bwMode="gray">
          <a:xfrm flipV="1">
            <a:off x="9879220" y="3415617"/>
            <a:ext cx="0" cy="273683"/>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8" name="Rechteck 67">
            <a:extLst>
              <a:ext uri="{FF2B5EF4-FFF2-40B4-BE49-F238E27FC236}">
                <a16:creationId xmlns:a16="http://schemas.microsoft.com/office/drawing/2014/main" id="{98089D74-F04A-485E-8B93-1F9B7A7071E9}"/>
              </a:ext>
            </a:extLst>
          </p:cNvPr>
          <p:cNvSpPr/>
          <p:nvPr/>
        </p:nvSpPr>
        <p:spPr bwMode="gray">
          <a:xfrm>
            <a:off x="8943220" y="2429399"/>
            <a:ext cx="1872000" cy="986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b" anchorCtr="0" forceAA="0" compatLnSpc="1">
            <a:prstTxWarp prst="textNoShape">
              <a:avLst/>
            </a:prstTxWarp>
            <a:spAutoFit/>
          </a:bodyPr>
          <a:lstStyle/>
          <a:p>
            <a:pPr lvl="0" algn="ctr"/>
            <a:r>
              <a:rPr lang="en-US" sz="2400" b="1">
                <a:solidFill>
                  <a:srgbClr val="791F82"/>
                </a:solidFill>
              </a:rPr>
              <a:t>2008</a:t>
            </a:r>
          </a:p>
          <a:p>
            <a:pPr lvl="0" algn="ctr"/>
            <a:r>
              <a:rPr lang="en-US" sz="1100" cap="all">
                <a:solidFill>
                  <a:srgbClr val="791F82"/>
                </a:solidFill>
              </a:rPr>
              <a:t>MEG started as production company</a:t>
            </a:r>
          </a:p>
        </p:txBody>
      </p:sp>
      <p:sp>
        <p:nvSpPr>
          <p:cNvPr id="71" name="Ellipse 70">
            <a:extLst>
              <a:ext uri="{FF2B5EF4-FFF2-40B4-BE49-F238E27FC236}">
                <a16:creationId xmlns:a16="http://schemas.microsoft.com/office/drawing/2014/main" id="{B4DDBD05-2735-48C8-8057-C2E3D798F40C}"/>
              </a:ext>
            </a:extLst>
          </p:cNvPr>
          <p:cNvSpPr/>
          <p:nvPr/>
        </p:nvSpPr>
        <p:spPr bwMode="gray">
          <a:xfrm>
            <a:off x="10858821"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72" name="Gerader Verbinder 71">
            <a:extLst>
              <a:ext uri="{FF2B5EF4-FFF2-40B4-BE49-F238E27FC236}">
                <a16:creationId xmlns:a16="http://schemas.microsoft.com/office/drawing/2014/main" id="{5BCB9434-A449-4F82-9C88-1CE6C7705EEE}"/>
              </a:ext>
            </a:extLst>
          </p:cNvPr>
          <p:cNvCxnSpPr>
            <a:cxnSpLocks/>
            <a:stCxn id="71" idx="4"/>
            <a:endCxn id="76" idx="0"/>
          </p:cNvCxnSpPr>
          <p:nvPr/>
        </p:nvCxnSpPr>
        <p:spPr bwMode="gray">
          <a:xfrm>
            <a:off x="10966821" y="3905300"/>
            <a:ext cx="0" cy="954475"/>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73" name="Rechteck 72">
            <a:extLst>
              <a:ext uri="{FF2B5EF4-FFF2-40B4-BE49-F238E27FC236}">
                <a16:creationId xmlns:a16="http://schemas.microsoft.com/office/drawing/2014/main" id="{AB8832D6-70A8-4187-B26D-85D52A1B4917}"/>
              </a:ext>
            </a:extLst>
          </p:cNvPr>
          <p:cNvSpPr/>
          <p:nvPr/>
        </p:nvSpPr>
        <p:spPr bwMode="gray">
          <a:xfrm>
            <a:off x="10030821" y="5295900"/>
            <a:ext cx="1872000" cy="100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t" anchorCtr="0" forceAA="0" compatLnSpc="1">
            <a:prstTxWarp prst="textNoShape">
              <a:avLst/>
            </a:prstTxWarp>
            <a:spAutoFit/>
          </a:bodyPr>
          <a:lstStyle/>
          <a:p>
            <a:pPr algn="ctr"/>
            <a:r>
              <a:rPr lang="en-US" sz="2400" b="1">
                <a:solidFill>
                  <a:schemeClr val="accent1"/>
                </a:solidFill>
              </a:rPr>
              <a:t>2009</a:t>
            </a:r>
          </a:p>
          <a:p>
            <a:pPr algn="ctr"/>
            <a:r>
              <a:rPr lang="en-US" sz="1100" cap="all">
                <a:solidFill>
                  <a:schemeClr val="accent1"/>
                </a:solidFill>
              </a:rPr>
              <a:t>Founding of</a:t>
            </a:r>
            <a:br>
              <a:rPr lang="en-US" sz="1100" cap="all">
                <a:solidFill>
                  <a:schemeClr val="accent1"/>
                </a:solidFill>
              </a:rPr>
            </a:br>
            <a:r>
              <a:rPr lang="en-US" sz="1100" cap="all">
                <a:solidFill>
                  <a:schemeClr val="accent1"/>
                </a:solidFill>
              </a:rPr>
              <a:t>GreenCycle</a:t>
            </a:r>
          </a:p>
          <a:p>
            <a:pPr algn="ctr">
              <a:spcBef>
                <a:spcPts val="400"/>
              </a:spcBef>
            </a:pPr>
            <a:r>
              <a:rPr lang="en-US" sz="900" i="1" cap="all">
                <a:solidFill>
                  <a:srgbClr val="791F82"/>
                </a:solidFill>
              </a:rPr>
              <a:t>(Recyclables management)</a:t>
            </a:r>
          </a:p>
        </p:txBody>
      </p:sp>
      <p:pic>
        <p:nvPicPr>
          <p:cNvPr id="80" name="Grafik 79">
            <a:extLst>
              <a:ext uri="{FF2B5EF4-FFF2-40B4-BE49-F238E27FC236}">
                <a16:creationId xmlns:a16="http://schemas.microsoft.com/office/drawing/2014/main" id="{A37CDC8C-3DD1-4035-8344-F00AF948A06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68237" y="5637067"/>
            <a:ext cx="446758" cy="289078"/>
          </a:xfrm>
          <a:prstGeom prst="rect">
            <a:avLst/>
          </a:prstGeom>
        </p:spPr>
      </p:pic>
      <p:sp>
        <p:nvSpPr>
          <p:cNvPr id="4" name="Foliennummernplatzhalter 3">
            <a:extLst>
              <a:ext uri="{FF2B5EF4-FFF2-40B4-BE49-F238E27FC236}">
                <a16:creationId xmlns:a16="http://schemas.microsoft.com/office/drawing/2014/main" id="{61B9216E-5BAB-4C2F-8AF1-2A4661642DB8}"/>
              </a:ext>
            </a:extLst>
          </p:cNvPr>
          <p:cNvSpPr>
            <a:spLocks noGrp="1"/>
          </p:cNvSpPr>
          <p:nvPr>
            <p:ph type="sldNum" sz="quarter" idx="12"/>
          </p:nvPr>
        </p:nvSpPr>
        <p:spPr/>
        <p:txBody>
          <a:bodyPr/>
          <a:lstStyle/>
          <a:p>
            <a:fld id="{0C7C1E0B-BD27-42F8-BC6B-2F0636970842}" type="slidenum">
              <a:rPr lang="de-DE" smtClean="0"/>
              <a:pPr/>
              <a:t>8</a:t>
            </a:fld>
            <a:endParaRPr lang="de-DE"/>
          </a:p>
        </p:txBody>
      </p:sp>
    </p:spTree>
    <p:extLst>
      <p:ext uri="{BB962C8B-B14F-4D97-AF65-F5344CB8AC3E}">
        <p14:creationId xmlns:p14="http://schemas.microsoft.com/office/powerpoint/2010/main" val="339135042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ntertitel 6"/>
          <p:cNvSpPr>
            <a:spLocks noGrp="1"/>
          </p:cNvSpPr>
          <p:nvPr>
            <p:ph type="subTitle" idx="1"/>
          </p:nvPr>
        </p:nvSpPr>
        <p:spPr/>
        <p:txBody>
          <a:bodyPr/>
          <a:lstStyle/>
          <a:p>
            <a:r>
              <a:rPr lang="en-US"/>
              <a:t>Our milestones, part II</a:t>
            </a:r>
          </a:p>
        </p:txBody>
      </p:sp>
      <p:sp>
        <p:nvSpPr>
          <p:cNvPr id="2" name="Titel 1"/>
          <p:cNvSpPr>
            <a:spLocks noGrp="1"/>
          </p:cNvSpPr>
          <p:nvPr>
            <p:ph type="title"/>
          </p:nvPr>
        </p:nvSpPr>
        <p:spPr/>
        <p:txBody>
          <a:bodyPr/>
          <a:lstStyle/>
          <a:p>
            <a:r>
              <a:rPr lang="en-US"/>
              <a:t>Schwarz Group</a:t>
            </a:r>
          </a:p>
        </p:txBody>
      </p:sp>
      <p:cxnSp>
        <p:nvCxnSpPr>
          <p:cNvPr id="10" name="Gerade Verbindung mit Pfeil 9">
            <a:extLst>
              <a:ext uri="{FF2B5EF4-FFF2-40B4-BE49-F238E27FC236}">
                <a16:creationId xmlns:a16="http://schemas.microsoft.com/office/drawing/2014/main" id="{85AAD9C5-8FF6-46B8-852F-8849D0D77DE0}"/>
              </a:ext>
            </a:extLst>
          </p:cNvPr>
          <p:cNvCxnSpPr/>
          <p:nvPr/>
        </p:nvCxnSpPr>
        <p:spPr bwMode="gray">
          <a:xfrm>
            <a:off x="0" y="3797300"/>
            <a:ext cx="11784013" cy="0"/>
          </a:xfrm>
          <a:prstGeom prst="straightConnector1">
            <a:avLst/>
          </a:prstGeom>
          <a:ln w="38100">
            <a:solidFill>
              <a:schemeClr val="bg2"/>
            </a:solidFill>
            <a:miter lim="800000"/>
            <a:headEnd w="med" len="med"/>
            <a:tailEnd type="triangle" w="med" len="lg"/>
          </a:ln>
        </p:spPr>
        <p:style>
          <a:lnRef idx="1">
            <a:schemeClr val="accent1"/>
          </a:lnRef>
          <a:fillRef idx="0">
            <a:schemeClr val="accent1"/>
          </a:fillRef>
          <a:effectRef idx="0">
            <a:schemeClr val="accent1"/>
          </a:effectRef>
          <a:fontRef idx="minor">
            <a:schemeClr val="tx1"/>
          </a:fontRef>
        </p:style>
      </p:cxnSp>
      <p:sp>
        <p:nvSpPr>
          <p:cNvPr id="21" name="Ellipse 20">
            <a:extLst>
              <a:ext uri="{FF2B5EF4-FFF2-40B4-BE49-F238E27FC236}">
                <a16:creationId xmlns:a16="http://schemas.microsoft.com/office/drawing/2014/main" id="{8B150BFF-07E2-4337-A3AD-D3B05E88B5A3}"/>
              </a:ext>
            </a:extLst>
          </p:cNvPr>
          <p:cNvSpPr/>
          <p:nvPr/>
        </p:nvSpPr>
        <p:spPr bwMode="gray">
          <a:xfrm>
            <a:off x="2157992"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23" name="Gerader Verbinder 22">
            <a:extLst>
              <a:ext uri="{FF2B5EF4-FFF2-40B4-BE49-F238E27FC236}">
                <a16:creationId xmlns:a16="http://schemas.microsoft.com/office/drawing/2014/main" id="{660CB3F0-319F-42AB-8D58-C3EE9002A013}"/>
              </a:ext>
            </a:extLst>
          </p:cNvPr>
          <p:cNvCxnSpPr>
            <a:cxnSpLocks/>
            <a:stCxn id="21" idx="4"/>
          </p:cNvCxnSpPr>
          <p:nvPr/>
        </p:nvCxnSpPr>
        <p:spPr bwMode="gray">
          <a:xfrm>
            <a:off x="2265992" y="3905300"/>
            <a:ext cx="0" cy="956611"/>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4" name="Rechteck 23">
            <a:extLst>
              <a:ext uri="{FF2B5EF4-FFF2-40B4-BE49-F238E27FC236}">
                <a16:creationId xmlns:a16="http://schemas.microsoft.com/office/drawing/2014/main" id="{BDF3FBDE-6652-4754-AAE0-726CCBE87DF3}"/>
              </a:ext>
            </a:extLst>
          </p:cNvPr>
          <p:cNvSpPr/>
          <p:nvPr/>
        </p:nvSpPr>
        <p:spPr bwMode="gray">
          <a:xfrm>
            <a:off x="1329992" y="5296303"/>
            <a:ext cx="1872000" cy="8169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t" anchorCtr="0" forceAA="0" compatLnSpc="1">
            <a:prstTxWarp prst="textNoShape">
              <a:avLst/>
            </a:prstTxWarp>
            <a:spAutoFit/>
          </a:bodyPr>
          <a:lstStyle/>
          <a:p>
            <a:pPr algn="ctr"/>
            <a:r>
              <a:rPr lang="en-US" sz="2400" b="1">
                <a:solidFill>
                  <a:schemeClr val="accent1"/>
                </a:solidFill>
              </a:rPr>
              <a:t>2015</a:t>
            </a:r>
          </a:p>
          <a:p>
            <a:pPr algn="ctr"/>
            <a:r>
              <a:rPr lang="en-US" sz="1100" cap="all">
                <a:solidFill>
                  <a:schemeClr val="accent1"/>
                </a:solidFill>
              </a:rPr>
              <a:t>11,000 stores</a:t>
            </a:r>
            <a:br>
              <a:rPr lang="en-US" sz="1100" cap="all">
                <a:solidFill>
                  <a:schemeClr val="accent1"/>
                </a:solidFill>
              </a:rPr>
            </a:br>
            <a:r>
              <a:rPr lang="en-US" sz="1100" cap="all">
                <a:solidFill>
                  <a:schemeClr val="accent1"/>
                </a:solidFill>
              </a:rPr>
              <a:t>in Europe</a:t>
            </a:r>
          </a:p>
        </p:txBody>
      </p:sp>
      <p:sp>
        <p:nvSpPr>
          <p:cNvPr id="75" name="Ellipse 74">
            <a:extLst>
              <a:ext uri="{FF2B5EF4-FFF2-40B4-BE49-F238E27FC236}">
                <a16:creationId xmlns:a16="http://schemas.microsoft.com/office/drawing/2014/main" id="{F6636CA4-1865-448B-A2C1-ADD39B753BBB}"/>
              </a:ext>
            </a:extLst>
          </p:cNvPr>
          <p:cNvSpPr/>
          <p:nvPr/>
        </p:nvSpPr>
        <p:spPr bwMode="gray">
          <a:xfrm>
            <a:off x="3245596"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87" name="Gerader Verbinder 86">
            <a:extLst>
              <a:ext uri="{FF2B5EF4-FFF2-40B4-BE49-F238E27FC236}">
                <a16:creationId xmlns:a16="http://schemas.microsoft.com/office/drawing/2014/main" id="{B413B5A6-1017-4D44-8CAB-155CF365DD9A}"/>
              </a:ext>
            </a:extLst>
          </p:cNvPr>
          <p:cNvCxnSpPr>
            <a:cxnSpLocks/>
            <a:stCxn id="75" idx="0"/>
            <a:endCxn id="89" idx="2"/>
          </p:cNvCxnSpPr>
          <p:nvPr/>
        </p:nvCxnSpPr>
        <p:spPr bwMode="gray">
          <a:xfrm flipV="1">
            <a:off x="3353596" y="3426074"/>
            <a:ext cx="0" cy="26322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9" name="Rechteck 88">
            <a:extLst>
              <a:ext uri="{FF2B5EF4-FFF2-40B4-BE49-F238E27FC236}">
                <a16:creationId xmlns:a16="http://schemas.microsoft.com/office/drawing/2014/main" id="{41CE3488-337D-4AA7-9600-7B1835203D44}"/>
              </a:ext>
            </a:extLst>
          </p:cNvPr>
          <p:cNvSpPr/>
          <p:nvPr/>
        </p:nvSpPr>
        <p:spPr bwMode="gray">
          <a:xfrm>
            <a:off x="2417596" y="2250061"/>
            <a:ext cx="1872000" cy="1176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b" anchorCtr="0" forceAA="0" compatLnSpc="1">
            <a:prstTxWarp prst="textNoShape">
              <a:avLst/>
            </a:prstTxWarp>
            <a:spAutoFit/>
          </a:bodyPr>
          <a:lstStyle/>
          <a:p>
            <a:pPr algn="ctr"/>
            <a:r>
              <a:rPr lang="en-US" sz="2400" b="1">
                <a:solidFill>
                  <a:schemeClr val="accent1"/>
                </a:solidFill>
              </a:rPr>
              <a:t>2016</a:t>
            </a:r>
          </a:p>
          <a:p>
            <a:pPr algn="ctr"/>
            <a:r>
              <a:rPr lang="en-US" sz="1100" cap="all">
                <a:solidFill>
                  <a:schemeClr val="accent1"/>
                </a:solidFill>
              </a:rPr>
              <a:t>Commissioning of</a:t>
            </a:r>
            <a:br>
              <a:rPr lang="en-US" sz="1100" cap="all">
                <a:solidFill>
                  <a:schemeClr val="accent1"/>
                </a:solidFill>
              </a:rPr>
            </a:br>
            <a:r>
              <a:rPr lang="en-US" sz="1100" cap="all">
                <a:solidFill>
                  <a:schemeClr val="accent1"/>
                </a:solidFill>
              </a:rPr>
              <a:t>PET Recycling West</a:t>
            </a:r>
            <a:br>
              <a:rPr lang="en-US" sz="1100" cap="all">
                <a:solidFill>
                  <a:schemeClr val="accent1"/>
                </a:solidFill>
              </a:rPr>
            </a:br>
            <a:r>
              <a:rPr lang="en-US" sz="1100" cap="all">
                <a:solidFill>
                  <a:schemeClr val="accent1"/>
                </a:solidFill>
              </a:rPr>
              <a:t>recycling plant</a:t>
            </a:r>
          </a:p>
          <a:p>
            <a:pPr lvl="0" algn="ctr">
              <a:spcBef>
                <a:spcPts val="400"/>
              </a:spcBef>
            </a:pPr>
            <a:r>
              <a:rPr lang="en-US" sz="900" i="1" cap="all">
                <a:solidFill>
                  <a:srgbClr val="791F82"/>
                </a:solidFill>
              </a:rPr>
              <a:t>Übach-Palenberg</a:t>
            </a:r>
          </a:p>
        </p:txBody>
      </p:sp>
      <p:sp>
        <p:nvSpPr>
          <p:cNvPr id="94" name="Ellipse 93">
            <a:extLst>
              <a:ext uri="{FF2B5EF4-FFF2-40B4-BE49-F238E27FC236}">
                <a16:creationId xmlns:a16="http://schemas.microsoft.com/office/drawing/2014/main" id="{D40B4481-CD60-4508-AF58-556A8100A50B}"/>
              </a:ext>
            </a:extLst>
          </p:cNvPr>
          <p:cNvSpPr/>
          <p:nvPr/>
        </p:nvSpPr>
        <p:spPr bwMode="gray">
          <a:xfrm>
            <a:off x="1070388"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95" name="Gerader Verbinder 94">
            <a:extLst>
              <a:ext uri="{FF2B5EF4-FFF2-40B4-BE49-F238E27FC236}">
                <a16:creationId xmlns:a16="http://schemas.microsoft.com/office/drawing/2014/main" id="{42F50694-570B-4CAA-88E3-A8360B130184}"/>
              </a:ext>
            </a:extLst>
          </p:cNvPr>
          <p:cNvCxnSpPr>
            <a:cxnSpLocks/>
            <a:stCxn id="94" idx="0"/>
            <a:endCxn id="96" idx="2"/>
          </p:cNvCxnSpPr>
          <p:nvPr/>
        </p:nvCxnSpPr>
        <p:spPr bwMode="gray">
          <a:xfrm flipV="1">
            <a:off x="1178388" y="2773379"/>
            <a:ext cx="0" cy="915921"/>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96" name="Rechteck 95">
            <a:extLst>
              <a:ext uri="{FF2B5EF4-FFF2-40B4-BE49-F238E27FC236}">
                <a16:creationId xmlns:a16="http://schemas.microsoft.com/office/drawing/2014/main" id="{49F55D37-8BBA-41F1-A6EB-2036BA6C95AF}"/>
              </a:ext>
            </a:extLst>
          </p:cNvPr>
          <p:cNvSpPr/>
          <p:nvPr/>
        </p:nvSpPr>
        <p:spPr bwMode="gray">
          <a:xfrm>
            <a:off x="242388" y="1787161"/>
            <a:ext cx="1872000" cy="986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b" anchorCtr="0" forceAA="0" compatLnSpc="1">
            <a:prstTxWarp prst="textNoShape">
              <a:avLst/>
            </a:prstTxWarp>
            <a:spAutoFit/>
          </a:bodyPr>
          <a:lstStyle/>
          <a:p>
            <a:pPr algn="ctr"/>
            <a:r>
              <a:rPr lang="en-US" sz="2400" b="1">
                <a:solidFill>
                  <a:schemeClr val="accent1"/>
                </a:solidFill>
              </a:rPr>
              <a:t>2011</a:t>
            </a:r>
          </a:p>
          <a:p>
            <a:pPr algn="ctr"/>
            <a:r>
              <a:rPr lang="en-US" sz="1100" cap="all">
                <a:solidFill>
                  <a:schemeClr val="accent1"/>
                </a:solidFill>
              </a:rPr>
              <a:t>Introduction of</a:t>
            </a:r>
            <a:br>
              <a:rPr lang="en-US" sz="1100" cap="all">
                <a:solidFill>
                  <a:schemeClr val="accent1"/>
                </a:solidFill>
              </a:rPr>
            </a:br>
            <a:r>
              <a:rPr lang="en-US" sz="1100" cap="all">
                <a:solidFill>
                  <a:schemeClr val="accent1"/>
                </a:solidFill>
              </a:rPr>
              <a:t>PET recyclables loop</a:t>
            </a:r>
          </a:p>
        </p:txBody>
      </p:sp>
      <p:pic>
        <p:nvPicPr>
          <p:cNvPr id="99" name="Grafik 98">
            <a:extLst>
              <a:ext uri="{FF2B5EF4-FFF2-40B4-BE49-F238E27FC236}">
                <a16:creationId xmlns:a16="http://schemas.microsoft.com/office/drawing/2014/main" id="{3452EF84-2BFE-425E-A4B9-BC984BEC6A9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25200" y="4227432"/>
            <a:ext cx="432000" cy="432000"/>
          </a:xfrm>
          <a:prstGeom prst="rect">
            <a:avLst/>
          </a:prstGeom>
        </p:spPr>
      </p:pic>
      <p:sp>
        <p:nvSpPr>
          <p:cNvPr id="112" name="Ellipse 111">
            <a:extLst>
              <a:ext uri="{FF2B5EF4-FFF2-40B4-BE49-F238E27FC236}">
                <a16:creationId xmlns:a16="http://schemas.microsoft.com/office/drawing/2014/main" id="{6A3295CF-90A8-41F4-B19D-1BAF0F71C891}"/>
              </a:ext>
            </a:extLst>
          </p:cNvPr>
          <p:cNvSpPr/>
          <p:nvPr/>
        </p:nvSpPr>
        <p:spPr bwMode="gray">
          <a:xfrm>
            <a:off x="4333200"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113" name="Gerader Verbinder 112">
            <a:extLst>
              <a:ext uri="{FF2B5EF4-FFF2-40B4-BE49-F238E27FC236}">
                <a16:creationId xmlns:a16="http://schemas.microsoft.com/office/drawing/2014/main" id="{FE09ED82-B490-42B8-B4DB-60D0BC4CC6B0}"/>
              </a:ext>
            </a:extLst>
          </p:cNvPr>
          <p:cNvCxnSpPr>
            <a:cxnSpLocks/>
            <a:stCxn id="112" idx="4"/>
            <a:endCxn id="99" idx="0"/>
          </p:cNvCxnSpPr>
          <p:nvPr/>
        </p:nvCxnSpPr>
        <p:spPr bwMode="gray">
          <a:xfrm>
            <a:off x="4441200" y="3905300"/>
            <a:ext cx="0" cy="32213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14" name="Rechteck 113">
            <a:extLst>
              <a:ext uri="{FF2B5EF4-FFF2-40B4-BE49-F238E27FC236}">
                <a16:creationId xmlns:a16="http://schemas.microsoft.com/office/drawing/2014/main" id="{247C8D90-3C06-4FB8-87AE-EC852891FA1B}"/>
              </a:ext>
            </a:extLst>
          </p:cNvPr>
          <p:cNvSpPr/>
          <p:nvPr/>
        </p:nvSpPr>
        <p:spPr bwMode="gray">
          <a:xfrm>
            <a:off x="3505200" y="4660215"/>
            <a:ext cx="1872000" cy="837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t" anchorCtr="0" forceAA="0" compatLnSpc="1">
            <a:prstTxWarp prst="textNoShape">
              <a:avLst/>
            </a:prstTxWarp>
            <a:spAutoFit/>
          </a:bodyPr>
          <a:lstStyle/>
          <a:p>
            <a:pPr algn="ctr"/>
            <a:r>
              <a:rPr lang="en-US" sz="2400" b="1">
                <a:solidFill>
                  <a:schemeClr val="accent1"/>
                </a:solidFill>
              </a:rPr>
              <a:t>2017</a:t>
            </a:r>
          </a:p>
          <a:p>
            <a:pPr algn="ctr"/>
            <a:r>
              <a:rPr lang="en-US" sz="1100" cap="all">
                <a:solidFill>
                  <a:schemeClr val="accent1"/>
                </a:solidFill>
              </a:rPr>
              <a:t>Expansion</a:t>
            </a:r>
          </a:p>
          <a:p>
            <a:pPr algn="ctr">
              <a:spcBef>
                <a:spcPts val="400"/>
              </a:spcBef>
            </a:pPr>
            <a:r>
              <a:rPr lang="en-US" sz="900" i="1" cap="all">
                <a:solidFill>
                  <a:schemeClr val="accent1"/>
                </a:solidFill>
              </a:rPr>
              <a:t>USA</a:t>
            </a:r>
          </a:p>
        </p:txBody>
      </p:sp>
      <p:sp>
        <p:nvSpPr>
          <p:cNvPr id="118" name="Ellipse 117">
            <a:extLst>
              <a:ext uri="{FF2B5EF4-FFF2-40B4-BE49-F238E27FC236}">
                <a16:creationId xmlns:a16="http://schemas.microsoft.com/office/drawing/2014/main" id="{F4F50812-9A98-4C2B-AC8D-C53F84A4E100}"/>
              </a:ext>
            </a:extLst>
          </p:cNvPr>
          <p:cNvSpPr/>
          <p:nvPr/>
        </p:nvSpPr>
        <p:spPr bwMode="gray">
          <a:xfrm>
            <a:off x="5420804"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119" name="Gerader Verbinder 118">
            <a:extLst>
              <a:ext uri="{FF2B5EF4-FFF2-40B4-BE49-F238E27FC236}">
                <a16:creationId xmlns:a16="http://schemas.microsoft.com/office/drawing/2014/main" id="{F4547E1E-D738-4324-9E38-B4F89EB0C4FF}"/>
              </a:ext>
            </a:extLst>
          </p:cNvPr>
          <p:cNvCxnSpPr>
            <a:cxnSpLocks/>
            <a:stCxn id="118" idx="0"/>
            <a:endCxn id="120" idx="2"/>
          </p:cNvCxnSpPr>
          <p:nvPr/>
        </p:nvCxnSpPr>
        <p:spPr bwMode="gray">
          <a:xfrm flipV="1">
            <a:off x="5528804" y="2629424"/>
            <a:ext cx="0" cy="105987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0" name="Rechteck 119">
            <a:extLst>
              <a:ext uri="{FF2B5EF4-FFF2-40B4-BE49-F238E27FC236}">
                <a16:creationId xmlns:a16="http://schemas.microsoft.com/office/drawing/2014/main" id="{1792CC85-EDA8-4304-AD9C-8C149C081B15}"/>
              </a:ext>
            </a:extLst>
          </p:cNvPr>
          <p:cNvSpPr/>
          <p:nvPr/>
        </p:nvSpPr>
        <p:spPr bwMode="gray">
          <a:xfrm>
            <a:off x="4592804" y="1812483"/>
            <a:ext cx="1872000" cy="8169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b" anchorCtr="0" forceAA="0" compatLnSpc="1">
            <a:prstTxWarp prst="textNoShape">
              <a:avLst/>
            </a:prstTxWarp>
            <a:spAutoFit/>
          </a:bodyPr>
          <a:lstStyle/>
          <a:p>
            <a:pPr lvl="0" algn="ctr"/>
            <a:r>
              <a:rPr lang="en-US" sz="2400" b="1" dirty="0">
                <a:solidFill>
                  <a:srgbClr val="791F82"/>
                </a:solidFill>
              </a:rPr>
              <a:t>2018</a:t>
            </a:r>
          </a:p>
          <a:p>
            <a:pPr lvl="0" algn="ctr"/>
            <a:r>
              <a:rPr lang="en-US" sz="1100" cap="all" dirty="0">
                <a:solidFill>
                  <a:srgbClr val="791F82"/>
                </a:solidFill>
              </a:rPr>
              <a:t>Founding of</a:t>
            </a:r>
            <a:br>
              <a:rPr lang="en-US" sz="1100" cap="all" dirty="0">
                <a:solidFill>
                  <a:srgbClr val="791F82"/>
                </a:solidFill>
              </a:rPr>
            </a:br>
            <a:r>
              <a:rPr lang="en-US" sz="1100" dirty="0" err="1">
                <a:solidFill>
                  <a:srgbClr val="791F82"/>
                </a:solidFill>
              </a:rPr>
              <a:t>PreZero</a:t>
            </a:r>
            <a:endParaRPr lang="en-US" sz="1100" dirty="0">
              <a:solidFill>
                <a:srgbClr val="791F82"/>
              </a:solidFill>
            </a:endParaRPr>
          </a:p>
        </p:txBody>
      </p:sp>
      <p:sp>
        <p:nvSpPr>
          <p:cNvPr id="44" name="Ellipse 43">
            <a:extLst>
              <a:ext uri="{FF2B5EF4-FFF2-40B4-BE49-F238E27FC236}">
                <a16:creationId xmlns:a16="http://schemas.microsoft.com/office/drawing/2014/main" id="{616A9839-EEF0-4B17-8D08-B1EA4AEAFE9E}"/>
              </a:ext>
            </a:extLst>
          </p:cNvPr>
          <p:cNvSpPr/>
          <p:nvPr/>
        </p:nvSpPr>
        <p:spPr bwMode="gray">
          <a:xfrm>
            <a:off x="6508408"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45" name="Gerader Verbinder 44">
            <a:extLst>
              <a:ext uri="{FF2B5EF4-FFF2-40B4-BE49-F238E27FC236}">
                <a16:creationId xmlns:a16="http://schemas.microsoft.com/office/drawing/2014/main" id="{9135FBFE-77DF-46A9-95A1-BBAA1AB6D016}"/>
              </a:ext>
            </a:extLst>
          </p:cNvPr>
          <p:cNvCxnSpPr>
            <a:cxnSpLocks/>
            <a:stCxn id="44" idx="4"/>
            <a:endCxn id="69" idx="0"/>
          </p:cNvCxnSpPr>
          <p:nvPr/>
        </p:nvCxnSpPr>
        <p:spPr bwMode="gray">
          <a:xfrm>
            <a:off x="6616408" y="3905300"/>
            <a:ext cx="0" cy="112865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129F618C-E9D2-4EEA-BE0B-9B69B646B0AD}"/>
              </a:ext>
            </a:extLst>
          </p:cNvPr>
          <p:cNvSpPr/>
          <p:nvPr/>
        </p:nvSpPr>
        <p:spPr bwMode="gray">
          <a:xfrm>
            <a:off x="5680408" y="5294751"/>
            <a:ext cx="1872000" cy="986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t" anchorCtr="0" forceAA="0" compatLnSpc="1">
            <a:prstTxWarp prst="textNoShape">
              <a:avLst/>
            </a:prstTxWarp>
            <a:spAutoFit/>
          </a:bodyPr>
          <a:lstStyle/>
          <a:p>
            <a:pPr algn="ctr"/>
            <a:r>
              <a:rPr lang="en-US" sz="2400" b="1">
                <a:solidFill>
                  <a:schemeClr val="accent1"/>
                </a:solidFill>
              </a:rPr>
              <a:t>2018</a:t>
            </a:r>
          </a:p>
          <a:p>
            <a:pPr algn="ctr"/>
            <a:r>
              <a:rPr lang="en-US" sz="1100" cap="all">
                <a:solidFill>
                  <a:schemeClr val="accent1"/>
                </a:solidFill>
              </a:rPr>
              <a:t>Acquired disposal company Tönsmeier / Renamed to </a:t>
            </a:r>
            <a:r>
              <a:rPr lang="en-US" sz="1100">
                <a:solidFill>
                  <a:schemeClr val="accent1"/>
                </a:solidFill>
              </a:rPr>
              <a:t>PreZero</a:t>
            </a:r>
          </a:p>
        </p:txBody>
      </p:sp>
      <p:sp>
        <p:nvSpPr>
          <p:cNvPr id="49" name="Ellipse 48">
            <a:extLst>
              <a:ext uri="{FF2B5EF4-FFF2-40B4-BE49-F238E27FC236}">
                <a16:creationId xmlns:a16="http://schemas.microsoft.com/office/drawing/2014/main" id="{9037DFB4-94F7-40EF-862F-6D658EC5D559}"/>
              </a:ext>
            </a:extLst>
          </p:cNvPr>
          <p:cNvSpPr/>
          <p:nvPr/>
        </p:nvSpPr>
        <p:spPr bwMode="gray">
          <a:xfrm>
            <a:off x="7596012"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50" name="Gerader Verbinder 49">
            <a:extLst>
              <a:ext uri="{FF2B5EF4-FFF2-40B4-BE49-F238E27FC236}">
                <a16:creationId xmlns:a16="http://schemas.microsoft.com/office/drawing/2014/main" id="{CC1FDFA8-7C0B-4B34-AED2-1F742FEB5093}"/>
              </a:ext>
            </a:extLst>
          </p:cNvPr>
          <p:cNvCxnSpPr>
            <a:cxnSpLocks/>
            <a:stCxn id="49" idx="0"/>
            <a:endCxn id="51" idx="2"/>
          </p:cNvCxnSpPr>
          <p:nvPr/>
        </p:nvCxnSpPr>
        <p:spPr bwMode="gray">
          <a:xfrm flipV="1">
            <a:off x="7704012" y="3067002"/>
            <a:ext cx="0" cy="622298"/>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1" name="Rechteck 50">
            <a:extLst>
              <a:ext uri="{FF2B5EF4-FFF2-40B4-BE49-F238E27FC236}">
                <a16:creationId xmlns:a16="http://schemas.microsoft.com/office/drawing/2014/main" id="{6DD37140-904B-442B-AB04-83E5F13FF208}"/>
              </a:ext>
            </a:extLst>
          </p:cNvPr>
          <p:cNvSpPr/>
          <p:nvPr/>
        </p:nvSpPr>
        <p:spPr bwMode="gray">
          <a:xfrm>
            <a:off x="6768012" y="2080784"/>
            <a:ext cx="1872000" cy="986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b" anchorCtr="0" forceAA="0" compatLnSpc="1">
            <a:prstTxWarp prst="textNoShape">
              <a:avLst/>
            </a:prstTxWarp>
            <a:spAutoFit/>
          </a:bodyPr>
          <a:lstStyle/>
          <a:p>
            <a:pPr lvl="0" algn="ctr"/>
            <a:r>
              <a:rPr lang="en-US" sz="2400" b="1" dirty="0">
                <a:solidFill>
                  <a:srgbClr val="791F82"/>
                </a:solidFill>
              </a:rPr>
              <a:t>2018</a:t>
            </a:r>
          </a:p>
          <a:p>
            <a:pPr lvl="0" algn="ctr"/>
            <a:r>
              <a:rPr lang="en-US" sz="1100" cap="all" dirty="0">
                <a:solidFill>
                  <a:srgbClr val="791F82"/>
                </a:solidFill>
              </a:rPr>
              <a:t>Beginning of Schwarz Group</a:t>
            </a:r>
            <a:br>
              <a:rPr lang="en-US" sz="1100" cap="all" dirty="0">
                <a:solidFill>
                  <a:srgbClr val="791F82"/>
                </a:solidFill>
              </a:rPr>
            </a:br>
            <a:r>
              <a:rPr lang="en-US" sz="1100" cap="all" dirty="0">
                <a:solidFill>
                  <a:srgbClr val="791F82"/>
                </a:solidFill>
              </a:rPr>
              <a:t>plastic strategy</a:t>
            </a:r>
          </a:p>
        </p:txBody>
      </p:sp>
      <p:sp>
        <p:nvSpPr>
          <p:cNvPr id="53" name="Ellipse 52">
            <a:extLst>
              <a:ext uri="{FF2B5EF4-FFF2-40B4-BE49-F238E27FC236}">
                <a16:creationId xmlns:a16="http://schemas.microsoft.com/office/drawing/2014/main" id="{61DB1E73-02ED-4829-A231-952DC871B2EF}"/>
              </a:ext>
            </a:extLst>
          </p:cNvPr>
          <p:cNvSpPr/>
          <p:nvPr/>
        </p:nvSpPr>
        <p:spPr bwMode="gray">
          <a:xfrm>
            <a:off x="8683616"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54" name="Gerader Verbinder 53">
            <a:extLst>
              <a:ext uri="{FF2B5EF4-FFF2-40B4-BE49-F238E27FC236}">
                <a16:creationId xmlns:a16="http://schemas.microsoft.com/office/drawing/2014/main" id="{5F614B4E-12D1-4B71-9CF2-B2EAB21B650B}"/>
              </a:ext>
            </a:extLst>
          </p:cNvPr>
          <p:cNvCxnSpPr>
            <a:cxnSpLocks/>
            <a:stCxn id="53" idx="4"/>
          </p:cNvCxnSpPr>
          <p:nvPr/>
        </p:nvCxnSpPr>
        <p:spPr bwMode="gray">
          <a:xfrm>
            <a:off x="8791616" y="3905300"/>
            <a:ext cx="0" cy="339333"/>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5" name="Rechteck 54">
            <a:extLst>
              <a:ext uri="{FF2B5EF4-FFF2-40B4-BE49-F238E27FC236}">
                <a16:creationId xmlns:a16="http://schemas.microsoft.com/office/drawing/2014/main" id="{0C7EEBF9-D82B-4177-A106-AAA16A95E0D8}"/>
              </a:ext>
            </a:extLst>
          </p:cNvPr>
          <p:cNvSpPr/>
          <p:nvPr/>
        </p:nvSpPr>
        <p:spPr bwMode="gray">
          <a:xfrm>
            <a:off x="7855616" y="4670236"/>
            <a:ext cx="1872000" cy="647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t" anchorCtr="0" forceAA="0" compatLnSpc="1">
            <a:prstTxWarp prst="textNoShape">
              <a:avLst/>
            </a:prstTxWarp>
            <a:spAutoFit/>
          </a:bodyPr>
          <a:lstStyle/>
          <a:p>
            <a:pPr algn="ctr"/>
            <a:r>
              <a:rPr lang="en-US" sz="2400" b="1" dirty="0">
                <a:solidFill>
                  <a:schemeClr val="accent1"/>
                </a:solidFill>
              </a:rPr>
              <a:t>2018/2019</a:t>
            </a:r>
          </a:p>
          <a:p>
            <a:pPr algn="ctr"/>
            <a:r>
              <a:rPr lang="en-US" sz="1100" cap="all" dirty="0">
                <a:solidFill>
                  <a:schemeClr val="accent1"/>
                </a:solidFill>
              </a:rPr>
              <a:t>Constant expansion</a:t>
            </a:r>
          </a:p>
        </p:txBody>
      </p:sp>
      <p:sp>
        <p:nvSpPr>
          <p:cNvPr id="66" name="Ellipse 65">
            <a:extLst>
              <a:ext uri="{FF2B5EF4-FFF2-40B4-BE49-F238E27FC236}">
                <a16:creationId xmlns:a16="http://schemas.microsoft.com/office/drawing/2014/main" id="{755A9259-8F77-4295-91D2-6379526563DE}"/>
              </a:ext>
            </a:extLst>
          </p:cNvPr>
          <p:cNvSpPr/>
          <p:nvPr/>
        </p:nvSpPr>
        <p:spPr bwMode="gray">
          <a:xfrm>
            <a:off x="9771220"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67" name="Gerader Verbinder 66">
            <a:extLst>
              <a:ext uri="{FF2B5EF4-FFF2-40B4-BE49-F238E27FC236}">
                <a16:creationId xmlns:a16="http://schemas.microsoft.com/office/drawing/2014/main" id="{CCEFF2C5-7CD6-4791-9789-30A0C56C9069}"/>
              </a:ext>
            </a:extLst>
          </p:cNvPr>
          <p:cNvCxnSpPr>
            <a:cxnSpLocks/>
            <a:stCxn id="66" idx="0"/>
            <a:endCxn id="68" idx="2"/>
          </p:cNvCxnSpPr>
          <p:nvPr/>
        </p:nvCxnSpPr>
        <p:spPr bwMode="gray">
          <a:xfrm flipV="1">
            <a:off x="9879220" y="2798701"/>
            <a:ext cx="0" cy="890599"/>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8" name="Rechteck 67">
            <a:extLst>
              <a:ext uri="{FF2B5EF4-FFF2-40B4-BE49-F238E27FC236}">
                <a16:creationId xmlns:a16="http://schemas.microsoft.com/office/drawing/2014/main" id="{98089D74-F04A-485E-8B93-1F9B7A7071E9}"/>
              </a:ext>
            </a:extLst>
          </p:cNvPr>
          <p:cNvSpPr/>
          <p:nvPr/>
        </p:nvSpPr>
        <p:spPr bwMode="gray">
          <a:xfrm>
            <a:off x="8943220" y="1812483"/>
            <a:ext cx="1872000" cy="986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b" anchorCtr="0" forceAA="0" compatLnSpc="1">
            <a:prstTxWarp prst="textNoShape">
              <a:avLst/>
            </a:prstTxWarp>
            <a:spAutoFit/>
          </a:bodyPr>
          <a:lstStyle/>
          <a:p>
            <a:pPr lvl="0" algn="ctr"/>
            <a:r>
              <a:rPr lang="en-US" sz="2400" b="1" dirty="0">
                <a:solidFill>
                  <a:srgbClr val="791F82"/>
                </a:solidFill>
              </a:rPr>
              <a:t>2019</a:t>
            </a:r>
          </a:p>
          <a:p>
            <a:pPr lvl="0" algn="ctr"/>
            <a:r>
              <a:rPr lang="en-US" sz="1100" cap="all" dirty="0">
                <a:solidFill>
                  <a:srgbClr val="791F82"/>
                </a:solidFill>
              </a:rPr>
              <a:t>First time reaching</a:t>
            </a:r>
            <a:br>
              <a:rPr lang="en-US" sz="1100" cap="all" dirty="0">
                <a:solidFill>
                  <a:srgbClr val="791F82"/>
                </a:solidFill>
              </a:rPr>
            </a:br>
            <a:r>
              <a:rPr lang="en-US" sz="1100" cap="all" dirty="0">
                <a:solidFill>
                  <a:srgbClr val="791F82"/>
                </a:solidFill>
              </a:rPr>
              <a:t>&gt; 100 </a:t>
            </a:r>
            <a:r>
              <a:rPr lang="en-US" sz="1100" dirty="0">
                <a:solidFill>
                  <a:srgbClr val="791F82"/>
                </a:solidFill>
              </a:rPr>
              <a:t>bn</a:t>
            </a:r>
            <a:r>
              <a:rPr lang="en-US" sz="1100" cap="all" dirty="0">
                <a:solidFill>
                  <a:srgbClr val="791F82"/>
                </a:solidFill>
              </a:rPr>
              <a:t> € </a:t>
            </a:r>
            <a:br>
              <a:rPr lang="en-US" sz="1100" cap="all" dirty="0">
                <a:solidFill>
                  <a:srgbClr val="791F82"/>
                </a:solidFill>
              </a:rPr>
            </a:br>
            <a:r>
              <a:rPr lang="en-US" sz="1100" cap="all" dirty="0">
                <a:solidFill>
                  <a:srgbClr val="791F82"/>
                </a:solidFill>
              </a:rPr>
              <a:t>in sales</a:t>
            </a:r>
          </a:p>
        </p:txBody>
      </p:sp>
      <p:grpSp>
        <p:nvGrpSpPr>
          <p:cNvPr id="15" name="Gruppieren 14">
            <a:extLst>
              <a:ext uri="{FF2B5EF4-FFF2-40B4-BE49-F238E27FC236}">
                <a16:creationId xmlns:a16="http://schemas.microsoft.com/office/drawing/2014/main" id="{8C551DD8-E8BC-48C2-B193-1A5C1E6BB747}"/>
              </a:ext>
            </a:extLst>
          </p:cNvPr>
          <p:cNvGrpSpPr/>
          <p:nvPr/>
        </p:nvGrpSpPr>
        <p:grpSpPr>
          <a:xfrm>
            <a:off x="7766649" y="4244633"/>
            <a:ext cx="2049934" cy="432000"/>
            <a:chOff x="8325681" y="4244633"/>
            <a:chExt cx="2049934" cy="432000"/>
          </a:xfrm>
        </p:grpSpPr>
        <p:pic>
          <p:nvPicPr>
            <p:cNvPr id="56" name="Grafik 55">
              <a:extLst>
                <a:ext uri="{FF2B5EF4-FFF2-40B4-BE49-F238E27FC236}">
                  <a16:creationId xmlns:a16="http://schemas.microsoft.com/office/drawing/2014/main" id="{1EDDB6F7-CEBD-4705-B2D2-8CA9A3EA296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25681" y="4244633"/>
              <a:ext cx="432000" cy="432000"/>
            </a:xfrm>
            <a:prstGeom prst="rect">
              <a:avLst/>
            </a:prstGeom>
          </p:spPr>
        </p:pic>
        <p:pic>
          <p:nvPicPr>
            <p:cNvPr id="57" name="Grafik 56">
              <a:extLst>
                <a:ext uri="{FF2B5EF4-FFF2-40B4-BE49-F238E27FC236}">
                  <a16:creationId xmlns:a16="http://schemas.microsoft.com/office/drawing/2014/main" id="{9B999C76-1961-4E4C-9F3D-E8DE11383F5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16992" y="4244633"/>
              <a:ext cx="432000" cy="432000"/>
            </a:xfrm>
            <a:prstGeom prst="rect">
              <a:avLst/>
            </a:prstGeom>
          </p:spPr>
        </p:pic>
        <p:pic>
          <p:nvPicPr>
            <p:cNvPr id="52" name="Grafik 51">
              <a:extLst>
                <a:ext uri="{FF2B5EF4-FFF2-40B4-BE49-F238E27FC236}">
                  <a16:creationId xmlns:a16="http://schemas.microsoft.com/office/drawing/2014/main" id="{D3EDFA83-4D31-40CA-B80A-4B8D1E489A2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08303" y="4244633"/>
              <a:ext cx="432000" cy="432000"/>
            </a:xfrm>
            <a:prstGeom prst="rect">
              <a:avLst/>
            </a:prstGeom>
          </p:spPr>
        </p:pic>
        <p:pic>
          <p:nvPicPr>
            <p:cNvPr id="58" name="Grafik 57">
              <a:extLst>
                <a:ext uri="{FF2B5EF4-FFF2-40B4-BE49-F238E27FC236}">
                  <a16:creationId xmlns:a16="http://schemas.microsoft.com/office/drawing/2014/main" id="{B47EBF15-C6B8-4FA8-B376-A190B502DC42}"/>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l="-4463" t="-13380" r="-4463" b="-13380"/>
            <a:stretch/>
          </p:blipFill>
          <p:spPr>
            <a:xfrm>
              <a:off x="9799615" y="4329458"/>
              <a:ext cx="576000" cy="262351"/>
            </a:xfrm>
            <a:prstGeom prst="rect">
              <a:avLst/>
            </a:prstGeom>
          </p:spPr>
        </p:pic>
      </p:grpSp>
      <p:pic>
        <p:nvPicPr>
          <p:cNvPr id="59" name="Grafik 58">
            <a:extLst>
              <a:ext uri="{FF2B5EF4-FFF2-40B4-BE49-F238E27FC236}">
                <a16:creationId xmlns:a16="http://schemas.microsoft.com/office/drawing/2014/main" id="{5A547CD3-6969-47C9-8094-14A6CEC30B6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88012" y="1672587"/>
            <a:ext cx="432000" cy="432000"/>
          </a:xfrm>
          <a:prstGeom prst="rect">
            <a:avLst/>
          </a:prstGeom>
        </p:spPr>
      </p:pic>
      <p:pic>
        <p:nvPicPr>
          <p:cNvPr id="62" name="Grafik 61">
            <a:extLst>
              <a:ext uri="{FF2B5EF4-FFF2-40B4-BE49-F238E27FC236}">
                <a16:creationId xmlns:a16="http://schemas.microsoft.com/office/drawing/2014/main" id="{656A39D3-B392-4017-8DDF-7287F386EB9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2388" y="1511026"/>
            <a:ext cx="432000" cy="432000"/>
          </a:xfrm>
          <a:prstGeom prst="rect">
            <a:avLst/>
          </a:prstGeom>
        </p:spPr>
      </p:pic>
      <p:pic>
        <p:nvPicPr>
          <p:cNvPr id="63" name="Grafik 62">
            <a:extLst>
              <a:ext uri="{FF2B5EF4-FFF2-40B4-BE49-F238E27FC236}">
                <a16:creationId xmlns:a16="http://schemas.microsoft.com/office/drawing/2014/main" id="{9E55F0A7-B38F-48B8-879D-F1FDE60EAFC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137596" y="1812483"/>
            <a:ext cx="432000" cy="432000"/>
          </a:xfrm>
          <a:prstGeom prst="rect">
            <a:avLst/>
          </a:prstGeom>
        </p:spPr>
      </p:pic>
      <p:pic>
        <p:nvPicPr>
          <p:cNvPr id="64" name="Grafik 63">
            <a:extLst>
              <a:ext uri="{FF2B5EF4-FFF2-40B4-BE49-F238E27FC236}">
                <a16:creationId xmlns:a16="http://schemas.microsoft.com/office/drawing/2014/main" id="{8D884198-10E7-4FB0-8D80-68AC061AAAAE}"/>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l="-4463" t="-13380" r="-4463" b="-13380"/>
          <a:stretch/>
        </p:blipFill>
        <p:spPr>
          <a:xfrm>
            <a:off x="5240804" y="1549594"/>
            <a:ext cx="576000" cy="262351"/>
          </a:xfrm>
          <a:prstGeom prst="rect">
            <a:avLst/>
          </a:prstGeom>
        </p:spPr>
      </p:pic>
      <p:pic>
        <p:nvPicPr>
          <p:cNvPr id="65" name="Grafik 64">
            <a:extLst>
              <a:ext uri="{FF2B5EF4-FFF2-40B4-BE49-F238E27FC236}">
                <a16:creationId xmlns:a16="http://schemas.microsoft.com/office/drawing/2014/main" id="{DFB9041F-F484-471F-A13B-6A744AC67FD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613023" y="1379945"/>
            <a:ext cx="532394" cy="432000"/>
          </a:xfrm>
          <a:prstGeom prst="rect">
            <a:avLst/>
          </a:prstGeom>
        </p:spPr>
      </p:pic>
      <p:pic>
        <p:nvPicPr>
          <p:cNvPr id="69" name="Grafik 68">
            <a:extLst>
              <a:ext uri="{FF2B5EF4-FFF2-40B4-BE49-F238E27FC236}">
                <a16:creationId xmlns:a16="http://schemas.microsoft.com/office/drawing/2014/main" id="{BB311C68-DF01-4C10-AD6B-BAF2749BA5BD}"/>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l="-4463" t="-13380" r="-4463" b="-13380"/>
          <a:stretch/>
        </p:blipFill>
        <p:spPr>
          <a:xfrm>
            <a:off x="6328408" y="5033952"/>
            <a:ext cx="576000" cy="262351"/>
          </a:xfrm>
          <a:prstGeom prst="rect">
            <a:avLst/>
          </a:prstGeom>
        </p:spPr>
      </p:pic>
      <p:grpSp>
        <p:nvGrpSpPr>
          <p:cNvPr id="70" name="Gruppieren 69">
            <a:extLst>
              <a:ext uri="{FF2B5EF4-FFF2-40B4-BE49-F238E27FC236}">
                <a16:creationId xmlns:a16="http://schemas.microsoft.com/office/drawing/2014/main" id="{556DAFA4-4B90-4A77-9C2E-0023521F3635}"/>
              </a:ext>
            </a:extLst>
          </p:cNvPr>
          <p:cNvGrpSpPr/>
          <p:nvPr/>
        </p:nvGrpSpPr>
        <p:grpSpPr>
          <a:xfrm>
            <a:off x="1800057" y="4861911"/>
            <a:ext cx="931870" cy="432000"/>
            <a:chOff x="7507123" y="4509888"/>
            <a:chExt cx="931870" cy="432000"/>
          </a:xfrm>
        </p:grpSpPr>
        <p:pic>
          <p:nvPicPr>
            <p:cNvPr id="74" name="Grafik 73">
              <a:extLst>
                <a:ext uri="{FF2B5EF4-FFF2-40B4-BE49-F238E27FC236}">
                  <a16:creationId xmlns:a16="http://schemas.microsoft.com/office/drawing/2014/main" id="{182A951C-D25B-4D44-B3F6-9EACF9831AB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07123" y="4509888"/>
              <a:ext cx="432000" cy="432000"/>
            </a:xfrm>
            <a:prstGeom prst="rect">
              <a:avLst/>
            </a:prstGeom>
          </p:spPr>
        </p:pic>
        <p:pic>
          <p:nvPicPr>
            <p:cNvPr id="77" name="Grafik 76">
              <a:extLst>
                <a:ext uri="{FF2B5EF4-FFF2-40B4-BE49-F238E27FC236}">
                  <a16:creationId xmlns:a16="http://schemas.microsoft.com/office/drawing/2014/main" id="{9CC65E64-9BC5-4E31-9A39-4A523838180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06993" y="4509888"/>
              <a:ext cx="432000" cy="432000"/>
            </a:xfrm>
            <a:prstGeom prst="rect">
              <a:avLst/>
            </a:prstGeom>
          </p:spPr>
        </p:pic>
      </p:grpSp>
      <p:sp>
        <p:nvSpPr>
          <p:cNvPr id="5" name="Foliennummernplatzhalter 4">
            <a:extLst>
              <a:ext uri="{FF2B5EF4-FFF2-40B4-BE49-F238E27FC236}">
                <a16:creationId xmlns:a16="http://schemas.microsoft.com/office/drawing/2014/main" id="{01858522-DB2A-4968-9E65-811B727CF009}"/>
              </a:ext>
            </a:extLst>
          </p:cNvPr>
          <p:cNvSpPr>
            <a:spLocks noGrp="1"/>
          </p:cNvSpPr>
          <p:nvPr>
            <p:ph type="sldNum" sz="quarter" idx="12"/>
          </p:nvPr>
        </p:nvSpPr>
        <p:spPr/>
        <p:txBody>
          <a:bodyPr/>
          <a:lstStyle/>
          <a:p>
            <a:fld id="{0C7C1E0B-BD27-42F8-BC6B-2F0636970842}" type="slidenum">
              <a:rPr lang="de-DE" smtClean="0"/>
              <a:pPr/>
              <a:t>9</a:t>
            </a:fld>
            <a:endParaRPr lang="de-DE"/>
          </a:p>
        </p:txBody>
      </p:sp>
      <p:sp>
        <p:nvSpPr>
          <p:cNvPr id="60" name="Ellipse 65">
            <a:extLst>
              <a:ext uri="{FF2B5EF4-FFF2-40B4-BE49-F238E27FC236}">
                <a16:creationId xmlns:a16="http://schemas.microsoft.com/office/drawing/2014/main" id="{72018D31-8258-48B0-AB84-95AC0BACA7EA}"/>
              </a:ext>
            </a:extLst>
          </p:cNvPr>
          <p:cNvSpPr/>
          <p:nvPr/>
        </p:nvSpPr>
        <p:spPr bwMode="gray">
          <a:xfrm>
            <a:off x="10934233" y="368930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p>
        </p:txBody>
      </p:sp>
      <p:cxnSp>
        <p:nvCxnSpPr>
          <p:cNvPr id="61" name="Gerader Verbinder 66">
            <a:extLst>
              <a:ext uri="{FF2B5EF4-FFF2-40B4-BE49-F238E27FC236}">
                <a16:creationId xmlns:a16="http://schemas.microsoft.com/office/drawing/2014/main" id="{F7508EB8-5319-47F0-B473-235432AC8368}"/>
              </a:ext>
            </a:extLst>
          </p:cNvPr>
          <p:cNvCxnSpPr>
            <a:cxnSpLocks/>
          </p:cNvCxnSpPr>
          <p:nvPr/>
        </p:nvCxnSpPr>
        <p:spPr bwMode="gray">
          <a:xfrm flipV="1">
            <a:off x="11033515" y="3768833"/>
            <a:ext cx="0" cy="890599"/>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71" name="Rechteck 67">
            <a:extLst>
              <a:ext uri="{FF2B5EF4-FFF2-40B4-BE49-F238E27FC236}">
                <a16:creationId xmlns:a16="http://schemas.microsoft.com/office/drawing/2014/main" id="{2328EFAB-7E2F-4C89-89CA-191236F05183}"/>
              </a:ext>
            </a:extLst>
          </p:cNvPr>
          <p:cNvSpPr/>
          <p:nvPr/>
        </p:nvSpPr>
        <p:spPr bwMode="gray">
          <a:xfrm>
            <a:off x="10097515" y="5279958"/>
            <a:ext cx="1872000" cy="1155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72000" numCol="1" spcCol="0" rtlCol="0" fromWordArt="0" anchor="b" anchorCtr="0" forceAA="0" compatLnSpc="1">
            <a:prstTxWarp prst="textNoShape">
              <a:avLst/>
            </a:prstTxWarp>
            <a:spAutoFit/>
          </a:bodyPr>
          <a:lstStyle/>
          <a:p>
            <a:pPr lvl="0" algn="ctr"/>
            <a:r>
              <a:rPr lang="en-US" sz="2400" b="1" dirty="0">
                <a:solidFill>
                  <a:srgbClr val="791F82"/>
                </a:solidFill>
              </a:rPr>
              <a:t>2020</a:t>
            </a:r>
          </a:p>
          <a:p>
            <a:pPr lvl="0" algn="ctr"/>
            <a:r>
              <a:rPr lang="en-US" sz="1100" cap="all" dirty="0">
                <a:solidFill>
                  <a:schemeClr val="accent1"/>
                </a:solidFill>
              </a:rPr>
              <a:t>1</a:t>
            </a:r>
            <a:r>
              <a:rPr lang="en-US" sz="1100" cap="all" baseline="30000" dirty="0">
                <a:solidFill>
                  <a:schemeClr val="accent1"/>
                </a:solidFill>
              </a:rPr>
              <a:t>st</a:t>
            </a:r>
            <a:r>
              <a:rPr lang="en-US" sz="1100" cap="all" dirty="0">
                <a:solidFill>
                  <a:schemeClr val="accent1"/>
                </a:solidFill>
              </a:rPr>
              <a:t> of December Schwarz IT Bulgaria and the new  brand logo</a:t>
            </a:r>
          </a:p>
        </p:txBody>
      </p:sp>
      <p:pic>
        <p:nvPicPr>
          <p:cNvPr id="72" name="Picture 71" descr="Graphical user interface, application&#10;&#10;Description automatically generated">
            <a:extLst>
              <a:ext uri="{FF2B5EF4-FFF2-40B4-BE49-F238E27FC236}">
                <a16:creationId xmlns:a16="http://schemas.microsoft.com/office/drawing/2014/main" id="{40BBDEA4-B187-42B6-9ECA-D3E92212BACF}"/>
              </a:ext>
            </a:extLst>
          </p:cNvPr>
          <p:cNvPicPr>
            <a:picLocks noChangeAspect="1"/>
          </p:cNvPicPr>
          <p:nvPr/>
        </p:nvPicPr>
        <p:blipFill>
          <a:blip r:embed="rId17"/>
          <a:stretch>
            <a:fillRect/>
          </a:stretch>
        </p:blipFill>
        <p:spPr>
          <a:xfrm>
            <a:off x="10714933" y="4659432"/>
            <a:ext cx="637164" cy="636654"/>
          </a:xfrm>
          <a:prstGeom prst="rect">
            <a:avLst/>
          </a:prstGeom>
        </p:spPr>
      </p:pic>
    </p:spTree>
    <p:extLst>
      <p:ext uri="{BB962C8B-B14F-4D97-AF65-F5344CB8AC3E}">
        <p14:creationId xmlns:p14="http://schemas.microsoft.com/office/powerpoint/2010/main" val="399784659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Xe0Hb5Oy3yvDy6fjY_H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sV0gXrbL6IWCpzbeFDx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212qRs2frP37h3fP4g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oPuHylNID.pE8_qN0Wh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pqbrSXoRq.aviT0CUFq7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Xe0Hb5Oy3yvDy6fjY_How"/>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oPuHylNID.pE8_qN0Wh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VI2DR1XTIV33pj.9LXl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wrR5Psxca2KHlRBYWpQAg"/>
</p:tagLst>
</file>

<file path=ppt/tags/tag33.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ARA_SHOWWINDOW" val="0"/>
  <p:tag name="ARS_CHARTPOINTWIDTH" val="0.5"/>
  <p:tag name="ARS_CHARTSHOWITEMTEXT" val="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rQIFp.a_O3x6RuMgi64dw"/>
</p:tagLst>
</file>

<file path=ppt/tags/tag36.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TYPE" val="ctColumn"/>
  <p:tag name="ARS_SLIDE_DUENO" val="100"/>
  <p:tag name="ARS_SLIDE_PARTICIPANTNUM" val="100"/>
  <p:tag name="ARS_SLIDE_SUBMITNUM" val="0"/>
  <p:tag name="ARS_SLIDE_CORRECTNUM" val="0"/>
  <p:tag name="ARS_SLIDE_VOTEMEAN" val="0"/>
  <p:tag name="ARS_CHARTPARA_SHOWWINDOW" val="0"/>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D9vgWSQSHaUshKfOlCTDw"/>
</p:tagLst>
</file>

<file path=ppt/tags/tag39.xml><?xml version="1.0" encoding="utf-8"?>
<p:tagLst xmlns:a="http://schemas.openxmlformats.org/drawingml/2006/main" xmlns:r="http://schemas.openxmlformats.org/officeDocument/2006/relationships" xmlns:p="http://schemas.openxmlformats.org/presentationml/2006/main">
  <p:tag name="SMARTLIBRARYSHAP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srUQ5GpddTlE8KPnOIx8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4jryS9aT7mixbVd2FjJ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dccRENwT_iVQmcV8X773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3GYaGneR5.WwqjtcvWW_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64a_AyfRm2bkCJIIAlr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yHI80b.RiCrWiYUIOhy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FHHGvUzSH.U_63.k2xO_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CmbKbeQeJlpRhaDQAC2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pqbrSXoRq.aviT0CUFq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sV0gXrbL6IWCpzbeFDx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a:solidFill>
            <a:schemeClr val="bg2"/>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10.xml><?xml version="1.0" encoding="utf-8"?>
<a:theme xmlns:a="http://schemas.openxmlformats.org/drawingml/2006/main" name="3_Übergang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Inhalt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4_Inhalt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Larissa">
  <a:themeElements>
    <a:clrScheme name="SCHWARZ">
      <a:dk1>
        <a:sysClr val="windowText" lastClr="000000"/>
      </a:dk1>
      <a:lt1>
        <a:sysClr val="window" lastClr="FFFFFF"/>
      </a:lt1>
      <a:dk2>
        <a:srgbClr val="00539B"/>
      </a:dk2>
      <a:lt2>
        <a:srgbClr val="E3000F"/>
      </a:lt2>
      <a:accent1>
        <a:srgbClr val="791F82"/>
      </a:accent1>
      <a:accent2>
        <a:srgbClr val="914A97"/>
      </a:accent2>
      <a:accent3>
        <a:srgbClr val="AA77B2"/>
      </a:accent3>
      <a:accent4>
        <a:srgbClr val="C4A5CF"/>
      </a:accent4>
      <a:accent5>
        <a:srgbClr val="B1B2B3"/>
      </a:accent5>
      <a:accent6>
        <a:srgbClr val="D7D7D7"/>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Larissa">
  <a:themeElements>
    <a:clrScheme name="SCHWARZ">
      <a:dk1>
        <a:sysClr val="windowText" lastClr="000000"/>
      </a:dk1>
      <a:lt1>
        <a:sysClr val="window" lastClr="FFFFFF"/>
      </a:lt1>
      <a:dk2>
        <a:srgbClr val="00539B"/>
      </a:dk2>
      <a:lt2>
        <a:srgbClr val="E3000F"/>
      </a:lt2>
      <a:accent1>
        <a:srgbClr val="791F82"/>
      </a:accent1>
      <a:accent2>
        <a:srgbClr val="914A97"/>
      </a:accent2>
      <a:accent3>
        <a:srgbClr val="AA77B2"/>
      </a:accent3>
      <a:accent4>
        <a:srgbClr val="C4A5CF"/>
      </a:accent4>
      <a:accent5>
        <a:srgbClr val="B1B2B3"/>
      </a:accent5>
      <a:accent6>
        <a:srgbClr val="D7D7D7"/>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Übergang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nhalt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Übergang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Inhalt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Übergang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8.xml><?xml version="1.0" encoding="utf-8"?>
<a:theme xmlns:a="http://schemas.openxmlformats.org/drawingml/2006/main" name="5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9.xml><?xml version="1.0" encoding="utf-8"?>
<a:theme xmlns:a="http://schemas.openxmlformats.org/drawingml/2006/main" name="1_Inhalt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2A20AD8A983494BBCE9A3680C0CE61E" ma:contentTypeVersion="12" ma:contentTypeDescription="Ein neues Dokument erstellen." ma:contentTypeScope="" ma:versionID="ad8d24b8565aa474accba6ada19b1388">
  <xsd:schema xmlns:xsd="http://www.w3.org/2001/XMLSchema" xmlns:xs="http://www.w3.org/2001/XMLSchema" xmlns:p="http://schemas.microsoft.com/office/2006/metadata/properties" xmlns:ns2="f06aa338-b381-4653-86bc-189b89705e47" xmlns:ns3="4036ccf6-1ac1-444d-92ca-96f62ca4da22" targetNamespace="http://schemas.microsoft.com/office/2006/metadata/properties" ma:root="true" ma:fieldsID="8f958cf8536c90d2a8b9ef07382b6d7c" ns2:_="" ns3:_="">
    <xsd:import namespace="f06aa338-b381-4653-86bc-189b89705e47"/>
    <xsd:import namespace="4036ccf6-1ac1-444d-92ca-96f62ca4da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6aa338-b381-4653-86bc-189b89705e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36ccf6-1ac1-444d-92ca-96f62ca4da22"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4036ccf6-1ac1-444d-92ca-96f62ca4da22">
      <UserInfo>
        <DisplayName/>
        <AccountId xsi:nil="true"/>
        <AccountType/>
      </UserInfo>
    </SharedWithUsers>
  </documentManagement>
</p:properties>
</file>

<file path=customXml/itemProps1.xml><?xml version="1.0" encoding="utf-8"?>
<ds:datastoreItem xmlns:ds="http://schemas.openxmlformats.org/officeDocument/2006/customXml" ds:itemID="{513BE676-5130-4651-8E4A-1F247998879E}">
  <ds:schemaRefs>
    <ds:schemaRef ds:uri="4036ccf6-1ac1-444d-92ca-96f62ca4da22"/>
    <ds:schemaRef ds:uri="f06aa338-b381-4653-86bc-189b89705e4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8358C22-34FC-467C-8589-0D153CC0E629}">
  <ds:schemaRefs>
    <ds:schemaRef ds:uri="http://schemas.microsoft.com/sharepoint/v3/contenttype/forms"/>
  </ds:schemaRefs>
</ds:datastoreItem>
</file>

<file path=customXml/itemProps3.xml><?xml version="1.0" encoding="utf-8"?>
<ds:datastoreItem xmlns:ds="http://schemas.openxmlformats.org/officeDocument/2006/customXml" ds:itemID="{40AC3823-6C91-40AF-8487-1451FA10B4F3}">
  <ds:schemaRefs>
    <ds:schemaRef ds:uri="4036ccf6-1ac1-444d-92ca-96f62ca4da22"/>
    <ds:schemaRef ds:uri="f06aa338-b381-4653-86bc-189b89705e4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691</Words>
  <Application>Microsoft Office PowerPoint</Application>
  <PresentationFormat>Custom</PresentationFormat>
  <Paragraphs>743</Paragraphs>
  <Slides>49</Slides>
  <Notes>34</Notes>
  <HiddenSlides>0</HiddenSlides>
  <MMClips>0</MMClips>
  <ScaleCrop>false</ScaleCrop>
  <HeadingPairs>
    <vt:vector size="8" baseType="variant">
      <vt:variant>
        <vt:lpstr>Fonts Used</vt:lpstr>
      </vt:variant>
      <vt:variant>
        <vt:i4>7</vt:i4>
      </vt:variant>
      <vt:variant>
        <vt:lpstr>Theme</vt:lpstr>
      </vt:variant>
      <vt:variant>
        <vt:i4>12</vt:i4>
      </vt:variant>
      <vt:variant>
        <vt:lpstr>Embedded OLE Servers</vt:lpstr>
      </vt:variant>
      <vt:variant>
        <vt:i4>1</vt:i4>
      </vt:variant>
      <vt:variant>
        <vt:lpstr>Slide Titles</vt:lpstr>
      </vt:variant>
      <vt:variant>
        <vt:i4>49</vt:i4>
      </vt:variant>
    </vt:vector>
  </HeadingPairs>
  <TitlesOfParts>
    <vt:vector size="69" baseType="lpstr">
      <vt:lpstr>Arial</vt:lpstr>
      <vt:lpstr>Arial Black</vt:lpstr>
      <vt:lpstr>Calibri</vt:lpstr>
      <vt:lpstr>Calibri Light</vt:lpstr>
      <vt:lpstr>Symbol</vt:lpstr>
      <vt:lpstr>Tahoma</vt:lpstr>
      <vt:lpstr>Wingdings</vt:lpstr>
      <vt:lpstr>Larissa</vt:lpstr>
      <vt:lpstr>Übergangsfolien GreenCycle</vt:lpstr>
      <vt:lpstr>Inhaltsfolien GreenCycle</vt:lpstr>
      <vt:lpstr>1_Übergangsfolien GreenCycle</vt:lpstr>
      <vt:lpstr>2_Inhaltsfolien GreenCycle</vt:lpstr>
      <vt:lpstr>2_Übergangsfolien GreenCycle</vt:lpstr>
      <vt:lpstr>1_Larissa</vt:lpstr>
      <vt:lpstr>5_Larissa</vt:lpstr>
      <vt:lpstr>1_Inhaltsfolien GreenCycle</vt:lpstr>
      <vt:lpstr>3_Übergangsfolien GreenCycle</vt:lpstr>
      <vt:lpstr>3_Inhaltsfolien GreenCycle</vt:lpstr>
      <vt:lpstr>4_Inhaltsfolien GreenCycle</vt:lpstr>
      <vt:lpstr>think-cell Folie</vt:lpstr>
      <vt:lpstr>PowerPoint Presentation</vt:lpstr>
      <vt:lpstr>our business in the Making</vt:lpstr>
      <vt:lpstr>Schwarz Group</vt:lpstr>
      <vt:lpstr>PowerPoint Presentation</vt:lpstr>
      <vt:lpstr>Schwarz Group</vt:lpstr>
      <vt:lpstr>PowerPoint Presentation</vt:lpstr>
      <vt:lpstr>SCHWARZ GROUP</vt:lpstr>
      <vt:lpstr>Schwarz Group</vt:lpstr>
      <vt:lpstr>Schwarz Group</vt:lpstr>
      <vt:lpstr>SCHWARZ GROUP</vt:lpstr>
      <vt:lpstr>Lidl</vt:lpstr>
      <vt:lpstr>Lidl</vt:lpstr>
      <vt:lpstr>Lidl </vt:lpstr>
      <vt:lpstr>Kaufland</vt:lpstr>
      <vt:lpstr>Kaufland</vt:lpstr>
      <vt:lpstr>SCHWARZ GROUP</vt:lpstr>
      <vt:lpstr>Schwarz Group and Schwarz Production</vt:lpstr>
      <vt:lpstr>Production</vt:lpstr>
      <vt:lpstr>PowerPoint Presentation</vt:lpstr>
      <vt:lpstr>SCHWARZ GROUP</vt:lpstr>
      <vt:lpstr>PowerPoint Presentation</vt:lpstr>
      <vt:lpstr>About GreenCycle</vt:lpstr>
      <vt:lpstr>GreenCycle – figures</vt:lpstr>
      <vt:lpstr>SCHWARZ GROUP</vt:lpstr>
      <vt:lpstr>Schwarz Services</vt:lpstr>
      <vt:lpstr>PowerPoint Presentation</vt:lpstr>
      <vt:lpstr>Schwarz central service</vt:lpstr>
      <vt:lpstr>Schwarz central service</vt:lpstr>
      <vt:lpstr>Schwarz central service</vt:lpstr>
      <vt:lpstr>Schwarz central service</vt:lpstr>
      <vt:lpstr>Schwarz central service</vt:lpstr>
      <vt:lpstr>PowerPoint Presentation</vt:lpstr>
      <vt:lpstr>PowerPoint Presentation</vt:lpstr>
      <vt:lpstr>Creating one IT</vt:lpstr>
      <vt:lpstr>Our customers</vt:lpstr>
      <vt:lpstr>Shoring CENTER SIT</vt:lpstr>
      <vt:lpstr>Kaufland – IT HUB</vt:lpstr>
      <vt:lpstr>Lidl Digital – COE Sofia</vt:lpstr>
      <vt:lpstr>PowerPoint Presentation</vt:lpstr>
      <vt:lpstr>PowerPoint Presentation</vt:lpstr>
      <vt:lpstr> Shcwarz IT Bulgaria</vt:lpstr>
      <vt:lpstr>PowerPoint Presentation</vt:lpstr>
      <vt:lpstr>Our vision</vt:lpstr>
      <vt:lpstr>Our mission</vt:lpstr>
      <vt:lpstr>We are the digital heartbeat of THE SCHWARZ GROUP</vt:lpstr>
      <vt:lpstr>НАШИТЕ ЦЕННОСТИ</vt:lpstr>
      <vt:lpstr>PowerPoint Presentation</vt:lpstr>
      <vt:lpstr>Employer Brand Platform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svorlage_SIS</dc:title>
  <dc:creator>Kayser, Pierre</dc:creator>
  <cp:lastModifiedBy>Gergana Nedelcheva (Гергана Неделчева)</cp:lastModifiedBy>
  <cp:revision>96</cp:revision>
  <cp:lastPrinted>2017-07-24T08:05:36Z</cp:lastPrinted>
  <dcterms:created xsi:type="dcterms:W3CDTF">2017-03-16T15:09:27Z</dcterms:created>
  <dcterms:modified xsi:type="dcterms:W3CDTF">2021-06-30T07:4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A20AD8A983494BBCE9A3680C0CE61E</vt:lpwstr>
  </property>
  <property fmtid="{D5CDD505-2E9C-101B-9397-08002B2CF9AE}" pid="3" name="Dokumentart">
    <vt:lpwstr>3</vt:lpwstr>
  </property>
  <property fmtid="{D5CDD505-2E9C-101B-9397-08002B2CF9AE}" pid="4" name="Order">
    <vt:r8>2753100</vt:r8>
  </property>
  <property fmtid="{D5CDD505-2E9C-101B-9397-08002B2CF9AE}" pid="5" name="xd_ProgID">
    <vt:lpwstr/>
  </property>
  <property fmtid="{D5CDD505-2E9C-101B-9397-08002B2CF9AE}" pid="6" name="DocumentSetDescription">
    <vt:lpwstr/>
  </property>
  <property fmtid="{D5CDD505-2E9C-101B-9397-08002B2CF9AE}" pid="7" name="PreisLieferung">
    <vt:lpwstr/>
  </property>
  <property fmtid="{D5CDD505-2E9C-101B-9397-08002B2CF9AE}" pid="8" name="Zusatzinhalte">
    <vt:lpwstr/>
  </property>
  <property fmtid="{D5CDD505-2E9C-101B-9397-08002B2CF9AE}" pid="9" name="TemplateUrl">
    <vt:lpwstr/>
  </property>
  <property fmtid="{D5CDD505-2E9C-101B-9397-08002B2CF9AE}" pid="10" name="ZielspracheMulti">
    <vt:lpwstr/>
  </property>
  <property fmtid="{D5CDD505-2E9C-101B-9397-08002B2CF9AE}" pid="11" name="Verlauf">
    <vt:lpwstr/>
  </property>
  <property fmtid="{D5CDD505-2E9C-101B-9397-08002B2CF9AE}" pid="12" name="AusgangsspracheMulti">
    <vt:lpwstr/>
  </property>
  <property fmtid="{D5CDD505-2E9C-101B-9397-08002B2CF9AE}" pid="13" name="_dlc_policyId">
    <vt:lpwstr/>
  </property>
  <property fmtid="{D5CDD505-2E9C-101B-9397-08002B2CF9AE}" pid="14" name="ItemRetentionFormula">
    <vt:lpwstr/>
  </property>
  <property fmtid="{D5CDD505-2E9C-101B-9397-08002B2CF9AE}" pid="15" name="DatumAuslieferung">
    <vt:lpwstr/>
  </property>
  <property fmtid="{D5CDD505-2E9C-101B-9397-08002B2CF9AE}" pid="16" name="AuslieferungKunde">
    <vt:lpwstr>Ja</vt:lpwstr>
  </property>
  <property fmtid="{D5CDD505-2E9C-101B-9397-08002B2CF9AE}" pid="17" name="SharedWithUsers">
    <vt:lpwstr/>
  </property>
  <property fmtid="{D5CDD505-2E9C-101B-9397-08002B2CF9AE}" pid="18" name="AuftragsID">
    <vt:lpwstr>3053</vt:lpwstr>
  </property>
  <property fmtid="{D5CDD505-2E9C-101B-9397-08002B2CF9AE}" pid="19" name="DatumStornierung">
    <vt:lpwstr/>
  </property>
  <property fmtid="{D5CDD505-2E9C-101B-9397-08002B2CF9AE}" pid="20" name="Dokumentenquelle">
    <vt:lpwstr>ITL</vt:lpwstr>
  </property>
</Properties>
</file>